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7" r:id="rId4"/>
  </p:sldMasterIdLst>
  <p:notesMasterIdLst>
    <p:notesMasterId r:id="rId11"/>
  </p:notesMasterIdLst>
  <p:sldIdLst>
    <p:sldId id="2145706008" r:id="rId5"/>
    <p:sldId id="262" r:id="rId6"/>
    <p:sldId id="2145706027" r:id="rId7"/>
    <p:sldId id="280" r:id="rId8"/>
    <p:sldId id="317" r:id="rId9"/>
    <p:sldId id="372" r:id="rId10"/>
  </p:sldIdLst>
  <p:sldSz cx="12192000" cy="6858000"/>
  <p:notesSz cx="6858000" cy="9144000"/>
  <p:custDataLst>
    <p:tags r:id="rId1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0094"/>
    <a:srgbClr val="63A3F9"/>
    <a:srgbClr val="8FA2FF"/>
    <a:srgbClr val="90E9FF"/>
    <a:srgbClr val="93C0FB"/>
    <a:srgbClr val="46DAFF"/>
    <a:srgbClr val="D9D9D9"/>
    <a:srgbClr val="2626FF"/>
    <a:srgbClr val="8F8F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BD42EF9-0FF0-4AAE-A439-1F3A66E73AD3}" v="1" dt="2021-11-29T09:55:39.472"/>
    <p1510:client id="{55D3F9CA-DD9E-4D8C-AB2A-63DA48859D6B}" v="15" dt="2021-11-29T11:13:29.289"/>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3"/>
  </p:normalViewPr>
  <p:slideViewPr>
    <p:cSldViewPr>
      <p:cViewPr varScale="1">
        <p:scale>
          <a:sx n="125" d="100"/>
          <a:sy n="125" d="100"/>
        </p:scale>
        <p:origin x="360" y="77"/>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18"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ags" Target="tags/tag1.xml"/><Relationship Id="rId17"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ssana BIANCHI (contractor)" userId="b4cb4edf-becc-4119-a448-bb2dfe04a1d2" providerId="ADAL" clId="{3BD42EF9-0FF0-4AAE-A439-1F3A66E73AD3}"/>
    <pc:docChg chg="addSld delSld modSld">
      <pc:chgData name="Rossana BIANCHI (contractor)" userId="b4cb4edf-becc-4119-a448-bb2dfe04a1d2" providerId="ADAL" clId="{3BD42EF9-0FF0-4AAE-A439-1F3A66E73AD3}" dt="2021-11-29T09:55:44.717" v="1" actId="47"/>
      <pc:docMkLst>
        <pc:docMk/>
      </pc:docMkLst>
      <pc:sldChg chg="del">
        <pc:chgData name="Rossana BIANCHI (contractor)" userId="b4cb4edf-becc-4119-a448-bb2dfe04a1d2" providerId="ADAL" clId="{3BD42EF9-0FF0-4AAE-A439-1F3A66E73AD3}" dt="2021-11-29T09:55:44.717" v="1" actId="47"/>
        <pc:sldMkLst>
          <pc:docMk/>
          <pc:sldMk cId="3115324600" sldId="2145706026"/>
        </pc:sldMkLst>
      </pc:sldChg>
      <pc:sldChg chg="add">
        <pc:chgData name="Rossana BIANCHI (contractor)" userId="b4cb4edf-becc-4119-a448-bb2dfe04a1d2" providerId="ADAL" clId="{3BD42EF9-0FF0-4AAE-A439-1F3A66E73AD3}" dt="2021-11-29T09:55:39.471" v="0"/>
        <pc:sldMkLst>
          <pc:docMk/>
          <pc:sldMk cId="1942709262" sldId="2145706027"/>
        </pc:sldMkLst>
      </pc:sldChg>
    </pc:docChg>
  </pc:docChgLst>
  <pc:docChgLst>
    <pc:chgData name="Rossana BIANCHI (contractor)" userId="b4cb4edf-becc-4119-a448-bb2dfe04a1d2" providerId="ADAL" clId="{55D3F9CA-DD9E-4D8C-AB2A-63DA48859D6B}"/>
    <pc:docChg chg="undo redo custSel modSld">
      <pc:chgData name="Rossana BIANCHI (contractor)" userId="b4cb4edf-becc-4119-a448-bb2dfe04a1d2" providerId="ADAL" clId="{55D3F9CA-DD9E-4D8C-AB2A-63DA48859D6B}" dt="2021-11-29T11:13:41.258" v="233" actId="1076"/>
      <pc:docMkLst>
        <pc:docMk/>
      </pc:docMkLst>
      <pc:sldChg chg="addSp delSp modSp mod">
        <pc:chgData name="Rossana BIANCHI (contractor)" userId="b4cb4edf-becc-4119-a448-bb2dfe04a1d2" providerId="ADAL" clId="{55D3F9CA-DD9E-4D8C-AB2A-63DA48859D6B}" dt="2021-11-29T11:13:41.258" v="233" actId="1076"/>
        <pc:sldMkLst>
          <pc:docMk/>
          <pc:sldMk cId="0" sldId="262"/>
        </pc:sldMkLst>
        <pc:spChg chg="add del mod">
          <ac:chgData name="Rossana BIANCHI (contractor)" userId="b4cb4edf-becc-4119-a448-bb2dfe04a1d2" providerId="ADAL" clId="{55D3F9CA-DD9E-4D8C-AB2A-63DA48859D6B}" dt="2021-11-29T11:03:38.678" v="69"/>
          <ac:spMkLst>
            <pc:docMk/>
            <pc:sldMk cId="0" sldId="262"/>
            <ac:spMk id="12" creationId="{7FA684DB-AF3D-48C7-B9DA-B5EA4DC21571}"/>
          </ac:spMkLst>
        </pc:spChg>
        <pc:spChg chg="add mod">
          <ac:chgData name="Rossana BIANCHI (contractor)" userId="b4cb4edf-becc-4119-a448-bb2dfe04a1d2" providerId="ADAL" clId="{55D3F9CA-DD9E-4D8C-AB2A-63DA48859D6B}" dt="2021-11-29T11:08:51.098" v="122" actId="1076"/>
          <ac:spMkLst>
            <pc:docMk/>
            <pc:sldMk cId="0" sldId="262"/>
            <ac:spMk id="13" creationId="{3667C1D6-6A54-4B79-820C-30FC02CCCD8B}"/>
          </ac:spMkLst>
        </pc:spChg>
        <pc:spChg chg="add del mod">
          <ac:chgData name="Rossana BIANCHI (contractor)" userId="b4cb4edf-becc-4119-a448-bb2dfe04a1d2" providerId="ADAL" clId="{55D3F9CA-DD9E-4D8C-AB2A-63DA48859D6B}" dt="2021-11-29T11:09:15.187" v="124"/>
          <ac:spMkLst>
            <pc:docMk/>
            <pc:sldMk cId="0" sldId="262"/>
            <ac:spMk id="14" creationId="{AF88BF54-2956-432A-8868-779F86DECD80}"/>
          </ac:spMkLst>
        </pc:spChg>
        <pc:spChg chg="add mod">
          <ac:chgData name="Rossana BIANCHI (contractor)" userId="b4cb4edf-becc-4119-a448-bb2dfe04a1d2" providerId="ADAL" clId="{55D3F9CA-DD9E-4D8C-AB2A-63DA48859D6B}" dt="2021-11-29T11:13:05.969" v="214" actId="14100"/>
          <ac:spMkLst>
            <pc:docMk/>
            <pc:sldMk cId="0" sldId="262"/>
            <ac:spMk id="15" creationId="{B7AC1D46-B132-47CA-8208-435C6D4A8A86}"/>
          </ac:spMkLst>
        </pc:spChg>
        <pc:spChg chg="add mod">
          <ac:chgData name="Rossana BIANCHI (contractor)" userId="b4cb4edf-becc-4119-a448-bb2dfe04a1d2" providerId="ADAL" clId="{55D3F9CA-DD9E-4D8C-AB2A-63DA48859D6B}" dt="2021-11-29T11:13:41.258" v="233" actId="1076"/>
          <ac:spMkLst>
            <pc:docMk/>
            <pc:sldMk cId="0" sldId="262"/>
            <ac:spMk id="16" creationId="{74A8739F-C866-4ADC-8525-E4CC69CD4A3B}"/>
          </ac:spMkLst>
        </pc:spChg>
        <pc:spChg chg="add mod">
          <ac:chgData name="Rossana BIANCHI (contractor)" userId="b4cb4edf-becc-4119-a448-bb2dfe04a1d2" providerId="ADAL" clId="{55D3F9CA-DD9E-4D8C-AB2A-63DA48859D6B}" dt="2021-11-29T11:13:35.289" v="232" actId="20577"/>
          <ac:spMkLst>
            <pc:docMk/>
            <pc:sldMk cId="0" sldId="262"/>
            <ac:spMk id="17" creationId="{BCCFB261-92F4-42AD-AF9F-478C3A6DD31B}"/>
          </ac:spMkLst>
        </pc:spChg>
        <pc:spChg chg="mod">
          <ac:chgData name="Rossana BIANCHI (contractor)" userId="b4cb4edf-becc-4119-a448-bb2dfe04a1d2" providerId="ADAL" clId="{55D3F9CA-DD9E-4D8C-AB2A-63DA48859D6B}" dt="2021-11-29T10:13:36.647" v="67"/>
          <ac:spMkLst>
            <pc:docMk/>
            <pc:sldMk cId="0" sldId="262"/>
            <ac:spMk id="553" creationId="{00000000-0000-0000-0000-000000000000}"/>
          </ac:spMkLst>
        </pc:spChg>
        <pc:spChg chg="mod">
          <ac:chgData name="Rossana BIANCHI (contractor)" userId="b4cb4edf-becc-4119-a448-bb2dfe04a1d2" providerId="ADAL" clId="{55D3F9CA-DD9E-4D8C-AB2A-63DA48859D6B}" dt="2021-11-29T11:07:49.947" v="117" actId="20577"/>
          <ac:spMkLst>
            <pc:docMk/>
            <pc:sldMk cId="0" sldId="262"/>
            <ac:spMk id="555" creationId="{00000000-0000-0000-0000-000000000000}"/>
          </ac:spMkLst>
        </pc:spChg>
        <pc:spChg chg="mod">
          <ac:chgData name="Rossana BIANCHI (contractor)" userId="b4cb4edf-becc-4119-a448-bb2dfe04a1d2" providerId="ADAL" clId="{55D3F9CA-DD9E-4D8C-AB2A-63DA48859D6B}" dt="2021-11-29T10:11:38.027" v="19" actId="20577"/>
          <ac:spMkLst>
            <pc:docMk/>
            <pc:sldMk cId="0" sldId="262"/>
            <ac:spMk id="566" creationId="{00000000-0000-0000-0000-000000000000}"/>
          </ac:spMkLst>
        </pc:spChg>
      </pc:sldChg>
      <pc:sldChg chg="modSp mod">
        <pc:chgData name="Rossana BIANCHI (contractor)" userId="b4cb4edf-becc-4119-a448-bb2dfe04a1d2" providerId="ADAL" clId="{55D3F9CA-DD9E-4D8C-AB2A-63DA48859D6B}" dt="2021-11-29T10:12:27.663" v="29" actId="20577"/>
        <pc:sldMkLst>
          <pc:docMk/>
          <pc:sldMk cId="0" sldId="280"/>
        </pc:sldMkLst>
        <pc:spChg chg="mod">
          <ac:chgData name="Rossana BIANCHI (contractor)" userId="b4cb4edf-becc-4119-a448-bb2dfe04a1d2" providerId="ADAL" clId="{55D3F9CA-DD9E-4D8C-AB2A-63DA48859D6B}" dt="2021-11-29T10:12:27.663" v="29" actId="20577"/>
          <ac:spMkLst>
            <pc:docMk/>
            <pc:sldMk cId="0" sldId="280"/>
            <ac:spMk id="19" creationId="{321F4A3B-66DB-4C28-AA6D-4885F86E0D1B}"/>
          </ac:spMkLst>
        </pc:spChg>
      </pc:sldChg>
      <pc:sldChg chg="addSp delSp modSp mod">
        <pc:chgData name="Rossana BIANCHI (contractor)" userId="b4cb4edf-becc-4119-a448-bb2dfe04a1d2" providerId="ADAL" clId="{55D3F9CA-DD9E-4D8C-AB2A-63DA48859D6B}" dt="2021-11-29T10:12:35.592" v="35" actId="20577"/>
        <pc:sldMkLst>
          <pc:docMk/>
          <pc:sldMk cId="554787151" sldId="317"/>
        </pc:sldMkLst>
        <pc:spChg chg="add del">
          <ac:chgData name="Rossana BIANCHI (contractor)" userId="b4cb4edf-becc-4119-a448-bb2dfe04a1d2" providerId="ADAL" clId="{55D3F9CA-DD9E-4D8C-AB2A-63DA48859D6B}" dt="2021-11-29T10:10:35.445" v="15"/>
          <ac:spMkLst>
            <pc:docMk/>
            <pc:sldMk cId="554787151" sldId="317"/>
            <ac:spMk id="2" creationId="{847955CC-5C11-4308-9602-5581A846CCDA}"/>
          </ac:spMkLst>
        </pc:spChg>
        <pc:spChg chg="mod">
          <ac:chgData name="Rossana BIANCHI (contractor)" userId="b4cb4edf-becc-4119-a448-bb2dfe04a1d2" providerId="ADAL" clId="{55D3F9CA-DD9E-4D8C-AB2A-63DA48859D6B}" dt="2021-11-29T10:12:35.592" v="35" actId="20577"/>
          <ac:spMkLst>
            <pc:docMk/>
            <pc:sldMk cId="554787151" sldId="317"/>
            <ac:spMk id="72" creationId="{BADADF34-45C6-47EB-9652-246CCDFDB352}"/>
          </ac:spMkLst>
        </pc:spChg>
      </pc:sldChg>
      <pc:sldChg chg="modSp mod">
        <pc:chgData name="Rossana BIANCHI (contractor)" userId="b4cb4edf-becc-4119-a448-bb2dfe04a1d2" providerId="ADAL" clId="{55D3F9CA-DD9E-4D8C-AB2A-63DA48859D6B}" dt="2021-11-29T10:12:44.761" v="41" actId="20577"/>
        <pc:sldMkLst>
          <pc:docMk/>
          <pc:sldMk cId="403641937" sldId="372"/>
        </pc:sldMkLst>
        <pc:spChg chg="mod">
          <ac:chgData name="Rossana BIANCHI (contractor)" userId="b4cb4edf-becc-4119-a448-bb2dfe04a1d2" providerId="ADAL" clId="{55D3F9CA-DD9E-4D8C-AB2A-63DA48859D6B}" dt="2021-11-29T10:12:44.761" v="41" actId="20577"/>
          <ac:spMkLst>
            <pc:docMk/>
            <pc:sldMk cId="403641937" sldId="372"/>
            <ac:spMk id="6" creationId="{40D50BC8-62E6-4BE4-850B-66F4CCB5A3AC}"/>
          </ac:spMkLst>
        </pc:spChg>
      </pc:sldChg>
      <pc:sldChg chg="addSp delSp modSp mod">
        <pc:chgData name="Rossana BIANCHI (contractor)" userId="b4cb4edf-becc-4119-a448-bb2dfe04a1d2" providerId="ADAL" clId="{55D3F9CA-DD9E-4D8C-AB2A-63DA48859D6B}" dt="2021-11-29T10:10:35.445" v="15"/>
        <pc:sldMkLst>
          <pc:docMk/>
          <pc:sldMk cId="0" sldId="2145706008"/>
        </pc:sldMkLst>
        <pc:spChg chg="add mod">
          <ac:chgData name="Rossana BIANCHI (contractor)" userId="b4cb4edf-becc-4119-a448-bb2dfe04a1d2" providerId="ADAL" clId="{55D3F9CA-DD9E-4D8C-AB2A-63DA48859D6B}" dt="2021-11-29T10:10:29.006" v="13" actId="255"/>
          <ac:spMkLst>
            <pc:docMk/>
            <pc:sldMk cId="0" sldId="2145706008"/>
            <ac:spMk id="2" creationId="{4C08FC92-C527-4A64-9BF7-4B2113C2A38E}"/>
          </ac:spMkLst>
        </pc:spChg>
        <pc:spChg chg="add del">
          <ac:chgData name="Rossana BIANCHI (contractor)" userId="b4cb4edf-becc-4119-a448-bb2dfe04a1d2" providerId="ADAL" clId="{55D3F9CA-DD9E-4D8C-AB2A-63DA48859D6B}" dt="2021-11-29T10:10:35.445" v="15"/>
          <ac:spMkLst>
            <pc:docMk/>
            <pc:sldMk cId="0" sldId="2145706008"/>
            <ac:spMk id="3" creationId="{4E3BAD56-0D6D-4538-8510-72CB9FD92DF1}"/>
          </ac:spMkLst>
        </pc:spChg>
        <pc:spChg chg="mod">
          <ac:chgData name="Rossana BIANCHI (contractor)" userId="b4cb4edf-becc-4119-a448-bb2dfe04a1d2" providerId="ADAL" clId="{55D3F9CA-DD9E-4D8C-AB2A-63DA48859D6B}" dt="2021-11-29T10:08:43.768" v="5" actId="20577"/>
          <ac:spMkLst>
            <pc:docMk/>
            <pc:sldMk cId="0" sldId="2145706008"/>
            <ac:spMk id="401" creationId="{00000000-0000-0000-0000-000000000000}"/>
          </ac:spMkLst>
        </pc:spChg>
      </pc:sldChg>
      <pc:sldChg chg="addSp delSp modSp mod">
        <pc:chgData name="Rossana BIANCHI (contractor)" userId="b4cb4edf-becc-4119-a448-bb2dfe04a1d2" providerId="ADAL" clId="{55D3F9CA-DD9E-4D8C-AB2A-63DA48859D6B}" dt="2021-11-29T10:12:18.438" v="23" actId="20577"/>
        <pc:sldMkLst>
          <pc:docMk/>
          <pc:sldMk cId="1942709262" sldId="2145706027"/>
        </pc:sldMkLst>
        <pc:spChg chg="add del">
          <ac:chgData name="Rossana BIANCHI (contractor)" userId="b4cb4edf-becc-4119-a448-bb2dfe04a1d2" providerId="ADAL" clId="{55D3F9CA-DD9E-4D8C-AB2A-63DA48859D6B}" dt="2021-11-29T10:10:35.445" v="15"/>
          <ac:spMkLst>
            <pc:docMk/>
            <pc:sldMk cId="1942709262" sldId="2145706027"/>
            <ac:spMk id="2" creationId="{1AF59DC5-AA22-4B69-A6CD-9FE710AE5C21}"/>
          </ac:spMkLst>
        </pc:spChg>
        <pc:spChg chg="mod">
          <ac:chgData name="Rossana BIANCHI (contractor)" userId="b4cb4edf-becc-4119-a448-bb2dfe04a1d2" providerId="ADAL" clId="{55D3F9CA-DD9E-4D8C-AB2A-63DA48859D6B}" dt="2021-11-29T10:12:18.438" v="23" actId="20577"/>
          <ac:spMkLst>
            <pc:docMk/>
            <pc:sldMk cId="1942709262" sldId="2145706027"/>
            <ac:spMk id="51" creationId="{4564885E-65D1-49FB-A6B9-4EDB8BED6400}"/>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5AB3F0-9BAB-4AA3-8BF6-735F9FD08653}" type="datetimeFigureOut">
              <a:rPr lang="de-DE" smtClean="0"/>
              <a:t>29.11.2021</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CF431A-A932-44FC-B078-FD04E952A610}" type="slidenum">
              <a:rPr lang="de-DE" smtClean="0"/>
              <a:t>‹N°›</a:t>
            </a:fld>
            <a:endParaRPr lang="de-DE"/>
          </a:p>
        </p:txBody>
      </p:sp>
    </p:spTree>
    <p:extLst>
      <p:ext uri="{BB962C8B-B14F-4D97-AF65-F5344CB8AC3E}">
        <p14:creationId xmlns:p14="http://schemas.microsoft.com/office/powerpoint/2010/main" val="27458989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5.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5.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6.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6.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6.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6.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11.png"/><Relationship Id="rId4" Type="http://schemas.openxmlformats.org/officeDocument/2006/relationships/image" Target="../media/image10.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8_title">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805F8CBC-B357-4045-914B-ED7B985BAF52}"/>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57E083C5-85A4-43AD-9A57-98C467EA6926}"/>
              </a:ext>
            </a:extLst>
          </p:cNvPr>
          <p:cNvSpPr/>
          <p:nvPr userDrawn="1"/>
        </p:nvSpPr>
        <p:spPr>
          <a:xfrm>
            <a:off x="0" y="1903956"/>
            <a:ext cx="12192000" cy="4954044"/>
          </a:xfrm>
          <a:prstGeom prst="rect">
            <a:avLst/>
          </a:prstGeom>
          <a:gradFill>
            <a:gsLst>
              <a:gs pos="56632">
                <a:schemeClr val="accent1">
                  <a:lumMod val="60000"/>
                  <a:lumOff val="40000"/>
                </a:schemeClr>
              </a:gs>
              <a:gs pos="0">
                <a:schemeClr val="accent2">
                  <a:lumMod val="84000"/>
                </a:schemeClr>
              </a:gs>
              <a:gs pos="100000">
                <a:schemeClr val="accent3"/>
              </a:gs>
              <a:gs pos="22000">
                <a:srgbClr val="000094"/>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3" name="Grafik 12">
            <a:extLst>
              <a:ext uri="{FF2B5EF4-FFF2-40B4-BE49-F238E27FC236}">
                <a16:creationId xmlns:a16="http://schemas.microsoft.com/office/drawing/2014/main" id="{C4358B15-5C81-4F6E-81C6-9A77344B0D74}"/>
              </a:ext>
            </a:extLst>
          </p:cNvPr>
          <p:cNvPicPr>
            <a:picLocks noChangeAspect="1"/>
          </p:cNvPicPr>
          <p:nvPr userDrawn="1"/>
        </p:nvPicPr>
        <p:blipFill>
          <a:blip r:embed="rId2">
            <a:alphaModFix amt="44000"/>
            <a:extLst>
              <a:ext uri="{28A0092B-C50C-407E-A947-70E740481C1C}">
                <a14:useLocalDpi xmlns:a14="http://schemas.microsoft.com/office/drawing/2010/main" val="0"/>
              </a:ext>
            </a:extLst>
          </a:blip>
          <a:stretch>
            <a:fillRect/>
          </a:stretch>
        </p:blipFill>
        <p:spPr>
          <a:xfrm>
            <a:off x="4531939" y="4411383"/>
            <a:ext cx="12675547" cy="5202003"/>
          </a:xfrm>
          <a:prstGeom prst="rect">
            <a:avLst/>
          </a:prstGeom>
        </p:spPr>
      </p:pic>
      <p:sp>
        <p:nvSpPr>
          <p:cNvPr id="12" name="Titel 1">
            <a:extLst>
              <a:ext uri="{FF2B5EF4-FFF2-40B4-BE49-F238E27FC236}">
                <a16:creationId xmlns:a16="http://schemas.microsoft.com/office/drawing/2014/main" id="{2D2499DA-7C20-4CF1-BFC9-F6B33261BFA9}"/>
              </a:ext>
            </a:extLst>
          </p:cNvPr>
          <p:cNvSpPr>
            <a:spLocks noGrp="1"/>
          </p:cNvSpPr>
          <p:nvPr>
            <p:ph type="ctrTitle" hasCustomPrompt="1"/>
          </p:nvPr>
        </p:nvSpPr>
        <p:spPr>
          <a:xfrm>
            <a:off x="1006019" y="2610793"/>
            <a:ext cx="6489526" cy="2022475"/>
          </a:xfrm>
          <a:prstGeom prst="rect">
            <a:avLst/>
          </a:prstGeom>
        </p:spPr>
        <p:txBody>
          <a:bodyPr lIns="0" tIns="0" bIns="0" anchor="b">
            <a:normAutofit/>
          </a:bodyPr>
          <a:lstStyle>
            <a:lvl1pPr algn="l">
              <a:defRPr sz="5500" b="0">
                <a:solidFill>
                  <a:schemeClr val="bg1"/>
                </a:solidFill>
              </a:defRPr>
            </a:lvl1pPr>
          </a:lstStyle>
          <a:p>
            <a:r>
              <a:rPr lang="de-DE"/>
              <a:t>This is the title of the presentation</a:t>
            </a:r>
          </a:p>
        </p:txBody>
      </p:sp>
      <p:sp>
        <p:nvSpPr>
          <p:cNvPr id="14" name="Untertitel 2">
            <a:extLst>
              <a:ext uri="{FF2B5EF4-FFF2-40B4-BE49-F238E27FC236}">
                <a16:creationId xmlns:a16="http://schemas.microsoft.com/office/drawing/2014/main" id="{868B64C9-B0FA-4BC3-8181-82EEFA5E7306}"/>
              </a:ext>
            </a:extLst>
          </p:cNvPr>
          <p:cNvSpPr>
            <a:spLocks noGrp="1"/>
          </p:cNvSpPr>
          <p:nvPr>
            <p:ph type="subTitle" idx="1"/>
          </p:nvPr>
        </p:nvSpPr>
        <p:spPr>
          <a:xfrm>
            <a:off x="1006019" y="5171566"/>
            <a:ext cx="6188901" cy="887228"/>
          </a:xfrm>
          <a:prstGeom prst="rect">
            <a:avLst/>
          </a:prstGeom>
        </p:spPr>
        <p:txBody>
          <a:bodyPr lIns="0" tIns="0"/>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24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de-DE" dirty="0"/>
          </a:p>
        </p:txBody>
      </p:sp>
      <p:sp>
        <p:nvSpPr>
          <p:cNvPr id="16" name="Datumsplatzhalter 3">
            <a:extLst>
              <a:ext uri="{FF2B5EF4-FFF2-40B4-BE49-F238E27FC236}">
                <a16:creationId xmlns:a16="http://schemas.microsoft.com/office/drawing/2014/main" id="{A9FF7190-E7E0-4F4C-934D-5B39C55C5474}"/>
              </a:ext>
            </a:extLst>
          </p:cNvPr>
          <p:cNvSpPr>
            <a:spLocks noGrp="1"/>
          </p:cNvSpPr>
          <p:nvPr>
            <p:ph type="dt" sz="half" idx="10"/>
          </p:nvPr>
        </p:nvSpPr>
        <p:spPr>
          <a:xfrm>
            <a:off x="1006019" y="6002847"/>
            <a:ext cx="1309981" cy="365125"/>
          </a:xfrm>
        </p:spPr>
        <p:txBody>
          <a:bodyPr/>
          <a:lstStyle>
            <a:lvl1pPr algn="l">
              <a:defRPr sz="1600">
                <a:solidFill>
                  <a:schemeClr val="bg1"/>
                </a:solidFill>
                <a:latin typeface="+mj-lt"/>
              </a:defRPr>
            </a:lvl1pPr>
          </a:lstStyle>
          <a:p>
            <a:fld id="{48C3589A-DEB7-42ED-A62A-4D4B52434A7A}" type="datetime1">
              <a:rPr lang="en-US" smtClean="0"/>
              <a:t>11/29/2021</a:t>
            </a:fld>
            <a:endParaRPr lang="de-DE" dirty="0"/>
          </a:p>
        </p:txBody>
      </p:sp>
      <p:pic>
        <p:nvPicPr>
          <p:cNvPr id="15" name="Grafik 14">
            <a:extLst>
              <a:ext uri="{FF2B5EF4-FFF2-40B4-BE49-F238E27FC236}">
                <a16:creationId xmlns:a16="http://schemas.microsoft.com/office/drawing/2014/main" id="{E5114228-DBE9-4224-A2EE-0435CBDFE4E5}"/>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25026" y="452664"/>
            <a:ext cx="1728000" cy="963692"/>
          </a:xfrm>
          <a:prstGeom prst="rect">
            <a:avLst/>
          </a:prstGeom>
        </p:spPr>
      </p:pic>
    </p:spTree>
    <p:extLst>
      <p:ext uri="{BB962C8B-B14F-4D97-AF65-F5344CB8AC3E}">
        <p14:creationId xmlns:p14="http://schemas.microsoft.com/office/powerpoint/2010/main" val="2366781596"/>
      </p:ext>
    </p:extLst>
  </p:cSld>
  <p:clrMapOvr>
    <a:masterClrMapping/>
  </p:clrMapOvr>
  <p:extLst>
    <p:ext uri="{DCECCB84-F9BA-43D5-87BE-67443E8EF086}">
      <p15:sldGuideLst xmlns:p15="http://schemas.microsoft.com/office/powerpoint/2012/main">
        <p15:guide id="1" pos="52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content">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0B7B921C-DD71-4F98-A33D-A7936778058D}"/>
              </a:ext>
            </a:extLst>
          </p:cNvPr>
          <p:cNvSpPr>
            <a:spLocks noGrp="1"/>
          </p:cNvSpPr>
          <p:nvPr>
            <p:ph type="dt" sz="half" idx="10"/>
          </p:nvPr>
        </p:nvSpPr>
        <p:spPr/>
        <p:txBody>
          <a:bodyPr/>
          <a:lstStyle/>
          <a:p>
            <a:fld id="{5D2EA0B0-3D7E-4822-BC67-82F4B8B5C715}" type="datetime1">
              <a:rPr lang="en-US" smtClean="0"/>
              <a:t>11/29/2021</a:t>
            </a:fld>
            <a:endParaRPr lang="de-DE"/>
          </a:p>
        </p:txBody>
      </p:sp>
      <p:sp>
        <p:nvSpPr>
          <p:cNvPr id="5" name="Fußzeilenplatzhalter 4">
            <a:extLst>
              <a:ext uri="{FF2B5EF4-FFF2-40B4-BE49-F238E27FC236}">
                <a16:creationId xmlns:a16="http://schemas.microsoft.com/office/drawing/2014/main" id="{F8372CDE-0269-4A13-98B5-C2021453FF9D}"/>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C57CF5D1-2B71-44E7-BD5F-23474545DB7B}"/>
              </a:ext>
            </a:extLst>
          </p:cNvPr>
          <p:cNvSpPr>
            <a:spLocks noGrp="1"/>
          </p:cNvSpPr>
          <p:nvPr>
            <p:ph type="sldNum" sz="quarter" idx="12"/>
          </p:nvPr>
        </p:nvSpPr>
        <p:spPr/>
        <p:txBody>
          <a:bodyPr/>
          <a:lstStyle/>
          <a:p>
            <a:fld id="{46735E09-D06A-4765-B4D1-A70A5B2E5B6E}" type="slidenum">
              <a:rPr lang="de-DE" smtClean="0"/>
              <a:t>‹N°›</a:t>
            </a:fld>
            <a:endParaRPr lang="de-DE"/>
          </a:p>
        </p:txBody>
      </p:sp>
      <p:pic>
        <p:nvPicPr>
          <p:cNvPr id="7" name="Grafik 6">
            <a:extLst>
              <a:ext uri="{FF2B5EF4-FFF2-40B4-BE49-F238E27FC236}">
                <a16:creationId xmlns:a16="http://schemas.microsoft.com/office/drawing/2014/main" id="{2F607DA3-FACA-410C-A2F1-29FAB9AB670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565420" y="368300"/>
            <a:ext cx="1183668" cy="658834"/>
          </a:xfrm>
          <a:prstGeom prst="rect">
            <a:avLst/>
          </a:prstGeom>
        </p:spPr>
      </p:pic>
      <p:sp>
        <p:nvSpPr>
          <p:cNvPr id="10" name="Titel 1">
            <a:extLst>
              <a:ext uri="{FF2B5EF4-FFF2-40B4-BE49-F238E27FC236}">
                <a16:creationId xmlns:a16="http://schemas.microsoft.com/office/drawing/2014/main" id="{3A814B79-7DD9-4587-A8FC-4C56C805E79B}"/>
              </a:ext>
            </a:extLst>
          </p:cNvPr>
          <p:cNvSpPr>
            <a:spLocks noGrp="1"/>
          </p:cNvSpPr>
          <p:nvPr>
            <p:ph type="title" hasCustomPrompt="1"/>
          </p:nvPr>
        </p:nvSpPr>
        <p:spPr>
          <a:xfrm>
            <a:off x="515938" y="453851"/>
            <a:ext cx="6875155" cy="757619"/>
          </a:xfrm>
          <a:prstGeom prst="rect">
            <a:avLst/>
          </a:prstGeom>
        </p:spPr>
        <p:txBody>
          <a:bodyPr lIns="0" tIns="0" rIns="0"/>
          <a:lstStyle>
            <a:lvl1pPr>
              <a:defRPr sz="2900" b="0">
                <a:solidFill>
                  <a:schemeClr val="tx2"/>
                </a:solidFill>
              </a:defRPr>
            </a:lvl1pPr>
          </a:lstStyle>
          <a:p>
            <a:r>
              <a:rPr lang="de-DE"/>
              <a:t>This is a headline</a:t>
            </a:r>
          </a:p>
        </p:txBody>
      </p:sp>
      <p:sp>
        <p:nvSpPr>
          <p:cNvPr id="8" name="Bildplatzhalter 7">
            <a:extLst>
              <a:ext uri="{FF2B5EF4-FFF2-40B4-BE49-F238E27FC236}">
                <a16:creationId xmlns:a16="http://schemas.microsoft.com/office/drawing/2014/main" id="{3BEBD704-F1F8-4C42-824D-C7DE68879B3F}"/>
              </a:ext>
            </a:extLst>
          </p:cNvPr>
          <p:cNvSpPr>
            <a:spLocks noGrp="1"/>
          </p:cNvSpPr>
          <p:nvPr>
            <p:ph type="pic" sz="quarter" idx="13" hasCustomPrompt="1"/>
          </p:nvPr>
        </p:nvSpPr>
        <p:spPr>
          <a:xfrm>
            <a:off x="0" y="0"/>
            <a:ext cx="12192000" cy="6858000"/>
          </a:xfrm>
          <a:prstGeom prst="rect">
            <a:avLst/>
          </a:prstGeom>
          <a:solidFill>
            <a:schemeClr val="bg1">
              <a:lumMod val="95000"/>
            </a:schemeClr>
          </a:solidFill>
        </p:spPr>
        <p:txBody>
          <a:bodyPr/>
          <a:lstStyle>
            <a:lvl1pPr marL="0" indent="0" algn="ctr">
              <a:buNone/>
              <a:defRPr sz="1200"/>
            </a:lvl1pPr>
          </a:lstStyle>
          <a:p>
            <a:r>
              <a:rPr lang="de-DE"/>
              <a:t>picture</a:t>
            </a:r>
          </a:p>
        </p:txBody>
      </p:sp>
      <p:sp>
        <p:nvSpPr>
          <p:cNvPr id="12" name="Bildplatzhalter 11">
            <a:extLst>
              <a:ext uri="{FF2B5EF4-FFF2-40B4-BE49-F238E27FC236}">
                <a16:creationId xmlns:a16="http://schemas.microsoft.com/office/drawing/2014/main" id="{FAE77D14-E038-48E6-AD69-050CCB79F708}"/>
              </a:ext>
            </a:extLst>
          </p:cNvPr>
          <p:cNvSpPr>
            <a:spLocks noGrp="1"/>
          </p:cNvSpPr>
          <p:nvPr>
            <p:ph type="pic" sz="quarter" idx="14"/>
          </p:nvPr>
        </p:nvSpPr>
        <p:spPr>
          <a:xfrm>
            <a:off x="-8174" y="0"/>
            <a:ext cx="5227874" cy="6858000"/>
          </a:xfrm>
          <a:prstGeom prst="rect">
            <a:avLst/>
          </a:prstGeom>
          <a:gradFill flip="none" rotWithShape="1">
            <a:gsLst>
              <a:gs pos="1770">
                <a:schemeClr val="accent2"/>
              </a:gs>
              <a:gs pos="22000">
                <a:schemeClr val="tx2">
                  <a:alpha val="74000"/>
                </a:schemeClr>
              </a:gs>
              <a:gs pos="62000">
                <a:schemeClr val="accent1">
                  <a:alpha val="0"/>
                </a:schemeClr>
              </a:gs>
            </a:gsLst>
            <a:lin ang="1500000" scaled="0"/>
            <a:tileRect/>
          </a:gradFill>
        </p:spPr>
        <p:txBody>
          <a:bodyPr/>
          <a:lstStyle>
            <a:lvl1pPr marL="0" indent="0" algn="ctr">
              <a:buNone/>
              <a:defRPr sz="800">
                <a:solidFill>
                  <a:schemeClr val="bg1">
                    <a:lumMod val="95000"/>
                  </a:schemeClr>
                </a:solidFill>
              </a:defRPr>
            </a:lvl1pPr>
          </a:lstStyle>
          <a:p>
            <a:endParaRPr lang="de-DE"/>
          </a:p>
        </p:txBody>
      </p:sp>
    </p:spTree>
    <p:extLst>
      <p:ext uri="{BB962C8B-B14F-4D97-AF65-F5344CB8AC3E}">
        <p14:creationId xmlns:p14="http://schemas.microsoft.com/office/powerpoint/2010/main" val="9104171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content">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0B7B921C-DD71-4F98-A33D-A7936778058D}"/>
              </a:ext>
            </a:extLst>
          </p:cNvPr>
          <p:cNvSpPr>
            <a:spLocks noGrp="1"/>
          </p:cNvSpPr>
          <p:nvPr>
            <p:ph type="dt" sz="half" idx="10"/>
          </p:nvPr>
        </p:nvSpPr>
        <p:spPr>
          <a:xfrm>
            <a:off x="10237727" y="6483875"/>
            <a:ext cx="849775" cy="365125"/>
          </a:xfrm>
        </p:spPr>
        <p:txBody>
          <a:bodyPr/>
          <a:lstStyle/>
          <a:p>
            <a:fld id="{EF213581-7CC3-4746-B942-C5E701892F1D}" type="datetime1">
              <a:rPr lang="en-US" smtClean="0"/>
              <a:t>11/29/2021</a:t>
            </a:fld>
            <a:endParaRPr lang="de-DE"/>
          </a:p>
        </p:txBody>
      </p:sp>
      <p:sp>
        <p:nvSpPr>
          <p:cNvPr id="5" name="Fußzeilenplatzhalter 4">
            <a:extLst>
              <a:ext uri="{FF2B5EF4-FFF2-40B4-BE49-F238E27FC236}">
                <a16:creationId xmlns:a16="http://schemas.microsoft.com/office/drawing/2014/main" id="{F8372CDE-0269-4A13-98B5-C2021453FF9D}"/>
              </a:ext>
            </a:extLst>
          </p:cNvPr>
          <p:cNvSpPr>
            <a:spLocks noGrp="1"/>
          </p:cNvSpPr>
          <p:nvPr>
            <p:ph type="ftr" sz="quarter" idx="11"/>
          </p:nvPr>
        </p:nvSpPr>
        <p:spPr>
          <a:xfrm>
            <a:off x="336000" y="6483875"/>
            <a:ext cx="4114800" cy="365125"/>
          </a:xfrm>
        </p:spPr>
        <p:txBody>
          <a:bodyPr/>
          <a:lstStyle/>
          <a:p>
            <a:endParaRPr lang="de-DE"/>
          </a:p>
        </p:txBody>
      </p:sp>
      <p:sp>
        <p:nvSpPr>
          <p:cNvPr id="6" name="Foliennummernplatzhalter 5">
            <a:extLst>
              <a:ext uri="{FF2B5EF4-FFF2-40B4-BE49-F238E27FC236}">
                <a16:creationId xmlns:a16="http://schemas.microsoft.com/office/drawing/2014/main" id="{C57CF5D1-2B71-44E7-BD5F-23474545DB7B}"/>
              </a:ext>
            </a:extLst>
          </p:cNvPr>
          <p:cNvSpPr>
            <a:spLocks noGrp="1"/>
          </p:cNvSpPr>
          <p:nvPr>
            <p:ph type="sldNum" sz="quarter" idx="12"/>
          </p:nvPr>
        </p:nvSpPr>
        <p:spPr>
          <a:xfrm>
            <a:off x="11157818" y="6483875"/>
            <a:ext cx="510070" cy="365125"/>
          </a:xfrm>
        </p:spPr>
        <p:txBody>
          <a:bodyPr/>
          <a:lstStyle/>
          <a:p>
            <a:fld id="{46735E09-D06A-4765-B4D1-A70A5B2E5B6E}" type="slidenum">
              <a:rPr lang="de-DE" smtClean="0"/>
              <a:t>‹N°›</a:t>
            </a:fld>
            <a:endParaRPr lang="de-DE"/>
          </a:p>
        </p:txBody>
      </p:sp>
      <p:sp>
        <p:nvSpPr>
          <p:cNvPr id="10" name="Titel 1">
            <a:extLst>
              <a:ext uri="{FF2B5EF4-FFF2-40B4-BE49-F238E27FC236}">
                <a16:creationId xmlns:a16="http://schemas.microsoft.com/office/drawing/2014/main" id="{3A814B79-7DD9-4587-A8FC-4C56C805E79B}"/>
              </a:ext>
            </a:extLst>
          </p:cNvPr>
          <p:cNvSpPr>
            <a:spLocks noGrp="1"/>
          </p:cNvSpPr>
          <p:nvPr>
            <p:ph type="title" hasCustomPrompt="1"/>
          </p:nvPr>
        </p:nvSpPr>
        <p:spPr>
          <a:xfrm>
            <a:off x="515938" y="453851"/>
            <a:ext cx="6875155" cy="757619"/>
          </a:xfrm>
          <a:prstGeom prst="rect">
            <a:avLst/>
          </a:prstGeom>
        </p:spPr>
        <p:txBody>
          <a:bodyPr lIns="0" tIns="0" rIns="0"/>
          <a:lstStyle>
            <a:lvl1pPr>
              <a:defRPr sz="2900" b="0">
                <a:solidFill>
                  <a:schemeClr val="tx2"/>
                </a:solidFill>
              </a:defRPr>
            </a:lvl1pPr>
          </a:lstStyle>
          <a:p>
            <a:r>
              <a:rPr lang="de-DE"/>
              <a:t>This is a headline</a:t>
            </a:r>
          </a:p>
        </p:txBody>
      </p:sp>
      <p:pic>
        <p:nvPicPr>
          <p:cNvPr id="8" name="Grafik 7">
            <a:extLst>
              <a:ext uri="{FF2B5EF4-FFF2-40B4-BE49-F238E27FC236}">
                <a16:creationId xmlns:a16="http://schemas.microsoft.com/office/drawing/2014/main" id="{266FBCA7-87AA-423A-A57C-F133C2F27DB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77604" y="368300"/>
            <a:ext cx="1184400" cy="660531"/>
          </a:xfrm>
          <a:prstGeom prst="rect">
            <a:avLst/>
          </a:prstGeom>
        </p:spPr>
      </p:pic>
    </p:spTree>
    <p:extLst>
      <p:ext uri="{BB962C8B-B14F-4D97-AF65-F5344CB8AC3E}">
        <p14:creationId xmlns:p14="http://schemas.microsoft.com/office/powerpoint/2010/main" val="22547866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7_Nur Titel">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AB066A7F-1B93-4905-8CA9-495B41258BA8}"/>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46A158BF-703F-42D8-B1F9-19973D426E29}"/>
              </a:ext>
            </a:extLst>
          </p:cNvPr>
          <p:cNvSpPr/>
          <p:nvPr userDrawn="1"/>
        </p:nvSpPr>
        <p:spPr>
          <a:xfrm>
            <a:off x="0" y="1856100"/>
            <a:ext cx="4648200" cy="4991621"/>
          </a:xfrm>
          <a:prstGeom prst="rect">
            <a:avLst/>
          </a:prstGeom>
          <a:gradFill>
            <a:gsLst>
              <a:gs pos="0">
                <a:schemeClr val="accent2">
                  <a:lumMod val="84000"/>
                </a:schemeClr>
              </a:gs>
              <a:gs pos="69000">
                <a:schemeClr val="accent1"/>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E0A05EDB-D93B-439C-B793-E61C1AB13C25}"/>
              </a:ext>
            </a:extLst>
          </p:cNvPr>
          <p:cNvSpPr/>
          <p:nvPr userDrawn="1"/>
        </p:nvSpPr>
        <p:spPr>
          <a:xfrm>
            <a:off x="0" y="1866376"/>
            <a:ext cx="12192000" cy="4991623"/>
          </a:xfrm>
          <a:prstGeom prst="rect">
            <a:avLst/>
          </a:prstGeom>
          <a:gradFill>
            <a:gsLst>
              <a:gs pos="0">
                <a:srgbClr val="000094">
                  <a:alpha val="0"/>
                </a:srgbClr>
              </a:gs>
              <a:gs pos="100000">
                <a:schemeClr val="accent3"/>
              </a:gs>
            </a:gsLst>
            <a:lin ang="15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DC4E0629-C2B7-4E47-AC95-F0ABC8B5B2DF}"/>
              </a:ext>
            </a:extLst>
          </p:cNvPr>
          <p:cNvSpPr txBox="1"/>
          <p:nvPr userDrawn="1"/>
        </p:nvSpPr>
        <p:spPr>
          <a:xfrm>
            <a:off x="5791200" y="2484593"/>
            <a:ext cx="6680549" cy="3018772"/>
          </a:xfrm>
          <a:prstGeom prst="rect">
            <a:avLst/>
          </a:prstGeom>
          <a:noFill/>
        </p:spPr>
        <p:txBody>
          <a:bodyPr wrap="square" rtlCol="0">
            <a:noAutofit/>
          </a:bodyPr>
          <a:lstStyle/>
          <a:p>
            <a:pPr>
              <a:spcBef>
                <a:spcPts val="2000"/>
              </a:spcBef>
            </a:pPr>
            <a:endParaRPr lang="de-DE" sz="3600">
              <a:solidFill>
                <a:schemeClr val="bg1"/>
              </a:solidFill>
              <a:latin typeface="+mj-lt"/>
            </a:endParaRPr>
          </a:p>
        </p:txBody>
      </p:sp>
      <p:sp>
        <p:nvSpPr>
          <p:cNvPr id="3" name="Textplatzhalter 2">
            <a:extLst>
              <a:ext uri="{FF2B5EF4-FFF2-40B4-BE49-F238E27FC236}">
                <a16:creationId xmlns:a16="http://schemas.microsoft.com/office/drawing/2014/main" id="{8ED80C3A-BE6B-4912-9314-6A51580B485B}"/>
              </a:ext>
            </a:extLst>
          </p:cNvPr>
          <p:cNvSpPr>
            <a:spLocks noGrp="1"/>
          </p:cNvSpPr>
          <p:nvPr>
            <p:ph type="body" sz="quarter" idx="10" hasCustomPrompt="1"/>
          </p:nvPr>
        </p:nvSpPr>
        <p:spPr>
          <a:xfrm>
            <a:off x="2450925" y="3012018"/>
            <a:ext cx="6680549" cy="2700337"/>
          </a:xfrm>
          <a:prstGeom prst="rect">
            <a:avLst/>
          </a:prstGeom>
        </p:spPr>
        <p:txBody>
          <a:bodyPr lIns="0" tIns="0"/>
          <a:lstStyle>
            <a:lvl1pPr marL="0" indent="0">
              <a:lnSpc>
                <a:spcPct val="100000"/>
              </a:lnSpc>
              <a:buNone/>
              <a:defRPr sz="3200">
                <a:solidFill>
                  <a:schemeClr val="bg1"/>
                </a:solidFill>
                <a:latin typeface="+mj-lt"/>
              </a:defRPr>
            </a:lvl1pPr>
            <a:lvl2pPr marL="457200" indent="0">
              <a:lnSpc>
                <a:spcPct val="100000"/>
              </a:lnSpc>
              <a:buNone/>
              <a:defRPr sz="3600">
                <a:solidFill>
                  <a:schemeClr val="bg1"/>
                </a:solidFill>
                <a:latin typeface="+mj-lt"/>
              </a:defRPr>
            </a:lvl2pPr>
            <a:lvl3pPr marL="914400" indent="0">
              <a:lnSpc>
                <a:spcPct val="100000"/>
              </a:lnSpc>
              <a:buNone/>
              <a:defRPr sz="3600">
                <a:solidFill>
                  <a:schemeClr val="bg1"/>
                </a:solidFill>
                <a:latin typeface="+mj-lt"/>
              </a:defRPr>
            </a:lvl3pPr>
            <a:lvl4pPr marL="1371600" indent="0">
              <a:lnSpc>
                <a:spcPct val="100000"/>
              </a:lnSpc>
              <a:buNone/>
              <a:defRPr sz="3600">
                <a:solidFill>
                  <a:schemeClr val="bg1"/>
                </a:solidFill>
                <a:latin typeface="+mj-lt"/>
              </a:defRPr>
            </a:lvl4pPr>
            <a:lvl5pPr marL="1828800" indent="0">
              <a:lnSpc>
                <a:spcPct val="100000"/>
              </a:lnSpc>
              <a:buNone/>
              <a:defRPr sz="3600">
                <a:solidFill>
                  <a:schemeClr val="bg1"/>
                </a:solidFill>
                <a:latin typeface="+mj-lt"/>
              </a:defRPr>
            </a:lvl5pPr>
          </a:lstStyle>
          <a:p>
            <a:pPr>
              <a:spcBef>
                <a:spcPts val="2000"/>
              </a:spcBef>
            </a:pPr>
            <a:r>
              <a:rPr lang="en-US" sz="3600" b="1" i="0" u="none" strike="noStrike" kern="1200" dirty="0">
                <a:solidFill>
                  <a:schemeClr val="bg1"/>
                </a:solidFill>
                <a:effectLst/>
                <a:latin typeface="+mj-lt"/>
                <a:ea typeface="+mn-ea"/>
                <a:cs typeface="+mn-cs"/>
              </a:rPr>
              <a:t>Be part </a:t>
            </a:r>
            <a:r>
              <a:rPr lang="en-US" sz="3600" b="0" i="0" u="none" strike="noStrike" kern="1200" dirty="0">
                <a:solidFill>
                  <a:schemeClr val="bg1"/>
                </a:solidFill>
                <a:effectLst/>
                <a:latin typeface="+mj-lt"/>
                <a:ea typeface="+mn-ea"/>
                <a:cs typeface="+mn-cs"/>
              </a:rPr>
              <a:t>of </a:t>
            </a:r>
            <a:r>
              <a:rPr lang="en-US" sz="3600" b="1" i="0" u="none" strike="noStrike" kern="1200" dirty="0" err="1">
                <a:solidFill>
                  <a:schemeClr val="bg1"/>
                </a:solidFill>
                <a:effectLst/>
                <a:latin typeface="+mj-lt"/>
                <a:ea typeface="+mn-ea"/>
                <a:cs typeface="+mn-cs"/>
              </a:rPr>
              <a:t>gaia</a:t>
            </a:r>
            <a:r>
              <a:rPr lang="en-US" sz="3600" b="1" i="0" u="none" strike="noStrike" kern="1200" dirty="0">
                <a:solidFill>
                  <a:schemeClr val="bg1"/>
                </a:solidFill>
                <a:effectLst/>
                <a:latin typeface="+mj-lt"/>
                <a:ea typeface="+mn-ea"/>
                <a:cs typeface="+mn-cs"/>
              </a:rPr>
              <a:t>-x </a:t>
            </a:r>
            <a:r>
              <a:rPr lang="en-US" sz="3600" b="0" i="0" u="none" strike="noStrike" kern="1200" dirty="0">
                <a:solidFill>
                  <a:schemeClr val="bg1"/>
                </a:solidFill>
                <a:effectLst/>
                <a:latin typeface="+mj-lt"/>
                <a:ea typeface="+mn-ea"/>
                <a:cs typeface="+mn-cs"/>
              </a:rPr>
              <a:t>and </a:t>
            </a:r>
            <a:r>
              <a:rPr lang="en-US" sz="3600" b="1" i="0" u="none" strike="noStrike" kern="1200" dirty="0">
                <a:solidFill>
                  <a:schemeClr val="bg1"/>
                </a:solidFill>
                <a:effectLst/>
                <a:latin typeface="+mj-lt"/>
                <a:ea typeface="+mn-ea"/>
                <a:cs typeface="+mn-cs"/>
              </a:rPr>
              <a:t>create </a:t>
            </a:r>
            <a:br>
              <a:rPr lang="en-US" sz="3600" b="1" i="0" u="none" strike="noStrike" kern="1200" dirty="0">
                <a:solidFill>
                  <a:schemeClr val="bg1"/>
                </a:solidFill>
                <a:effectLst/>
                <a:latin typeface="+mj-lt"/>
                <a:ea typeface="+mn-ea"/>
                <a:cs typeface="+mn-cs"/>
              </a:rPr>
            </a:br>
            <a:r>
              <a:rPr lang="en-US" sz="3600" b="0" i="0" u="none" strike="noStrike" kern="1200" dirty="0">
                <a:solidFill>
                  <a:schemeClr val="bg1"/>
                </a:solidFill>
                <a:effectLst/>
                <a:latin typeface="+mj-lt"/>
                <a:ea typeface="+mn-ea"/>
                <a:cs typeface="+mn-cs"/>
              </a:rPr>
              <a:t>a</a:t>
            </a:r>
            <a:r>
              <a:rPr lang="en-US" sz="3600" b="1" i="0" u="none" strike="noStrike" kern="1200" dirty="0">
                <a:solidFill>
                  <a:schemeClr val="bg1"/>
                </a:solidFill>
                <a:effectLst/>
                <a:latin typeface="+mj-lt"/>
                <a:ea typeface="+mn-ea"/>
                <a:cs typeface="+mn-cs"/>
              </a:rPr>
              <a:t> future </a:t>
            </a:r>
            <a:r>
              <a:rPr lang="en-US" sz="3600" b="0" i="0" u="none" strike="noStrike" kern="1200" dirty="0">
                <a:solidFill>
                  <a:schemeClr val="bg1"/>
                </a:solidFill>
                <a:effectLst/>
                <a:latin typeface="+mj-lt"/>
                <a:ea typeface="+mn-ea"/>
                <a:cs typeface="+mn-cs"/>
              </a:rPr>
              <a:t>that is both </a:t>
            </a:r>
            <a:r>
              <a:rPr lang="en-US" sz="3600" b="1" i="0" u="none" strike="noStrike" kern="1200" dirty="0">
                <a:solidFill>
                  <a:schemeClr val="bg1"/>
                </a:solidFill>
                <a:effectLst/>
                <a:latin typeface="+mj-lt"/>
                <a:ea typeface="+mn-ea"/>
                <a:cs typeface="+mn-cs"/>
              </a:rPr>
              <a:t>open </a:t>
            </a:r>
            <a:r>
              <a:rPr lang="en-US" sz="3600" b="0" i="0" u="none" strike="noStrike" kern="1200" dirty="0">
                <a:solidFill>
                  <a:schemeClr val="bg1"/>
                </a:solidFill>
                <a:effectLst/>
                <a:latin typeface="+mj-lt"/>
                <a:ea typeface="+mn-ea"/>
                <a:cs typeface="+mn-cs"/>
              </a:rPr>
              <a:t>and</a:t>
            </a:r>
            <a:r>
              <a:rPr lang="en-US" sz="3600" b="1" i="0" u="none" strike="noStrike" kern="1200" dirty="0">
                <a:solidFill>
                  <a:schemeClr val="bg1"/>
                </a:solidFill>
                <a:effectLst/>
                <a:latin typeface="+mj-lt"/>
                <a:ea typeface="+mn-ea"/>
                <a:cs typeface="+mn-cs"/>
              </a:rPr>
              <a:t> fair</a:t>
            </a:r>
            <a:r>
              <a:rPr lang="en-US" sz="3600" b="0" i="0" u="none" strike="noStrike" kern="1200" dirty="0">
                <a:solidFill>
                  <a:schemeClr val="bg1"/>
                </a:solidFill>
                <a:effectLst/>
                <a:latin typeface="+mj-lt"/>
                <a:ea typeface="+mn-ea"/>
                <a:cs typeface="+mn-cs"/>
              </a:rPr>
              <a:t>!</a:t>
            </a:r>
            <a:r>
              <a:rPr lang="en-US" sz="3600" b="0" i="0" kern="1200" dirty="0">
                <a:solidFill>
                  <a:schemeClr val="bg1"/>
                </a:solidFill>
                <a:effectLst/>
                <a:latin typeface="+mj-lt"/>
                <a:ea typeface="+mn-ea"/>
                <a:cs typeface="+mn-cs"/>
              </a:rPr>
              <a:t>​</a:t>
            </a:r>
          </a:p>
          <a:p>
            <a:pPr>
              <a:spcBef>
                <a:spcPts val="2000"/>
              </a:spcBef>
            </a:pPr>
            <a:r>
              <a:rPr lang="en-US" sz="3600" b="0" i="0" u="none" strike="noStrike" kern="1200" dirty="0">
                <a:solidFill>
                  <a:schemeClr val="bg1"/>
                </a:solidFill>
                <a:effectLst/>
                <a:latin typeface="+mj-lt"/>
                <a:ea typeface="+mn-ea"/>
                <a:cs typeface="+mn-cs"/>
              </a:rPr>
              <a:t>We are </a:t>
            </a:r>
            <a:r>
              <a:rPr lang="en-US" sz="3600" b="1" i="0" u="none" strike="noStrike" kern="1200" dirty="0">
                <a:solidFill>
                  <a:schemeClr val="bg1"/>
                </a:solidFill>
                <a:effectLst/>
                <a:latin typeface="+mj-lt"/>
                <a:ea typeface="+mn-ea"/>
                <a:cs typeface="+mn-cs"/>
              </a:rPr>
              <a:t>happy</a:t>
            </a:r>
            <a:r>
              <a:rPr lang="en-US" sz="3600" b="0" i="0" u="none" strike="noStrike" kern="1200" dirty="0">
                <a:solidFill>
                  <a:schemeClr val="bg1"/>
                </a:solidFill>
                <a:effectLst/>
                <a:latin typeface="+mj-lt"/>
                <a:ea typeface="+mn-ea"/>
                <a:cs typeface="+mn-cs"/>
              </a:rPr>
              <a:t> to </a:t>
            </a:r>
            <a:r>
              <a:rPr lang="en-US" sz="3600" b="1" i="0" u="none" strike="noStrike" kern="1200" dirty="0">
                <a:solidFill>
                  <a:schemeClr val="bg1"/>
                </a:solidFill>
                <a:effectLst/>
                <a:latin typeface="+mj-lt"/>
                <a:ea typeface="+mn-ea"/>
                <a:cs typeface="+mn-cs"/>
              </a:rPr>
              <a:t>have you with us</a:t>
            </a:r>
            <a:r>
              <a:rPr lang="en-US" sz="3600" b="0" i="0" u="none" strike="noStrike" kern="1200" dirty="0">
                <a:solidFill>
                  <a:schemeClr val="bg1"/>
                </a:solidFill>
                <a:effectLst/>
                <a:latin typeface="+mj-lt"/>
                <a:ea typeface="+mn-ea"/>
                <a:cs typeface="+mn-cs"/>
              </a:rPr>
              <a:t> and </a:t>
            </a:r>
            <a:r>
              <a:rPr lang="en-US" sz="3600" b="1" i="0" u="none" strike="noStrike" kern="1200" dirty="0">
                <a:solidFill>
                  <a:schemeClr val="bg1"/>
                </a:solidFill>
                <a:effectLst/>
                <a:latin typeface="+mj-lt"/>
                <a:ea typeface="+mn-ea"/>
                <a:cs typeface="+mn-cs"/>
              </a:rPr>
              <a:t>welcome you</a:t>
            </a:r>
            <a:r>
              <a:rPr lang="en-US" sz="3600" b="0" i="0" u="none" strike="noStrike" kern="1200" dirty="0">
                <a:solidFill>
                  <a:schemeClr val="bg1"/>
                </a:solidFill>
                <a:effectLst/>
                <a:latin typeface="+mj-lt"/>
                <a:ea typeface="+mn-ea"/>
                <a:cs typeface="+mn-cs"/>
              </a:rPr>
              <a:t>.</a:t>
            </a:r>
            <a:r>
              <a:rPr lang="en-US" sz="3600" b="0" i="0" kern="1200" dirty="0">
                <a:solidFill>
                  <a:schemeClr val="bg1"/>
                </a:solidFill>
                <a:effectLst/>
                <a:latin typeface="+mj-lt"/>
                <a:ea typeface="+mn-ea"/>
                <a:cs typeface="+mn-cs"/>
              </a:rPr>
              <a:t>​</a:t>
            </a:r>
            <a:endParaRPr lang="de-DE" sz="3600" dirty="0">
              <a:solidFill>
                <a:schemeClr val="bg1"/>
              </a:solidFill>
              <a:latin typeface="+mj-lt"/>
            </a:endParaRPr>
          </a:p>
        </p:txBody>
      </p:sp>
      <p:pic>
        <p:nvPicPr>
          <p:cNvPr id="9" name="Grafik 8">
            <a:extLst>
              <a:ext uri="{FF2B5EF4-FFF2-40B4-BE49-F238E27FC236}">
                <a16:creationId xmlns:a16="http://schemas.microsoft.com/office/drawing/2014/main" id="{C03AF734-3C6F-44E8-BB71-394A72D714B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25026" y="452664"/>
            <a:ext cx="1728000" cy="963692"/>
          </a:xfrm>
          <a:prstGeom prst="rect">
            <a:avLst/>
          </a:prstGeom>
        </p:spPr>
      </p:pic>
    </p:spTree>
    <p:extLst>
      <p:ext uri="{BB962C8B-B14F-4D97-AF65-F5344CB8AC3E}">
        <p14:creationId xmlns:p14="http://schemas.microsoft.com/office/powerpoint/2010/main" val="8034456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9_title">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805F8CBC-B357-4045-914B-ED7B985BAF52}"/>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57E083C5-85A4-43AD-9A57-98C467EA6926}"/>
              </a:ext>
            </a:extLst>
          </p:cNvPr>
          <p:cNvSpPr/>
          <p:nvPr userDrawn="1"/>
        </p:nvSpPr>
        <p:spPr>
          <a:xfrm>
            <a:off x="0" y="1903956"/>
            <a:ext cx="12192000" cy="4954044"/>
          </a:xfrm>
          <a:prstGeom prst="rect">
            <a:avLst/>
          </a:prstGeom>
          <a:gradFill>
            <a:gsLst>
              <a:gs pos="56632">
                <a:schemeClr val="accent1">
                  <a:lumMod val="60000"/>
                  <a:lumOff val="40000"/>
                </a:schemeClr>
              </a:gs>
              <a:gs pos="0">
                <a:schemeClr val="accent2">
                  <a:lumMod val="84000"/>
                </a:schemeClr>
              </a:gs>
              <a:gs pos="100000">
                <a:schemeClr val="accent3"/>
              </a:gs>
              <a:gs pos="22000">
                <a:srgbClr val="000094"/>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3" name="Grafik 12">
            <a:extLst>
              <a:ext uri="{FF2B5EF4-FFF2-40B4-BE49-F238E27FC236}">
                <a16:creationId xmlns:a16="http://schemas.microsoft.com/office/drawing/2014/main" id="{C4358B15-5C81-4F6E-81C6-9A77344B0D74}"/>
              </a:ext>
            </a:extLst>
          </p:cNvPr>
          <p:cNvPicPr>
            <a:picLocks noChangeAspect="1"/>
          </p:cNvPicPr>
          <p:nvPr userDrawn="1"/>
        </p:nvPicPr>
        <p:blipFill>
          <a:blip r:embed="rId2">
            <a:alphaModFix amt="44000"/>
            <a:extLst>
              <a:ext uri="{28A0092B-C50C-407E-A947-70E740481C1C}">
                <a14:useLocalDpi xmlns:a14="http://schemas.microsoft.com/office/drawing/2010/main" val="0"/>
              </a:ext>
            </a:extLst>
          </a:blip>
          <a:stretch>
            <a:fillRect/>
          </a:stretch>
        </p:blipFill>
        <p:spPr>
          <a:xfrm>
            <a:off x="4531939" y="4411383"/>
            <a:ext cx="12675547" cy="5202003"/>
          </a:xfrm>
          <a:prstGeom prst="rect">
            <a:avLst/>
          </a:prstGeom>
        </p:spPr>
      </p:pic>
      <p:pic>
        <p:nvPicPr>
          <p:cNvPr id="19" name="Grafik 18">
            <a:extLst>
              <a:ext uri="{FF2B5EF4-FFF2-40B4-BE49-F238E27FC236}">
                <a16:creationId xmlns:a16="http://schemas.microsoft.com/office/drawing/2014/main" id="{26169FB9-4FFD-4257-B3EA-EC910F048DD0}"/>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25026" y="452664"/>
            <a:ext cx="1728000" cy="961811"/>
          </a:xfrm>
          <a:prstGeom prst="rect">
            <a:avLst/>
          </a:prstGeom>
        </p:spPr>
      </p:pic>
      <p:sp>
        <p:nvSpPr>
          <p:cNvPr id="12" name="Titel 1">
            <a:extLst>
              <a:ext uri="{FF2B5EF4-FFF2-40B4-BE49-F238E27FC236}">
                <a16:creationId xmlns:a16="http://schemas.microsoft.com/office/drawing/2014/main" id="{2D2499DA-7C20-4CF1-BFC9-F6B33261BFA9}"/>
              </a:ext>
            </a:extLst>
          </p:cNvPr>
          <p:cNvSpPr>
            <a:spLocks noGrp="1"/>
          </p:cNvSpPr>
          <p:nvPr>
            <p:ph type="ctrTitle" hasCustomPrompt="1"/>
          </p:nvPr>
        </p:nvSpPr>
        <p:spPr>
          <a:xfrm>
            <a:off x="1006019" y="2610793"/>
            <a:ext cx="6489526" cy="2022475"/>
          </a:xfrm>
          <a:prstGeom prst="rect">
            <a:avLst/>
          </a:prstGeom>
        </p:spPr>
        <p:txBody>
          <a:bodyPr lIns="0" tIns="0" bIns="0" anchor="b">
            <a:normAutofit/>
          </a:bodyPr>
          <a:lstStyle>
            <a:lvl1pPr algn="l">
              <a:defRPr sz="5500" b="0">
                <a:solidFill>
                  <a:schemeClr val="bg1"/>
                </a:solidFill>
              </a:defRPr>
            </a:lvl1pPr>
          </a:lstStyle>
          <a:p>
            <a:r>
              <a:rPr lang="de-DE"/>
              <a:t>GAIA-x – the st</a:t>
            </a:r>
          </a:p>
        </p:txBody>
      </p:sp>
      <p:sp>
        <p:nvSpPr>
          <p:cNvPr id="14" name="Untertitel 2">
            <a:extLst>
              <a:ext uri="{FF2B5EF4-FFF2-40B4-BE49-F238E27FC236}">
                <a16:creationId xmlns:a16="http://schemas.microsoft.com/office/drawing/2014/main" id="{868B64C9-B0FA-4BC3-8181-82EEFA5E7306}"/>
              </a:ext>
            </a:extLst>
          </p:cNvPr>
          <p:cNvSpPr>
            <a:spLocks noGrp="1"/>
          </p:cNvSpPr>
          <p:nvPr>
            <p:ph type="subTitle" idx="1" hasCustomPrompt="1"/>
          </p:nvPr>
        </p:nvSpPr>
        <p:spPr>
          <a:xfrm>
            <a:off x="1006019" y="5171566"/>
            <a:ext cx="6188901" cy="887228"/>
          </a:xfrm>
          <a:prstGeom prst="rect">
            <a:avLst/>
          </a:prstGeom>
        </p:spPr>
        <p:txBody>
          <a:bodyPr lIns="0" tIns="0"/>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24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Edit subtitle</a:t>
            </a:r>
          </a:p>
        </p:txBody>
      </p:sp>
      <p:sp>
        <p:nvSpPr>
          <p:cNvPr id="16" name="Datumsplatzhalter 3">
            <a:extLst>
              <a:ext uri="{FF2B5EF4-FFF2-40B4-BE49-F238E27FC236}">
                <a16:creationId xmlns:a16="http://schemas.microsoft.com/office/drawing/2014/main" id="{A9FF7190-E7E0-4F4C-934D-5B39C55C5474}"/>
              </a:ext>
            </a:extLst>
          </p:cNvPr>
          <p:cNvSpPr>
            <a:spLocks noGrp="1"/>
          </p:cNvSpPr>
          <p:nvPr>
            <p:ph type="dt" sz="half" idx="10"/>
          </p:nvPr>
        </p:nvSpPr>
        <p:spPr>
          <a:xfrm>
            <a:off x="1006019" y="6002847"/>
            <a:ext cx="849775" cy="365125"/>
          </a:xfrm>
        </p:spPr>
        <p:txBody>
          <a:bodyPr/>
          <a:lstStyle>
            <a:lvl1pPr algn="l">
              <a:defRPr sz="1600">
                <a:solidFill>
                  <a:schemeClr val="bg1"/>
                </a:solidFill>
                <a:latin typeface="+mj-lt"/>
              </a:defRPr>
            </a:lvl1pPr>
          </a:lstStyle>
          <a:p>
            <a:fld id="{01F3BAA4-CDA0-4D7D-9D5D-B02600E4DEB9}" type="datetime1">
              <a:rPr lang="en-US" smtClean="0"/>
              <a:t>11/29/2021</a:t>
            </a:fld>
            <a:endParaRPr lang="de-DE"/>
          </a:p>
        </p:txBody>
      </p:sp>
      <p:cxnSp>
        <p:nvCxnSpPr>
          <p:cNvPr id="18" name="Gerader Verbinder 17">
            <a:extLst>
              <a:ext uri="{FF2B5EF4-FFF2-40B4-BE49-F238E27FC236}">
                <a16:creationId xmlns:a16="http://schemas.microsoft.com/office/drawing/2014/main" id="{5602975A-2666-4F68-8AB3-41A4C0D07743}"/>
              </a:ext>
            </a:extLst>
          </p:cNvPr>
          <p:cNvCxnSpPr>
            <a:cxnSpLocks/>
          </p:cNvCxnSpPr>
          <p:nvPr userDrawn="1"/>
        </p:nvCxnSpPr>
        <p:spPr>
          <a:xfrm>
            <a:off x="1018545" y="4974101"/>
            <a:ext cx="180000"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0418232"/>
      </p:ext>
    </p:extLst>
  </p:cSld>
  <p:clrMapOvr>
    <a:masterClrMapping/>
  </p:clrMapOvr>
  <p:extLst>
    <p:ext uri="{DCECCB84-F9BA-43D5-87BE-67443E8EF086}">
      <p15:sldGuideLst xmlns:p15="http://schemas.microsoft.com/office/powerpoint/2012/main">
        <p15:guide id="1" pos="529">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1_title">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805F8CBC-B357-4045-914B-ED7B985BAF52}"/>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57E083C5-85A4-43AD-9A57-98C467EA6926}"/>
              </a:ext>
            </a:extLst>
          </p:cNvPr>
          <p:cNvSpPr/>
          <p:nvPr userDrawn="1"/>
        </p:nvSpPr>
        <p:spPr>
          <a:xfrm>
            <a:off x="0" y="1903956"/>
            <a:ext cx="12192000" cy="4954044"/>
          </a:xfrm>
          <a:prstGeom prst="rect">
            <a:avLst/>
          </a:prstGeom>
          <a:gradFill>
            <a:gsLst>
              <a:gs pos="56632">
                <a:schemeClr val="accent1">
                  <a:lumMod val="60000"/>
                  <a:lumOff val="40000"/>
                </a:schemeClr>
              </a:gs>
              <a:gs pos="0">
                <a:schemeClr val="accent2">
                  <a:lumMod val="84000"/>
                </a:schemeClr>
              </a:gs>
              <a:gs pos="100000">
                <a:schemeClr val="accent3"/>
              </a:gs>
              <a:gs pos="22000">
                <a:srgbClr val="000094"/>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9" name="Grafik 18">
            <a:extLst>
              <a:ext uri="{FF2B5EF4-FFF2-40B4-BE49-F238E27FC236}">
                <a16:creationId xmlns:a16="http://schemas.microsoft.com/office/drawing/2014/main" id="{26169FB9-4FFD-4257-B3EA-EC910F048DD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25026" y="452664"/>
            <a:ext cx="1728000" cy="961811"/>
          </a:xfrm>
          <a:prstGeom prst="rect">
            <a:avLst/>
          </a:prstGeom>
        </p:spPr>
      </p:pic>
      <p:sp>
        <p:nvSpPr>
          <p:cNvPr id="12" name="Titel 1">
            <a:extLst>
              <a:ext uri="{FF2B5EF4-FFF2-40B4-BE49-F238E27FC236}">
                <a16:creationId xmlns:a16="http://schemas.microsoft.com/office/drawing/2014/main" id="{2D2499DA-7C20-4CF1-BFC9-F6B33261BFA9}"/>
              </a:ext>
            </a:extLst>
          </p:cNvPr>
          <p:cNvSpPr>
            <a:spLocks noGrp="1"/>
          </p:cNvSpPr>
          <p:nvPr>
            <p:ph type="ctrTitle" hasCustomPrompt="1"/>
          </p:nvPr>
        </p:nvSpPr>
        <p:spPr>
          <a:xfrm>
            <a:off x="1006019" y="2610793"/>
            <a:ext cx="6489526" cy="2022475"/>
          </a:xfrm>
          <a:prstGeom prst="rect">
            <a:avLst/>
          </a:prstGeom>
        </p:spPr>
        <p:txBody>
          <a:bodyPr lIns="0" tIns="0" bIns="0" anchor="b">
            <a:normAutofit/>
          </a:bodyPr>
          <a:lstStyle>
            <a:lvl1pPr algn="l">
              <a:defRPr sz="5500" b="0">
                <a:solidFill>
                  <a:schemeClr val="bg1"/>
                </a:solidFill>
              </a:defRPr>
            </a:lvl1pPr>
          </a:lstStyle>
          <a:p>
            <a:r>
              <a:rPr lang="de-DE"/>
              <a:t>This is the title of the presentation</a:t>
            </a:r>
          </a:p>
        </p:txBody>
      </p:sp>
      <p:sp>
        <p:nvSpPr>
          <p:cNvPr id="14" name="Untertitel 2">
            <a:extLst>
              <a:ext uri="{FF2B5EF4-FFF2-40B4-BE49-F238E27FC236}">
                <a16:creationId xmlns:a16="http://schemas.microsoft.com/office/drawing/2014/main" id="{868B64C9-B0FA-4BC3-8181-82EEFA5E7306}"/>
              </a:ext>
            </a:extLst>
          </p:cNvPr>
          <p:cNvSpPr>
            <a:spLocks noGrp="1"/>
          </p:cNvSpPr>
          <p:nvPr>
            <p:ph type="subTitle" idx="1" hasCustomPrompt="1"/>
          </p:nvPr>
        </p:nvSpPr>
        <p:spPr>
          <a:xfrm>
            <a:off x="1006019" y="5171566"/>
            <a:ext cx="6188901" cy="887228"/>
          </a:xfrm>
          <a:prstGeom prst="rect">
            <a:avLst/>
          </a:prstGeom>
        </p:spPr>
        <p:txBody>
          <a:bodyPr lIns="0" tIns="0"/>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24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Edit subtitle</a:t>
            </a:r>
          </a:p>
        </p:txBody>
      </p:sp>
      <p:sp>
        <p:nvSpPr>
          <p:cNvPr id="16" name="Datumsplatzhalter 3">
            <a:extLst>
              <a:ext uri="{FF2B5EF4-FFF2-40B4-BE49-F238E27FC236}">
                <a16:creationId xmlns:a16="http://schemas.microsoft.com/office/drawing/2014/main" id="{A9FF7190-E7E0-4F4C-934D-5B39C55C5474}"/>
              </a:ext>
            </a:extLst>
          </p:cNvPr>
          <p:cNvSpPr>
            <a:spLocks noGrp="1"/>
          </p:cNvSpPr>
          <p:nvPr>
            <p:ph type="dt" sz="half" idx="10"/>
          </p:nvPr>
        </p:nvSpPr>
        <p:spPr>
          <a:xfrm>
            <a:off x="1006019" y="6002847"/>
            <a:ext cx="849775" cy="365125"/>
          </a:xfrm>
        </p:spPr>
        <p:txBody>
          <a:bodyPr/>
          <a:lstStyle>
            <a:lvl1pPr algn="l">
              <a:defRPr sz="1600">
                <a:solidFill>
                  <a:schemeClr val="bg1"/>
                </a:solidFill>
                <a:latin typeface="+mj-lt"/>
              </a:defRPr>
            </a:lvl1pPr>
          </a:lstStyle>
          <a:p>
            <a:fld id="{51C304BE-8152-4DDD-9F9C-6F378299156A}" type="datetime1">
              <a:rPr lang="en-US" smtClean="0"/>
              <a:t>11/29/2021</a:t>
            </a:fld>
            <a:endParaRPr lang="de-DE"/>
          </a:p>
        </p:txBody>
      </p:sp>
      <p:cxnSp>
        <p:nvCxnSpPr>
          <p:cNvPr id="18" name="Gerader Verbinder 17">
            <a:extLst>
              <a:ext uri="{FF2B5EF4-FFF2-40B4-BE49-F238E27FC236}">
                <a16:creationId xmlns:a16="http://schemas.microsoft.com/office/drawing/2014/main" id="{5602975A-2666-4F68-8AB3-41A4C0D07743}"/>
              </a:ext>
            </a:extLst>
          </p:cNvPr>
          <p:cNvCxnSpPr>
            <a:cxnSpLocks/>
          </p:cNvCxnSpPr>
          <p:nvPr userDrawn="1"/>
        </p:nvCxnSpPr>
        <p:spPr>
          <a:xfrm>
            <a:off x="1018545" y="4974101"/>
            <a:ext cx="180000"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2839543"/>
      </p:ext>
    </p:extLst>
  </p:cSld>
  <p:clrMapOvr>
    <a:masterClrMapping/>
  </p:clrMapOvr>
  <p:extLst>
    <p:ext uri="{DCECCB84-F9BA-43D5-87BE-67443E8EF086}">
      <p15:sldGuideLst xmlns:p15="http://schemas.microsoft.com/office/powerpoint/2012/main">
        <p15:guide id="1" pos="529">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1_chapter">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751ACB90-73CF-4E64-8999-95CE87B3E14A}"/>
              </a:ext>
            </a:extLst>
          </p:cNvPr>
          <p:cNvSpPr/>
          <p:nvPr userDrawn="1"/>
        </p:nvSpPr>
        <p:spPr>
          <a:xfrm>
            <a:off x="0" y="0"/>
            <a:ext cx="12192000" cy="6858000"/>
          </a:xfrm>
          <a:prstGeom prst="rect">
            <a:avLst/>
          </a:prstGeom>
          <a:gradFill>
            <a:gsLst>
              <a:gs pos="0">
                <a:srgbClr val="000094"/>
              </a:gs>
              <a:gs pos="100000">
                <a:srgbClr val="000071"/>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0" name="Grafik 29">
            <a:extLst>
              <a:ext uri="{FF2B5EF4-FFF2-40B4-BE49-F238E27FC236}">
                <a16:creationId xmlns:a16="http://schemas.microsoft.com/office/drawing/2014/main" id="{19E9DDFF-2CA2-4C97-813F-EA66BD83C786}"/>
              </a:ext>
            </a:extLst>
          </p:cNvPr>
          <p:cNvPicPr>
            <a:picLocks noChangeAspect="1"/>
          </p:cNvPicPr>
          <p:nvPr userDrawn="1"/>
        </p:nvPicPr>
        <p:blipFill>
          <a:blip r:embed="rId2">
            <a:alphaModFix amt="80000"/>
            <a:extLst>
              <a:ext uri="{28A0092B-C50C-407E-A947-70E740481C1C}">
                <a14:useLocalDpi xmlns:a14="http://schemas.microsoft.com/office/drawing/2010/main" val="0"/>
              </a:ext>
            </a:extLst>
          </a:blip>
          <a:stretch>
            <a:fillRect/>
          </a:stretch>
        </p:blipFill>
        <p:spPr>
          <a:xfrm>
            <a:off x="-1276248" y="3734173"/>
            <a:ext cx="14099619" cy="5202003"/>
          </a:xfrm>
          <a:prstGeom prst="rect">
            <a:avLst/>
          </a:prstGeom>
        </p:spPr>
      </p:pic>
      <p:sp>
        <p:nvSpPr>
          <p:cNvPr id="9" name="Rechteck 8">
            <a:extLst>
              <a:ext uri="{FF2B5EF4-FFF2-40B4-BE49-F238E27FC236}">
                <a16:creationId xmlns:a16="http://schemas.microsoft.com/office/drawing/2014/main" id="{974DE5B7-9A92-4F0B-B93D-658B5D56E0FA}"/>
              </a:ext>
            </a:extLst>
          </p:cNvPr>
          <p:cNvSpPr/>
          <p:nvPr userDrawn="1"/>
        </p:nvSpPr>
        <p:spPr>
          <a:xfrm>
            <a:off x="0" y="1856100"/>
            <a:ext cx="12192000" cy="5004000"/>
          </a:xfrm>
          <a:prstGeom prst="rect">
            <a:avLst/>
          </a:prstGeom>
          <a:gradFill>
            <a:gsLst>
              <a:gs pos="0">
                <a:schemeClr val="accent2">
                  <a:lumMod val="84000"/>
                </a:schemeClr>
              </a:gs>
              <a:gs pos="100000">
                <a:schemeClr val="accent1">
                  <a:alpha val="0"/>
                </a:scheme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D7F5EA6C-7213-4164-B221-18BD32B15237}"/>
              </a:ext>
            </a:extLst>
          </p:cNvPr>
          <p:cNvSpPr>
            <a:spLocks noGrp="1"/>
          </p:cNvSpPr>
          <p:nvPr>
            <p:ph type="title" hasCustomPrompt="1"/>
          </p:nvPr>
        </p:nvSpPr>
        <p:spPr>
          <a:xfrm>
            <a:off x="1113306" y="3576691"/>
            <a:ext cx="4365947" cy="2931773"/>
          </a:xfrm>
          <a:prstGeom prst="rect">
            <a:avLst/>
          </a:prstGeom>
        </p:spPr>
        <p:txBody>
          <a:bodyPr lIns="0" tIns="0" rIns="0" bIns="0" anchor="b"/>
          <a:lstStyle>
            <a:lvl1pPr>
              <a:defRPr sz="25000" b="0">
                <a:solidFill>
                  <a:schemeClr val="bg1"/>
                </a:solidFill>
              </a:defRPr>
            </a:lvl1pPr>
          </a:lstStyle>
          <a:p>
            <a:r>
              <a:rPr lang="de-DE"/>
              <a:t>02</a:t>
            </a:r>
          </a:p>
        </p:txBody>
      </p:sp>
      <p:sp>
        <p:nvSpPr>
          <p:cNvPr id="3" name="Textplatzhalter 2">
            <a:extLst>
              <a:ext uri="{FF2B5EF4-FFF2-40B4-BE49-F238E27FC236}">
                <a16:creationId xmlns:a16="http://schemas.microsoft.com/office/drawing/2014/main" id="{E1F4B880-D9BD-4CD7-8CAE-4EF4DD999448}"/>
              </a:ext>
            </a:extLst>
          </p:cNvPr>
          <p:cNvSpPr>
            <a:spLocks noGrp="1"/>
          </p:cNvSpPr>
          <p:nvPr>
            <p:ph type="body" idx="1" hasCustomPrompt="1"/>
          </p:nvPr>
        </p:nvSpPr>
        <p:spPr>
          <a:xfrm>
            <a:off x="6042660" y="3576691"/>
            <a:ext cx="4052666" cy="1221551"/>
          </a:xfrm>
          <a:prstGeom prst="rect">
            <a:avLst/>
          </a:prstGeom>
        </p:spPr>
        <p:txBody>
          <a:bodyPr lIns="0" tIns="0" rIns="0" bIns="0"/>
          <a:lstStyle>
            <a:lvl1pPr marL="0" indent="0">
              <a:lnSpc>
                <a:spcPct val="100000"/>
              </a:lnSpc>
              <a:spcBef>
                <a:spcPts val="0"/>
              </a:spcBef>
              <a:buNone/>
              <a:defRPr sz="2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This is a chapter </a:t>
            </a:r>
          </a:p>
          <a:p>
            <a:pPr lvl="0"/>
            <a:r>
              <a:rPr lang="de-DE"/>
              <a:t>title</a:t>
            </a:r>
          </a:p>
        </p:txBody>
      </p:sp>
      <p:pic>
        <p:nvPicPr>
          <p:cNvPr id="13" name="Grafik 12">
            <a:extLst>
              <a:ext uri="{FF2B5EF4-FFF2-40B4-BE49-F238E27FC236}">
                <a16:creationId xmlns:a16="http://schemas.microsoft.com/office/drawing/2014/main" id="{82E89B35-9DA1-451D-B53E-08149787E949}"/>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25026" y="452664"/>
            <a:ext cx="1728000" cy="961811"/>
          </a:xfrm>
          <a:prstGeom prst="rect">
            <a:avLst/>
          </a:prstGeom>
        </p:spPr>
      </p:pic>
      <p:sp>
        <p:nvSpPr>
          <p:cNvPr id="5" name="Textplatzhalter 4">
            <a:extLst>
              <a:ext uri="{FF2B5EF4-FFF2-40B4-BE49-F238E27FC236}">
                <a16:creationId xmlns:a16="http://schemas.microsoft.com/office/drawing/2014/main" id="{5E80753E-FD6B-4217-B934-89363062D641}"/>
              </a:ext>
            </a:extLst>
          </p:cNvPr>
          <p:cNvSpPr>
            <a:spLocks noGrp="1"/>
          </p:cNvSpPr>
          <p:nvPr>
            <p:ph type="body" sz="quarter" idx="10" hasCustomPrompt="1"/>
          </p:nvPr>
        </p:nvSpPr>
        <p:spPr>
          <a:xfrm>
            <a:off x="4287279" y="4378860"/>
            <a:ext cx="1382002" cy="1684091"/>
          </a:xfrm>
          <a:prstGeom prst="rect">
            <a:avLst/>
          </a:prstGeom>
        </p:spPr>
        <p:txBody>
          <a:bodyPr/>
          <a:lstStyle>
            <a:lvl1pPr marL="0" indent="0">
              <a:buFontTx/>
              <a:buNone/>
              <a:defRPr sz="12000" b="1">
                <a:solidFill>
                  <a:schemeClr val="bg1"/>
                </a:solidFill>
              </a:defRPr>
            </a:lvl1pPr>
          </a:lstStyle>
          <a:p>
            <a:pPr lvl="0"/>
            <a:r>
              <a:rPr lang="de-DE"/>
              <a:t>.1</a:t>
            </a:r>
          </a:p>
        </p:txBody>
      </p:sp>
    </p:spTree>
    <p:extLst>
      <p:ext uri="{BB962C8B-B14F-4D97-AF65-F5344CB8AC3E}">
        <p14:creationId xmlns:p14="http://schemas.microsoft.com/office/powerpoint/2010/main" val="21482167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7_chapter">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751ACB90-73CF-4E64-8999-95CE87B3E14A}"/>
              </a:ext>
            </a:extLst>
          </p:cNvPr>
          <p:cNvSpPr/>
          <p:nvPr userDrawn="1"/>
        </p:nvSpPr>
        <p:spPr>
          <a:xfrm>
            <a:off x="0" y="0"/>
            <a:ext cx="12192000" cy="6858000"/>
          </a:xfrm>
          <a:prstGeom prst="rect">
            <a:avLst/>
          </a:prstGeom>
          <a:gradFill>
            <a:gsLst>
              <a:gs pos="0">
                <a:srgbClr val="000094"/>
              </a:gs>
              <a:gs pos="100000">
                <a:srgbClr val="000071"/>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a:extLst>
              <a:ext uri="{FF2B5EF4-FFF2-40B4-BE49-F238E27FC236}">
                <a16:creationId xmlns:a16="http://schemas.microsoft.com/office/drawing/2014/main" id="{71058CCE-5938-4591-9F4B-A29B24E93605}"/>
              </a:ext>
            </a:extLst>
          </p:cNvPr>
          <p:cNvSpPr/>
          <p:nvPr userDrawn="1"/>
        </p:nvSpPr>
        <p:spPr>
          <a:xfrm>
            <a:off x="0" y="1856100"/>
            <a:ext cx="12204000" cy="5004000"/>
          </a:xfrm>
          <a:prstGeom prst="rect">
            <a:avLst/>
          </a:prstGeom>
          <a:gradFill>
            <a:gsLst>
              <a:gs pos="0">
                <a:schemeClr val="accent2">
                  <a:lumMod val="84000"/>
                </a:schemeClr>
              </a:gs>
              <a:gs pos="100000">
                <a:schemeClr val="accent1">
                  <a:alpha val="0"/>
                </a:scheme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0" name="Gerader Verbinder 9">
            <a:extLst>
              <a:ext uri="{FF2B5EF4-FFF2-40B4-BE49-F238E27FC236}">
                <a16:creationId xmlns:a16="http://schemas.microsoft.com/office/drawing/2014/main" id="{E3C164B8-1808-41CD-99EA-6F175049FA95}"/>
              </a:ext>
            </a:extLst>
          </p:cNvPr>
          <p:cNvCxnSpPr>
            <a:cxnSpLocks/>
          </p:cNvCxnSpPr>
          <p:nvPr userDrawn="1"/>
        </p:nvCxnSpPr>
        <p:spPr>
          <a:xfrm>
            <a:off x="4813876" y="3576691"/>
            <a:ext cx="234000" cy="0"/>
          </a:xfrm>
          <a:prstGeom prst="line">
            <a:avLst/>
          </a:prstGeom>
          <a:ln w="57150" cap="rnd">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E2FE7960-CA9C-489D-A2E4-0E9036F3A09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25026" y="452664"/>
            <a:ext cx="1728000" cy="961811"/>
          </a:xfrm>
          <a:prstGeom prst="rect">
            <a:avLst/>
          </a:prstGeom>
        </p:spPr>
      </p:pic>
      <p:sp>
        <p:nvSpPr>
          <p:cNvPr id="17" name="Titel 1">
            <a:extLst>
              <a:ext uri="{FF2B5EF4-FFF2-40B4-BE49-F238E27FC236}">
                <a16:creationId xmlns:a16="http://schemas.microsoft.com/office/drawing/2014/main" id="{6A8248FC-08B1-48A4-886E-7BA25F912ABD}"/>
              </a:ext>
            </a:extLst>
          </p:cNvPr>
          <p:cNvSpPr>
            <a:spLocks noGrp="1"/>
          </p:cNvSpPr>
          <p:nvPr>
            <p:ph type="title" hasCustomPrompt="1"/>
          </p:nvPr>
        </p:nvSpPr>
        <p:spPr>
          <a:xfrm>
            <a:off x="1113307" y="3576691"/>
            <a:ext cx="3795820" cy="2931773"/>
          </a:xfrm>
          <a:prstGeom prst="rect">
            <a:avLst/>
          </a:prstGeom>
        </p:spPr>
        <p:txBody>
          <a:bodyPr lIns="0" tIns="0" rIns="0" bIns="0" anchor="b"/>
          <a:lstStyle>
            <a:lvl1pPr>
              <a:defRPr sz="25000" b="0">
                <a:solidFill>
                  <a:schemeClr val="bg1"/>
                </a:solidFill>
              </a:defRPr>
            </a:lvl1pPr>
          </a:lstStyle>
          <a:p>
            <a:r>
              <a:rPr lang="de-DE"/>
              <a:t>02</a:t>
            </a:r>
          </a:p>
        </p:txBody>
      </p:sp>
      <p:sp>
        <p:nvSpPr>
          <p:cNvPr id="19" name="Textplatzhalter 2">
            <a:extLst>
              <a:ext uri="{FF2B5EF4-FFF2-40B4-BE49-F238E27FC236}">
                <a16:creationId xmlns:a16="http://schemas.microsoft.com/office/drawing/2014/main" id="{BA9B036D-1374-41FC-AE47-FA2BC92E74EB}"/>
              </a:ext>
            </a:extLst>
          </p:cNvPr>
          <p:cNvSpPr>
            <a:spLocks noGrp="1"/>
          </p:cNvSpPr>
          <p:nvPr>
            <p:ph type="body" idx="1" hasCustomPrompt="1"/>
          </p:nvPr>
        </p:nvSpPr>
        <p:spPr>
          <a:xfrm>
            <a:off x="4813876" y="3871367"/>
            <a:ext cx="4052666" cy="1221551"/>
          </a:xfrm>
          <a:prstGeom prst="rect">
            <a:avLst/>
          </a:prstGeom>
        </p:spPr>
        <p:txBody>
          <a:bodyPr lIns="0" tIns="0" rIns="0" bIns="0"/>
          <a:lstStyle>
            <a:lvl1pPr marL="0" indent="0">
              <a:lnSpc>
                <a:spcPct val="100000"/>
              </a:lnSpc>
              <a:spcBef>
                <a:spcPts val="0"/>
              </a:spcBef>
              <a:buNone/>
              <a:defRPr sz="2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This is a chapter </a:t>
            </a:r>
          </a:p>
          <a:p>
            <a:pPr lvl="0"/>
            <a:r>
              <a:rPr lang="de-DE"/>
              <a:t>title</a:t>
            </a:r>
          </a:p>
        </p:txBody>
      </p:sp>
    </p:spTree>
    <p:extLst>
      <p:ext uri="{BB962C8B-B14F-4D97-AF65-F5344CB8AC3E}">
        <p14:creationId xmlns:p14="http://schemas.microsoft.com/office/powerpoint/2010/main" val="232468633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agenda_1">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0B7B921C-DD71-4F98-A33D-A7936778058D}"/>
              </a:ext>
            </a:extLst>
          </p:cNvPr>
          <p:cNvSpPr>
            <a:spLocks noGrp="1"/>
          </p:cNvSpPr>
          <p:nvPr>
            <p:ph type="dt" sz="half" idx="10"/>
          </p:nvPr>
        </p:nvSpPr>
        <p:spPr/>
        <p:txBody>
          <a:bodyPr/>
          <a:lstStyle/>
          <a:p>
            <a:fld id="{25343262-FA64-416B-B22A-1ACDB01A91C5}" type="datetime1">
              <a:rPr lang="en-US" smtClean="0"/>
              <a:t>11/29/2021</a:t>
            </a:fld>
            <a:endParaRPr lang="de-DE"/>
          </a:p>
        </p:txBody>
      </p:sp>
      <p:sp>
        <p:nvSpPr>
          <p:cNvPr id="5" name="Fußzeilenplatzhalter 4">
            <a:extLst>
              <a:ext uri="{FF2B5EF4-FFF2-40B4-BE49-F238E27FC236}">
                <a16:creationId xmlns:a16="http://schemas.microsoft.com/office/drawing/2014/main" id="{F8372CDE-0269-4A13-98B5-C2021453FF9D}"/>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C57CF5D1-2B71-44E7-BD5F-23474545DB7B}"/>
              </a:ext>
            </a:extLst>
          </p:cNvPr>
          <p:cNvSpPr>
            <a:spLocks noGrp="1"/>
          </p:cNvSpPr>
          <p:nvPr>
            <p:ph type="sldNum" sz="quarter" idx="12"/>
          </p:nvPr>
        </p:nvSpPr>
        <p:spPr/>
        <p:txBody>
          <a:bodyPr/>
          <a:lstStyle/>
          <a:p>
            <a:fld id="{46735E09-D06A-4765-B4D1-A70A5B2E5B6E}" type="slidenum">
              <a:rPr lang="de-DE" smtClean="0"/>
              <a:t>‹N°›</a:t>
            </a:fld>
            <a:endParaRPr lang="de-DE"/>
          </a:p>
        </p:txBody>
      </p:sp>
      <p:pic>
        <p:nvPicPr>
          <p:cNvPr id="7" name="Grafik 6">
            <a:extLst>
              <a:ext uri="{FF2B5EF4-FFF2-40B4-BE49-F238E27FC236}">
                <a16:creationId xmlns:a16="http://schemas.microsoft.com/office/drawing/2014/main" id="{2F607DA3-FACA-410C-A2F1-29FAB9AB670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78336" y="368300"/>
            <a:ext cx="1183668" cy="658834"/>
          </a:xfrm>
          <a:prstGeom prst="rect">
            <a:avLst/>
          </a:prstGeom>
        </p:spPr>
      </p:pic>
      <p:sp>
        <p:nvSpPr>
          <p:cNvPr id="8" name="Textplatzhalter 3">
            <a:extLst>
              <a:ext uri="{FF2B5EF4-FFF2-40B4-BE49-F238E27FC236}">
                <a16:creationId xmlns:a16="http://schemas.microsoft.com/office/drawing/2014/main" id="{31704F4A-B312-4280-A99B-AC4E41C0F8E7}"/>
              </a:ext>
            </a:extLst>
          </p:cNvPr>
          <p:cNvSpPr>
            <a:spLocks noGrp="1"/>
          </p:cNvSpPr>
          <p:nvPr>
            <p:ph type="body" sz="half" idx="2" hasCustomPrompt="1"/>
          </p:nvPr>
        </p:nvSpPr>
        <p:spPr>
          <a:xfrm>
            <a:off x="1271093" y="1606651"/>
            <a:ext cx="6120000" cy="280693"/>
          </a:xfrm>
          <a:prstGeom prst="rect">
            <a:avLst/>
          </a:prstGeom>
        </p:spPr>
        <p:txBody>
          <a:bodyPr lIns="0" tIns="0" bIns="0"/>
          <a:lstStyle>
            <a:lvl1pPr marL="0" marR="0" indent="0" algn="l" defTabSz="914400" rtl="0" eaLnBrk="1" fontAlgn="auto" latinLnBrk="0" hangingPunct="1">
              <a:lnSpc>
                <a:spcPts val="2300"/>
              </a:lnSpc>
              <a:spcBef>
                <a:spcPts val="1000"/>
              </a:spcBef>
              <a:spcAft>
                <a:spcPts val="0"/>
              </a:spcAft>
              <a:buClrTx/>
              <a:buSzTx/>
              <a:buFont typeface="Arial" panose="020B0604020202020204" pitchFamily="34" charset="0"/>
              <a:buNone/>
              <a:tabLst/>
              <a:defRPr sz="190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9" name="Inhaltsplatzhalter 3">
            <a:extLst>
              <a:ext uri="{FF2B5EF4-FFF2-40B4-BE49-F238E27FC236}">
                <a16:creationId xmlns:a16="http://schemas.microsoft.com/office/drawing/2014/main" id="{08F03557-5B71-40A8-80D8-7C031BFDD4D5}"/>
              </a:ext>
            </a:extLst>
          </p:cNvPr>
          <p:cNvSpPr>
            <a:spLocks noGrp="1"/>
          </p:cNvSpPr>
          <p:nvPr>
            <p:ph sz="half" idx="13" hasCustomPrompt="1"/>
          </p:nvPr>
        </p:nvSpPr>
        <p:spPr>
          <a:xfrm>
            <a:off x="552450" y="1606651"/>
            <a:ext cx="473075" cy="407693"/>
          </a:xfrm>
          <a:prstGeom prst="rect">
            <a:avLst/>
          </a:prstGeom>
        </p:spPr>
        <p:txBody>
          <a:bodyPr lIns="0" tIns="0" rIns="0"/>
          <a:lstStyle>
            <a:lvl1pPr marL="0" indent="0" algn="l">
              <a:lnSpc>
                <a:spcPts val="2300"/>
              </a:lnSpc>
              <a:spcBef>
                <a:spcPts val="2000"/>
              </a:spcBef>
              <a:buNone/>
              <a:defRPr sz="24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1</a:t>
            </a:r>
          </a:p>
        </p:txBody>
      </p:sp>
      <p:sp>
        <p:nvSpPr>
          <p:cNvPr id="10" name="Textplatzhalter 3">
            <a:extLst>
              <a:ext uri="{FF2B5EF4-FFF2-40B4-BE49-F238E27FC236}">
                <a16:creationId xmlns:a16="http://schemas.microsoft.com/office/drawing/2014/main" id="{34E227F7-4BD6-4C8D-A799-5AEA9C981783}"/>
              </a:ext>
            </a:extLst>
          </p:cNvPr>
          <p:cNvSpPr>
            <a:spLocks noGrp="1"/>
          </p:cNvSpPr>
          <p:nvPr>
            <p:ph type="body" sz="half" idx="15" hasCustomPrompt="1"/>
          </p:nvPr>
        </p:nvSpPr>
        <p:spPr>
          <a:xfrm>
            <a:off x="1271093" y="2232007"/>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1" name="Inhaltsplatzhalter 3">
            <a:extLst>
              <a:ext uri="{FF2B5EF4-FFF2-40B4-BE49-F238E27FC236}">
                <a16:creationId xmlns:a16="http://schemas.microsoft.com/office/drawing/2014/main" id="{D6E35B84-E933-4E37-8C47-2C4F19F1E328}"/>
              </a:ext>
            </a:extLst>
          </p:cNvPr>
          <p:cNvSpPr>
            <a:spLocks noGrp="1"/>
          </p:cNvSpPr>
          <p:nvPr>
            <p:ph sz="half" idx="16" hasCustomPrompt="1"/>
          </p:nvPr>
        </p:nvSpPr>
        <p:spPr>
          <a:xfrm>
            <a:off x="552450" y="2232007"/>
            <a:ext cx="473075" cy="407693"/>
          </a:xfrm>
          <a:prstGeom prst="rect">
            <a:avLst/>
          </a:prstGeom>
        </p:spPr>
        <p:txBody>
          <a:bodyPr lIns="0" tIns="0" rIns="0"/>
          <a:lstStyle>
            <a:lvl1pPr marL="0" indent="0" algn="l">
              <a:lnSpc>
                <a:spcPts val="2300"/>
              </a:lnSpc>
              <a:spcBef>
                <a:spcPts val="2000"/>
              </a:spcBef>
              <a:buNone/>
              <a:defRPr sz="24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2</a:t>
            </a:r>
          </a:p>
        </p:txBody>
      </p:sp>
      <p:sp>
        <p:nvSpPr>
          <p:cNvPr id="12" name="Textplatzhalter 3">
            <a:extLst>
              <a:ext uri="{FF2B5EF4-FFF2-40B4-BE49-F238E27FC236}">
                <a16:creationId xmlns:a16="http://schemas.microsoft.com/office/drawing/2014/main" id="{39FE1244-9B38-4E13-BAB9-A0FAFAC4864E}"/>
              </a:ext>
            </a:extLst>
          </p:cNvPr>
          <p:cNvSpPr>
            <a:spLocks noGrp="1"/>
          </p:cNvSpPr>
          <p:nvPr>
            <p:ph type="body" sz="half" idx="18" hasCustomPrompt="1"/>
          </p:nvPr>
        </p:nvSpPr>
        <p:spPr>
          <a:xfrm>
            <a:off x="1271093" y="2857363"/>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3" name="Inhaltsplatzhalter 3">
            <a:extLst>
              <a:ext uri="{FF2B5EF4-FFF2-40B4-BE49-F238E27FC236}">
                <a16:creationId xmlns:a16="http://schemas.microsoft.com/office/drawing/2014/main" id="{ED115436-7B46-4A85-B13B-D414D292C9E1}"/>
              </a:ext>
            </a:extLst>
          </p:cNvPr>
          <p:cNvSpPr>
            <a:spLocks noGrp="1"/>
          </p:cNvSpPr>
          <p:nvPr>
            <p:ph sz="half" idx="19" hasCustomPrompt="1"/>
          </p:nvPr>
        </p:nvSpPr>
        <p:spPr>
          <a:xfrm>
            <a:off x="552450" y="2857363"/>
            <a:ext cx="473075" cy="407693"/>
          </a:xfrm>
          <a:prstGeom prst="rect">
            <a:avLst/>
          </a:prstGeom>
        </p:spPr>
        <p:txBody>
          <a:bodyPr lIns="0" tIns="0" rIns="0"/>
          <a:lstStyle>
            <a:lvl1pPr marL="0" indent="0" algn="l">
              <a:lnSpc>
                <a:spcPts val="2300"/>
              </a:lnSpc>
              <a:spcBef>
                <a:spcPts val="2000"/>
              </a:spcBef>
              <a:buNone/>
              <a:defRPr sz="24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3</a:t>
            </a:r>
          </a:p>
        </p:txBody>
      </p:sp>
      <p:sp>
        <p:nvSpPr>
          <p:cNvPr id="14" name="Textplatzhalter 3">
            <a:extLst>
              <a:ext uri="{FF2B5EF4-FFF2-40B4-BE49-F238E27FC236}">
                <a16:creationId xmlns:a16="http://schemas.microsoft.com/office/drawing/2014/main" id="{CD48362C-06EA-4B32-8061-61E670C28D60}"/>
              </a:ext>
            </a:extLst>
          </p:cNvPr>
          <p:cNvSpPr>
            <a:spLocks noGrp="1"/>
          </p:cNvSpPr>
          <p:nvPr>
            <p:ph type="body" sz="half" idx="21" hasCustomPrompt="1"/>
          </p:nvPr>
        </p:nvSpPr>
        <p:spPr>
          <a:xfrm>
            <a:off x="1271093" y="3482719"/>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5" name="Inhaltsplatzhalter 3">
            <a:extLst>
              <a:ext uri="{FF2B5EF4-FFF2-40B4-BE49-F238E27FC236}">
                <a16:creationId xmlns:a16="http://schemas.microsoft.com/office/drawing/2014/main" id="{A8609564-AFB3-4B1E-944F-B641CB949903}"/>
              </a:ext>
            </a:extLst>
          </p:cNvPr>
          <p:cNvSpPr>
            <a:spLocks noGrp="1"/>
          </p:cNvSpPr>
          <p:nvPr>
            <p:ph sz="half" idx="22" hasCustomPrompt="1"/>
          </p:nvPr>
        </p:nvSpPr>
        <p:spPr>
          <a:xfrm>
            <a:off x="552450" y="3482719"/>
            <a:ext cx="473075" cy="407693"/>
          </a:xfrm>
          <a:prstGeom prst="rect">
            <a:avLst/>
          </a:prstGeom>
        </p:spPr>
        <p:txBody>
          <a:bodyPr lIns="0" tIns="0" rIns="0"/>
          <a:lstStyle>
            <a:lvl1pPr marL="0" indent="0" algn="l">
              <a:lnSpc>
                <a:spcPts val="2300"/>
              </a:lnSpc>
              <a:spcBef>
                <a:spcPts val="2000"/>
              </a:spcBef>
              <a:buNone/>
              <a:defRPr sz="24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4</a:t>
            </a:r>
          </a:p>
        </p:txBody>
      </p:sp>
      <p:sp>
        <p:nvSpPr>
          <p:cNvPr id="16" name="Textplatzhalter 3">
            <a:extLst>
              <a:ext uri="{FF2B5EF4-FFF2-40B4-BE49-F238E27FC236}">
                <a16:creationId xmlns:a16="http://schemas.microsoft.com/office/drawing/2014/main" id="{D4EFD030-3884-46E3-B63E-FB3A77A93E5D}"/>
              </a:ext>
            </a:extLst>
          </p:cNvPr>
          <p:cNvSpPr>
            <a:spLocks noGrp="1"/>
          </p:cNvSpPr>
          <p:nvPr>
            <p:ph type="body" sz="half" idx="24" hasCustomPrompt="1"/>
          </p:nvPr>
        </p:nvSpPr>
        <p:spPr>
          <a:xfrm>
            <a:off x="1271093" y="4108075"/>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7" name="Inhaltsplatzhalter 3">
            <a:extLst>
              <a:ext uri="{FF2B5EF4-FFF2-40B4-BE49-F238E27FC236}">
                <a16:creationId xmlns:a16="http://schemas.microsoft.com/office/drawing/2014/main" id="{8EAF93B9-68EC-4C42-9C97-45C22CDD734A}"/>
              </a:ext>
            </a:extLst>
          </p:cNvPr>
          <p:cNvSpPr>
            <a:spLocks noGrp="1"/>
          </p:cNvSpPr>
          <p:nvPr>
            <p:ph sz="half" idx="25" hasCustomPrompt="1"/>
          </p:nvPr>
        </p:nvSpPr>
        <p:spPr>
          <a:xfrm>
            <a:off x="552450" y="4108075"/>
            <a:ext cx="473075" cy="407693"/>
          </a:xfrm>
          <a:prstGeom prst="rect">
            <a:avLst/>
          </a:prstGeom>
        </p:spPr>
        <p:txBody>
          <a:bodyPr lIns="0" tIns="0" rIns="0"/>
          <a:lstStyle>
            <a:lvl1pPr marL="0" indent="0" algn="l">
              <a:lnSpc>
                <a:spcPts val="2300"/>
              </a:lnSpc>
              <a:spcBef>
                <a:spcPts val="2000"/>
              </a:spcBef>
              <a:buNone/>
              <a:defRPr sz="24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5</a:t>
            </a:r>
          </a:p>
        </p:txBody>
      </p:sp>
      <p:sp>
        <p:nvSpPr>
          <p:cNvPr id="18" name="Textplatzhalter 3">
            <a:extLst>
              <a:ext uri="{FF2B5EF4-FFF2-40B4-BE49-F238E27FC236}">
                <a16:creationId xmlns:a16="http://schemas.microsoft.com/office/drawing/2014/main" id="{C6A805B9-155F-4325-B953-748606AD9BB7}"/>
              </a:ext>
            </a:extLst>
          </p:cNvPr>
          <p:cNvSpPr>
            <a:spLocks noGrp="1"/>
          </p:cNvSpPr>
          <p:nvPr>
            <p:ph type="body" sz="half" idx="27" hasCustomPrompt="1"/>
          </p:nvPr>
        </p:nvSpPr>
        <p:spPr>
          <a:xfrm>
            <a:off x="1254764" y="4733431"/>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9" name="Inhaltsplatzhalter 3">
            <a:extLst>
              <a:ext uri="{FF2B5EF4-FFF2-40B4-BE49-F238E27FC236}">
                <a16:creationId xmlns:a16="http://schemas.microsoft.com/office/drawing/2014/main" id="{659FD8D3-911F-4202-A648-1CAC292E4AA5}"/>
              </a:ext>
            </a:extLst>
          </p:cNvPr>
          <p:cNvSpPr>
            <a:spLocks noGrp="1"/>
          </p:cNvSpPr>
          <p:nvPr>
            <p:ph sz="half" idx="28" hasCustomPrompt="1"/>
          </p:nvPr>
        </p:nvSpPr>
        <p:spPr>
          <a:xfrm>
            <a:off x="536121" y="4733431"/>
            <a:ext cx="473075" cy="407693"/>
          </a:xfrm>
          <a:prstGeom prst="rect">
            <a:avLst/>
          </a:prstGeom>
        </p:spPr>
        <p:txBody>
          <a:bodyPr lIns="0" tIns="0" rIns="0"/>
          <a:lstStyle>
            <a:lvl1pPr marL="0" indent="0" algn="l">
              <a:lnSpc>
                <a:spcPts val="2300"/>
              </a:lnSpc>
              <a:spcBef>
                <a:spcPts val="2000"/>
              </a:spcBef>
              <a:buNone/>
              <a:defRPr sz="24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6</a:t>
            </a:r>
          </a:p>
        </p:txBody>
      </p:sp>
      <p:sp>
        <p:nvSpPr>
          <p:cNvPr id="20" name="Textplatzhalter 3">
            <a:extLst>
              <a:ext uri="{FF2B5EF4-FFF2-40B4-BE49-F238E27FC236}">
                <a16:creationId xmlns:a16="http://schemas.microsoft.com/office/drawing/2014/main" id="{C8883233-3AB4-4750-B7E4-C05E86234AFA}"/>
              </a:ext>
            </a:extLst>
          </p:cNvPr>
          <p:cNvSpPr>
            <a:spLocks noGrp="1"/>
          </p:cNvSpPr>
          <p:nvPr>
            <p:ph type="body" sz="half" idx="36" hasCustomPrompt="1"/>
          </p:nvPr>
        </p:nvSpPr>
        <p:spPr>
          <a:xfrm>
            <a:off x="1254764" y="5358790"/>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21" name="Inhaltsplatzhalter 3">
            <a:extLst>
              <a:ext uri="{FF2B5EF4-FFF2-40B4-BE49-F238E27FC236}">
                <a16:creationId xmlns:a16="http://schemas.microsoft.com/office/drawing/2014/main" id="{534F42E2-7C55-44D9-B171-D2DE36F31CCE}"/>
              </a:ext>
            </a:extLst>
          </p:cNvPr>
          <p:cNvSpPr>
            <a:spLocks noGrp="1"/>
          </p:cNvSpPr>
          <p:nvPr>
            <p:ph sz="half" idx="37" hasCustomPrompt="1"/>
          </p:nvPr>
        </p:nvSpPr>
        <p:spPr>
          <a:xfrm>
            <a:off x="536121" y="5358790"/>
            <a:ext cx="473075" cy="407693"/>
          </a:xfrm>
          <a:prstGeom prst="rect">
            <a:avLst/>
          </a:prstGeom>
        </p:spPr>
        <p:txBody>
          <a:bodyPr lIns="0" tIns="0" rIns="0"/>
          <a:lstStyle>
            <a:lvl1pPr marL="0" indent="0" algn="l">
              <a:lnSpc>
                <a:spcPts val="2300"/>
              </a:lnSpc>
              <a:spcBef>
                <a:spcPts val="2000"/>
              </a:spcBef>
              <a:buNone/>
              <a:defRPr sz="24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7</a:t>
            </a:r>
          </a:p>
        </p:txBody>
      </p:sp>
      <p:cxnSp>
        <p:nvCxnSpPr>
          <p:cNvPr id="24" name="Gerader Verbinder 23">
            <a:extLst>
              <a:ext uri="{FF2B5EF4-FFF2-40B4-BE49-F238E27FC236}">
                <a16:creationId xmlns:a16="http://schemas.microsoft.com/office/drawing/2014/main" id="{37E9692B-183E-4452-962F-5565E0366558}"/>
              </a:ext>
            </a:extLst>
          </p:cNvPr>
          <p:cNvCxnSpPr>
            <a:cxnSpLocks/>
          </p:cNvCxnSpPr>
          <p:nvPr userDrawn="1"/>
        </p:nvCxnSpPr>
        <p:spPr>
          <a:xfrm>
            <a:off x="590028" y="1363996"/>
            <a:ext cx="288000" cy="0"/>
          </a:xfrm>
          <a:prstGeom prst="line">
            <a:avLst/>
          </a:prstGeom>
          <a:ln w="444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2745757A-4D76-4D5E-AA6D-8ABC7173609F}"/>
              </a:ext>
            </a:extLst>
          </p:cNvPr>
          <p:cNvCxnSpPr>
            <a:cxnSpLocks/>
          </p:cNvCxnSpPr>
          <p:nvPr userDrawn="1"/>
        </p:nvCxnSpPr>
        <p:spPr>
          <a:xfrm>
            <a:off x="1271093" y="1363996"/>
            <a:ext cx="6120000" cy="0"/>
          </a:xfrm>
          <a:prstGeom prst="line">
            <a:avLst/>
          </a:prstGeom>
          <a:ln w="44450" cap="rnd">
            <a:gradFill>
              <a:gsLst>
                <a:gs pos="0">
                  <a:schemeClr val="accent2"/>
                </a:gs>
                <a:gs pos="74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26" name="Titel 1">
            <a:extLst>
              <a:ext uri="{FF2B5EF4-FFF2-40B4-BE49-F238E27FC236}">
                <a16:creationId xmlns:a16="http://schemas.microsoft.com/office/drawing/2014/main" id="{F7A7C660-EAC9-4188-9A7D-155F023CDF2E}"/>
              </a:ext>
            </a:extLst>
          </p:cNvPr>
          <p:cNvSpPr>
            <a:spLocks noGrp="1"/>
          </p:cNvSpPr>
          <p:nvPr>
            <p:ph type="title" hasCustomPrompt="1"/>
          </p:nvPr>
        </p:nvSpPr>
        <p:spPr>
          <a:xfrm>
            <a:off x="515938" y="453851"/>
            <a:ext cx="6875155" cy="757619"/>
          </a:xfrm>
          <a:prstGeom prst="rect">
            <a:avLst/>
          </a:prstGeom>
        </p:spPr>
        <p:txBody>
          <a:bodyPr lIns="0" tIns="0" rIns="0"/>
          <a:lstStyle>
            <a:lvl1pPr>
              <a:defRPr sz="3200" b="0">
                <a:solidFill>
                  <a:schemeClr val="tx2"/>
                </a:solidFill>
              </a:defRPr>
            </a:lvl1pPr>
          </a:lstStyle>
          <a:p>
            <a:r>
              <a:rPr lang="de-DE"/>
              <a:t>Agenda</a:t>
            </a:r>
          </a:p>
        </p:txBody>
      </p:sp>
    </p:spTree>
    <p:extLst>
      <p:ext uri="{BB962C8B-B14F-4D97-AF65-F5344CB8AC3E}">
        <p14:creationId xmlns:p14="http://schemas.microsoft.com/office/powerpoint/2010/main" val="3501427632"/>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_content">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603EB85B-3EA8-4814-B5ED-06F4F7B8D42A}"/>
              </a:ext>
            </a:extLst>
          </p:cNvPr>
          <p:cNvSpPr>
            <a:spLocks noGrp="1"/>
          </p:cNvSpPr>
          <p:nvPr>
            <p:ph idx="1" hasCustomPrompt="1"/>
          </p:nvPr>
        </p:nvSpPr>
        <p:spPr>
          <a:xfrm>
            <a:off x="515938" y="1461927"/>
            <a:ext cx="8395833" cy="4775361"/>
          </a:xfrm>
          <a:prstGeom prst="rect">
            <a:avLst/>
          </a:prstGeom>
        </p:spPr>
        <p:txBody>
          <a:bodyPr lIns="0" tIns="0"/>
          <a:lstStyle>
            <a:lvl1pPr marL="324000" indent="-324000">
              <a:lnSpc>
                <a:spcPct val="110000"/>
              </a:lnSpc>
              <a:spcBef>
                <a:spcPts val="800"/>
              </a:spcBef>
              <a:buFontTx/>
              <a:buBlip>
                <a:blip r:embed="rId2"/>
              </a:buBlip>
              <a:defRPr sz="1800">
                <a:solidFill>
                  <a:schemeClr val="accent6">
                    <a:lumMod val="50000"/>
                  </a:schemeClr>
                </a:solidFill>
                <a:latin typeface="+mn-lt"/>
              </a:defRPr>
            </a:lvl1pPr>
            <a:lvl2pPr marL="612000" indent="-324000">
              <a:lnSpc>
                <a:spcPct val="110000"/>
              </a:lnSpc>
              <a:spcBef>
                <a:spcPts val="800"/>
              </a:spcBef>
              <a:buFontTx/>
              <a:buBlip>
                <a:blip r:embed="rId3"/>
              </a:buBlip>
              <a:defRPr sz="1800">
                <a:solidFill>
                  <a:schemeClr val="accent6">
                    <a:lumMod val="50000"/>
                  </a:schemeClr>
                </a:solidFill>
                <a:latin typeface="+mn-lt"/>
              </a:defRPr>
            </a:lvl2pPr>
            <a:lvl3pPr marL="898525" indent="-323850">
              <a:lnSpc>
                <a:spcPct val="110000"/>
              </a:lnSpc>
              <a:spcBef>
                <a:spcPts val="800"/>
              </a:spcBef>
              <a:buFontTx/>
              <a:buBlip>
                <a:blip r:embed="rId4"/>
              </a:buBlip>
              <a:defRPr sz="1800">
                <a:solidFill>
                  <a:schemeClr val="accent6">
                    <a:lumMod val="50000"/>
                  </a:schemeClr>
                </a:solidFill>
                <a:latin typeface="+mn-lt"/>
              </a:defRPr>
            </a:lvl3pPr>
            <a:lvl4pPr marL="1152000" indent="-287338">
              <a:lnSpc>
                <a:spcPct val="110000"/>
              </a:lnSpc>
              <a:spcBef>
                <a:spcPts val="800"/>
              </a:spcBef>
              <a:buFontTx/>
              <a:buBlip>
                <a:blip r:embed="rId5"/>
              </a:buBlip>
              <a:defRPr sz="1800">
                <a:solidFill>
                  <a:schemeClr val="accent6">
                    <a:lumMod val="50000"/>
                  </a:schemeClr>
                </a:solidFill>
                <a:latin typeface="+mn-lt"/>
              </a:defRPr>
            </a:lvl4pPr>
            <a:lvl5pPr marL="1404000" marR="0" indent="-288000" algn="l" defTabSz="914400" rtl="0" eaLnBrk="1" fontAlgn="auto" latinLnBrk="0" hangingPunct="1">
              <a:lnSpc>
                <a:spcPct val="110000"/>
              </a:lnSpc>
              <a:spcBef>
                <a:spcPts val="800"/>
              </a:spcBef>
              <a:spcAft>
                <a:spcPts val="0"/>
              </a:spcAft>
              <a:buClrTx/>
              <a:buSzTx/>
              <a:buFontTx/>
              <a:buBlip>
                <a:blip r:embed="rId5"/>
              </a:buBlip>
              <a:tabLst/>
              <a:defRPr sz="1800">
                <a:solidFill>
                  <a:schemeClr val="accent6">
                    <a:lumMod val="50000"/>
                  </a:schemeClr>
                </a:solidFill>
                <a:latin typeface="+mn-lt"/>
              </a:defRPr>
            </a:lvl5pPr>
            <a:lvl6pPr marL="2514600" indent="-228600">
              <a:buNone/>
              <a:defRPr/>
            </a:lvl6pPr>
          </a:lstStyle>
          <a:p>
            <a:pPr lvl="0"/>
            <a:r>
              <a:rPr lang="de-DE"/>
              <a:t>This is a bullet point</a:t>
            </a:r>
          </a:p>
          <a:p>
            <a:pPr lvl="1"/>
            <a:r>
              <a:rPr lang="de-DE"/>
              <a:t>This is a bullet point level 2</a:t>
            </a:r>
          </a:p>
          <a:p>
            <a:pPr lvl="2"/>
            <a:r>
              <a:rPr lang="de-DE"/>
              <a:t>This is a bullet point level 3</a:t>
            </a:r>
          </a:p>
          <a:p>
            <a:pPr lvl="3"/>
            <a:r>
              <a:rPr lang="de-DE"/>
              <a:t>Level 4</a:t>
            </a:r>
          </a:p>
          <a:p>
            <a:pPr lvl="4"/>
            <a:r>
              <a:rPr lang="de-DE"/>
              <a:t>Level 5</a:t>
            </a:r>
          </a:p>
          <a:p>
            <a:pPr lvl="4"/>
            <a:endParaRPr lang="de-DE"/>
          </a:p>
        </p:txBody>
      </p:sp>
      <p:sp>
        <p:nvSpPr>
          <p:cNvPr id="10" name="Titel 1">
            <a:extLst>
              <a:ext uri="{FF2B5EF4-FFF2-40B4-BE49-F238E27FC236}">
                <a16:creationId xmlns:a16="http://schemas.microsoft.com/office/drawing/2014/main" id="{3A814B79-7DD9-4587-A8FC-4C56C805E79B}"/>
              </a:ext>
            </a:extLst>
          </p:cNvPr>
          <p:cNvSpPr>
            <a:spLocks noGrp="1"/>
          </p:cNvSpPr>
          <p:nvPr>
            <p:ph type="title" hasCustomPrompt="1"/>
          </p:nvPr>
        </p:nvSpPr>
        <p:spPr>
          <a:xfrm>
            <a:off x="515938" y="453851"/>
            <a:ext cx="6875155" cy="757619"/>
          </a:xfrm>
          <a:prstGeom prst="rect">
            <a:avLst/>
          </a:prstGeom>
        </p:spPr>
        <p:txBody>
          <a:bodyPr lIns="0" tIns="0" rIns="0"/>
          <a:lstStyle>
            <a:lvl1pPr>
              <a:defRPr sz="2900" b="0">
                <a:solidFill>
                  <a:schemeClr val="tx2"/>
                </a:solidFill>
              </a:defRPr>
            </a:lvl1pPr>
          </a:lstStyle>
          <a:p>
            <a:r>
              <a:rPr lang="de-DE"/>
              <a:t>This is a headline</a:t>
            </a:r>
          </a:p>
        </p:txBody>
      </p:sp>
      <p:pic>
        <p:nvPicPr>
          <p:cNvPr id="8" name="Grafik 7">
            <a:extLst>
              <a:ext uri="{FF2B5EF4-FFF2-40B4-BE49-F238E27FC236}">
                <a16:creationId xmlns:a16="http://schemas.microsoft.com/office/drawing/2014/main" id="{10F6E983-D203-4490-8A09-CD042DC74C6B}"/>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478336" y="368300"/>
            <a:ext cx="1183668" cy="658834"/>
          </a:xfrm>
          <a:prstGeom prst="rect">
            <a:avLst/>
          </a:prstGeom>
        </p:spPr>
      </p:pic>
      <p:sp>
        <p:nvSpPr>
          <p:cNvPr id="9" name="Datumsplatzhalter 3">
            <a:extLst>
              <a:ext uri="{FF2B5EF4-FFF2-40B4-BE49-F238E27FC236}">
                <a16:creationId xmlns:a16="http://schemas.microsoft.com/office/drawing/2014/main" id="{CCD07E4B-6C1D-46F4-B1A0-40EA7B47E67B}"/>
              </a:ext>
            </a:extLst>
          </p:cNvPr>
          <p:cNvSpPr>
            <a:spLocks noGrp="1"/>
          </p:cNvSpPr>
          <p:nvPr>
            <p:ph type="dt" sz="half" idx="10"/>
          </p:nvPr>
        </p:nvSpPr>
        <p:spPr>
          <a:xfrm>
            <a:off x="10237727" y="6483875"/>
            <a:ext cx="849775" cy="365125"/>
          </a:xfrm>
        </p:spPr>
        <p:txBody>
          <a:bodyPr/>
          <a:lstStyle/>
          <a:p>
            <a:fld id="{7D536FDA-0F5B-43DA-A6B6-597F7088D8D0}" type="datetime1">
              <a:rPr lang="en-US" smtClean="0"/>
              <a:t>11/29/2021</a:t>
            </a:fld>
            <a:endParaRPr lang="de-DE"/>
          </a:p>
        </p:txBody>
      </p:sp>
      <p:sp>
        <p:nvSpPr>
          <p:cNvPr id="11" name="Fußzeilenplatzhalter 4">
            <a:extLst>
              <a:ext uri="{FF2B5EF4-FFF2-40B4-BE49-F238E27FC236}">
                <a16:creationId xmlns:a16="http://schemas.microsoft.com/office/drawing/2014/main" id="{AFA658F1-5EEB-4215-9696-51437E59773D}"/>
              </a:ext>
            </a:extLst>
          </p:cNvPr>
          <p:cNvSpPr>
            <a:spLocks noGrp="1"/>
          </p:cNvSpPr>
          <p:nvPr>
            <p:ph type="ftr" sz="quarter" idx="11"/>
          </p:nvPr>
        </p:nvSpPr>
        <p:spPr>
          <a:xfrm>
            <a:off x="336000" y="6483875"/>
            <a:ext cx="4114800" cy="365125"/>
          </a:xfrm>
        </p:spPr>
        <p:txBody>
          <a:bodyPr/>
          <a:lstStyle/>
          <a:p>
            <a:endParaRPr lang="de-DE"/>
          </a:p>
        </p:txBody>
      </p:sp>
      <p:sp>
        <p:nvSpPr>
          <p:cNvPr id="12" name="Foliennummernplatzhalter 5">
            <a:extLst>
              <a:ext uri="{FF2B5EF4-FFF2-40B4-BE49-F238E27FC236}">
                <a16:creationId xmlns:a16="http://schemas.microsoft.com/office/drawing/2014/main" id="{C98F6F90-865F-4148-9256-DF3E65107AF4}"/>
              </a:ext>
            </a:extLst>
          </p:cNvPr>
          <p:cNvSpPr>
            <a:spLocks noGrp="1"/>
          </p:cNvSpPr>
          <p:nvPr>
            <p:ph type="sldNum" sz="quarter" idx="12"/>
          </p:nvPr>
        </p:nvSpPr>
        <p:spPr>
          <a:xfrm>
            <a:off x="11157818" y="6483875"/>
            <a:ext cx="510070" cy="365125"/>
          </a:xfrm>
        </p:spPr>
        <p:txBody>
          <a:bodyPr/>
          <a:lstStyle/>
          <a:p>
            <a:fld id="{46735E09-D06A-4765-B4D1-A70A5B2E5B6E}" type="slidenum">
              <a:rPr lang="de-DE" smtClean="0"/>
              <a:t>‹N°›</a:t>
            </a:fld>
            <a:endParaRPr lang="de-DE"/>
          </a:p>
        </p:txBody>
      </p:sp>
    </p:spTree>
    <p:extLst>
      <p:ext uri="{BB962C8B-B14F-4D97-AF65-F5344CB8AC3E}">
        <p14:creationId xmlns:p14="http://schemas.microsoft.com/office/powerpoint/2010/main" val="41518626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7_content">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603EB85B-3EA8-4814-B5ED-06F4F7B8D42A}"/>
              </a:ext>
            </a:extLst>
          </p:cNvPr>
          <p:cNvSpPr>
            <a:spLocks noGrp="1"/>
          </p:cNvSpPr>
          <p:nvPr>
            <p:ph idx="1" hasCustomPrompt="1"/>
          </p:nvPr>
        </p:nvSpPr>
        <p:spPr>
          <a:xfrm>
            <a:off x="515938" y="1461927"/>
            <a:ext cx="8395833" cy="4775361"/>
          </a:xfrm>
          <a:prstGeom prst="rect">
            <a:avLst/>
          </a:prstGeom>
        </p:spPr>
        <p:txBody>
          <a:bodyPr lIns="0" tIns="0"/>
          <a:lstStyle>
            <a:lvl1pPr marL="0" indent="0">
              <a:lnSpc>
                <a:spcPct val="100000"/>
              </a:lnSpc>
              <a:spcBef>
                <a:spcPts val="800"/>
              </a:spcBef>
              <a:buFont typeface="Arial" panose="020B0604020202020204" pitchFamily="34" charset="0"/>
              <a:buNone/>
              <a:defRPr sz="1800" b="0">
                <a:solidFill>
                  <a:schemeClr val="accent6">
                    <a:lumMod val="50000"/>
                  </a:schemeClr>
                </a:solidFill>
                <a:latin typeface="+mn-lt"/>
              </a:defRPr>
            </a:lvl1pPr>
            <a:lvl2pPr marL="263525" indent="-80963">
              <a:lnSpc>
                <a:spcPct val="100000"/>
              </a:lnSpc>
              <a:spcBef>
                <a:spcPts val="800"/>
              </a:spcBef>
              <a:buFontTx/>
              <a:buBlip>
                <a:blip r:embed="rId2"/>
              </a:buBlip>
              <a:defRPr sz="1800"/>
            </a:lvl2pPr>
            <a:lvl3pPr marL="536575" indent="-90488">
              <a:lnSpc>
                <a:spcPct val="100000"/>
              </a:lnSpc>
              <a:spcBef>
                <a:spcPts val="800"/>
              </a:spcBef>
              <a:buFontTx/>
              <a:buBlip>
                <a:blip r:embed="rId3"/>
              </a:buBlip>
              <a:defRPr sz="1800"/>
            </a:lvl3pPr>
            <a:lvl4pPr marL="811213" indent="-90488">
              <a:lnSpc>
                <a:spcPct val="100000"/>
              </a:lnSpc>
              <a:spcBef>
                <a:spcPts val="800"/>
              </a:spcBef>
              <a:buFontTx/>
              <a:buBlip>
                <a:blip r:embed="rId4"/>
              </a:buBlip>
              <a:defRPr sz="1800"/>
            </a:lvl4pPr>
            <a:lvl5pPr marL="982662" marR="0" indent="0" algn="l" defTabSz="914400" rtl="0" eaLnBrk="1" fontAlgn="auto" latinLnBrk="0" hangingPunct="1">
              <a:lnSpc>
                <a:spcPct val="100000"/>
              </a:lnSpc>
              <a:spcBef>
                <a:spcPts val="800"/>
              </a:spcBef>
              <a:spcAft>
                <a:spcPts val="0"/>
              </a:spcAft>
              <a:buClrTx/>
              <a:buSzTx/>
              <a:buFontTx/>
              <a:buNone/>
              <a:tabLst/>
              <a:defRPr sz="1800"/>
            </a:lvl5pPr>
            <a:lvl6pPr marL="2514600" indent="-228600">
              <a:buNone/>
              <a:defRPr/>
            </a:lvl6pPr>
          </a:lstStyle>
          <a:p>
            <a:pPr lvl="0"/>
            <a:r>
              <a:rPr lang="de-DE"/>
              <a:t>This is a copy text.</a:t>
            </a:r>
          </a:p>
        </p:txBody>
      </p:sp>
      <p:sp>
        <p:nvSpPr>
          <p:cNvPr id="10" name="Titel 1">
            <a:extLst>
              <a:ext uri="{FF2B5EF4-FFF2-40B4-BE49-F238E27FC236}">
                <a16:creationId xmlns:a16="http://schemas.microsoft.com/office/drawing/2014/main" id="{3A814B79-7DD9-4587-A8FC-4C56C805E79B}"/>
              </a:ext>
            </a:extLst>
          </p:cNvPr>
          <p:cNvSpPr>
            <a:spLocks noGrp="1"/>
          </p:cNvSpPr>
          <p:nvPr>
            <p:ph type="title" hasCustomPrompt="1"/>
          </p:nvPr>
        </p:nvSpPr>
        <p:spPr>
          <a:xfrm>
            <a:off x="515938" y="453851"/>
            <a:ext cx="6875155" cy="757619"/>
          </a:xfrm>
          <a:prstGeom prst="rect">
            <a:avLst/>
          </a:prstGeom>
        </p:spPr>
        <p:txBody>
          <a:bodyPr lIns="0" tIns="0" rIns="0"/>
          <a:lstStyle>
            <a:lvl1pPr>
              <a:defRPr sz="2900" b="0">
                <a:solidFill>
                  <a:schemeClr val="tx2"/>
                </a:solidFill>
              </a:defRPr>
            </a:lvl1pPr>
          </a:lstStyle>
          <a:p>
            <a:r>
              <a:rPr lang="de-DE"/>
              <a:t>This is a headline</a:t>
            </a:r>
          </a:p>
        </p:txBody>
      </p:sp>
      <p:pic>
        <p:nvPicPr>
          <p:cNvPr id="8" name="Grafik 7">
            <a:extLst>
              <a:ext uri="{FF2B5EF4-FFF2-40B4-BE49-F238E27FC236}">
                <a16:creationId xmlns:a16="http://schemas.microsoft.com/office/drawing/2014/main" id="{BDD55423-4C5E-49D0-922D-84E5C37C7006}"/>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478336" y="368300"/>
            <a:ext cx="1183668" cy="658834"/>
          </a:xfrm>
          <a:prstGeom prst="rect">
            <a:avLst/>
          </a:prstGeom>
        </p:spPr>
      </p:pic>
      <p:sp>
        <p:nvSpPr>
          <p:cNvPr id="9" name="Datumsplatzhalter 3">
            <a:extLst>
              <a:ext uri="{FF2B5EF4-FFF2-40B4-BE49-F238E27FC236}">
                <a16:creationId xmlns:a16="http://schemas.microsoft.com/office/drawing/2014/main" id="{0AA764C7-4299-435D-943B-5A46F7C3DFB2}"/>
              </a:ext>
            </a:extLst>
          </p:cNvPr>
          <p:cNvSpPr>
            <a:spLocks noGrp="1"/>
          </p:cNvSpPr>
          <p:nvPr>
            <p:ph type="dt" sz="half" idx="10"/>
          </p:nvPr>
        </p:nvSpPr>
        <p:spPr>
          <a:xfrm>
            <a:off x="10237727" y="6483875"/>
            <a:ext cx="849775" cy="365125"/>
          </a:xfrm>
        </p:spPr>
        <p:txBody>
          <a:bodyPr/>
          <a:lstStyle/>
          <a:p>
            <a:fld id="{9AFB798B-A8BB-47C5-888A-414716EAE201}" type="datetime1">
              <a:rPr lang="en-US" smtClean="0"/>
              <a:t>11/29/2021</a:t>
            </a:fld>
            <a:endParaRPr lang="de-DE"/>
          </a:p>
        </p:txBody>
      </p:sp>
      <p:sp>
        <p:nvSpPr>
          <p:cNvPr id="11" name="Fußzeilenplatzhalter 4">
            <a:extLst>
              <a:ext uri="{FF2B5EF4-FFF2-40B4-BE49-F238E27FC236}">
                <a16:creationId xmlns:a16="http://schemas.microsoft.com/office/drawing/2014/main" id="{14D1B549-BF0D-497E-A2E3-79C60BF4D645}"/>
              </a:ext>
            </a:extLst>
          </p:cNvPr>
          <p:cNvSpPr>
            <a:spLocks noGrp="1"/>
          </p:cNvSpPr>
          <p:nvPr>
            <p:ph type="ftr" sz="quarter" idx="11"/>
          </p:nvPr>
        </p:nvSpPr>
        <p:spPr>
          <a:xfrm>
            <a:off x="336000" y="6483875"/>
            <a:ext cx="4114800" cy="365125"/>
          </a:xfrm>
        </p:spPr>
        <p:txBody>
          <a:bodyPr/>
          <a:lstStyle/>
          <a:p>
            <a:endParaRPr lang="de-DE"/>
          </a:p>
        </p:txBody>
      </p:sp>
      <p:sp>
        <p:nvSpPr>
          <p:cNvPr id="12" name="Foliennummernplatzhalter 5">
            <a:extLst>
              <a:ext uri="{FF2B5EF4-FFF2-40B4-BE49-F238E27FC236}">
                <a16:creationId xmlns:a16="http://schemas.microsoft.com/office/drawing/2014/main" id="{84DBA507-3516-46C5-8A99-9CDB0BEFC8E9}"/>
              </a:ext>
            </a:extLst>
          </p:cNvPr>
          <p:cNvSpPr>
            <a:spLocks noGrp="1"/>
          </p:cNvSpPr>
          <p:nvPr>
            <p:ph type="sldNum" sz="quarter" idx="12"/>
          </p:nvPr>
        </p:nvSpPr>
        <p:spPr>
          <a:xfrm>
            <a:off x="11157818" y="6483875"/>
            <a:ext cx="510070" cy="365125"/>
          </a:xfrm>
        </p:spPr>
        <p:txBody>
          <a:bodyPr/>
          <a:lstStyle/>
          <a:p>
            <a:fld id="{46735E09-D06A-4765-B4D1-A70A5B2E5B6E}" type="slidenum">
              <a:rPr lang="de-DE" smtClean="0"/>
              <a:t>‹N°›</a:t>
            </a:fld>
            <a:endParaRPr lang="de-DE"/>
          </a:p>
        </p:txBody>
      </p:sp>
    </p:spTree>
    <p:extLst>
      <p:ext uri="{BB962C8B-B14F-4D97-AF65-F5344CB8AC3E}">
        <p14:creationId xmlns:p14="http://schemas.microsoft.com/office/powerpoint/2010/main" val="40360012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0_title">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805F8CBC-B357-4045-914B-ED7B985BAF52}"/>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57E083C5-85A4-43AD-9A57-98C467EA6926}"/>
              </a:ext>
            </a:extLst>
          </p:cNvPr>
          <p:cNvSpPr/>
          <p:nvPr userDrawn="1"/>
        </p:nvSpPr>
        <p:spPr>
          <a:xfrm>
            <a:off x="0" y="1903956"/>
            <a:ext cx="12192000" cy="4954044"/>
          </a:xfrm>
          <a:prstGeom prst="rect">
            <a:avLst/>
          </a:prstGeom>
          <a:gradFill>
            <a:gsLst>
              <a:gs pos="56632">
                <a:schemeClr val="accent1">
                  <a:lumMod val="60000"/>
                  <a:lumOff val="40000"/>
                </a:schemeClr>
              </a:gs>
              <a:gs pos="0">
                <a:schemeClr val="accent2">
                  <a:lumMod val="84000"/>
                </a:schemeClr>
              </a:gs>
              <a:gs pos="100000">
                <a:schemeClr val="accent3"/>
              </a:gs>
              <a:gs pos="22000">
                <a:srgbClr val="000094"/>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itel 1">
            <a:extLst>
              <a:ext uri="{FF2B5EF4-FFF2-40B4-BE49-F238E27FC236}">
                <a16:creationId xmlns:a16="http://schemas.microsoft.com/office/drawing/2014/main" id="{2D2499DA-7C20-4CF1-BFC9-F6B33261BFA9}"/>
              </a:ext>
            </a:extLst>
          </p:cNvPr>
          <p:cNvSpPr>
            <a:spLocks noGrp="1"/>
          </p:cNvSpPr>
          <p:nvPr>
            <p:ph type="ctrTitle" hasCustomPrompt="1"/>
          </p:nvPr>
        </p:nvSpPr>
        <p:spPr>
          <a:xfrm>
            <a:off x="1006019" y="2610793"/>
            <a:ext cx="6489526" cy="2022475"/>
          </a:xfrm>
          <a:prstGeom prst="rect">
            <a:avLst/>
          </a:prstGeom>
        </p:spPr>
        <p:txBody>
          <a:bodyPr lIns="0" tIns="0" bIns="0" anchor="b">
            <a:normAutofit/>
          </a:bodyPr>
          <a:lstStyle>
            <a:lvl1pPr algn="l">
              <a:defRPr sz="5500" b="0">
                <a:solidFill>
                  <a:schemeClr val="bg1"/>
                </a:solidFill>
              </a:defRPr>
            </a:lvl1pPr>
          </a:lstStyle>
          <a:p>
            <a:r>
              <a:rPr lang="de-DE"/>
              <a:t>This is the title of the presentation</a:t>
            </a:r>
          </a:p>
        </p:txBody>
      </p:sp>
      <p:sp>
        <p:nvSpPr>
          <p:cNvPr id="14" name="Untertitel 2">
            <a:extLst>
              <a:ext uri="{FF2B5EF4-FFF2-40B4-BE49-F238E27FC236}">
                <a16:creationId xmlns:a16="http://schemas.microsoft.com/office/drawing/2014/main" id="{868B64C9-B0FA-4BC3-8181-82EEFA5E7306}"/>
              </a:ext>
            </a:extLst>
          </p:cNvPr>
          <p:cNvSpPr>
            <a:spLocks noGrp="1"/>
          </p:cNvSpPr>
          <p:nvPr>
            <p:ph type="subTitle" idx="1" hasCustomPrompt="1"/>
          </p:nvPr>
        </p:nvSpPr>
        <p:spPr>
          <a:xfrm>
            <a:off x="1006019" y="5171566"/>
            <a:ext cx="6188901" cy="887228"/>
          </a:xfrm>
          <a:prstGeom prst="rect">
            <a:avLst/>
          </a:prstGeom>
        </p:spPr>
        <p:txBody>
          <a:bodyPr lIns="0" tIns="0"/>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24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Edit subtitle</a:t>
            </a:r>
          </a:p>
        </p:txBody>
      </p:sp>
      <p:sp>
        <p:nvSpPr>
          <p:cNvPr id="16" name="Datumsplatzhalter 3">
            <a:extLst>
              <a:ext uri="{FF2B5EF4-FFF2-40B4-BE49-F238E27FC236}">
                <a16:creationId xmlns:a16="http://schemas.microsoft.com/office/drawing/2014/main" id="{A9FF7190-E7E0-4F4C-934D-5B39C55C5474}"/>
              </a:ext>
            </a:extLst>
          </p:cNvPr>
          <p:cNvSpPr>
            <a:spLocks noGrp="1"/>
          </p:cNvSpPr>
          <p:nvPr>
            <p:ph type="dt" sz="half" idx="10"/>
          </p:nvPr>
        </p:nvSpPr>
        <p:spPr>
          <a:xfrm>
            <a:off x="1006019" y="6002847"/>
            <a:ext cx="849775" cy="365125"/>
          </a:xfrm>
        </p:spPr>
        <p:txBody>
          <a:bodyPr/>
          <a:lstStyle>
            <a:lvl1pPr algn="l">
              <a:defRPr sz="1600">
                <a:solidFill>
                  <a:schemeClr val="bg1"/>
                </a:solidFill>
                <a:latin typeface="+mj-lt"/>
              </a:defRPr>
            </a:lvl1pPr>
          </a:lstStyle>
          <a:p>
            <a:fld id="{F92E2790-A2EB-4F0D-8A5E-24C07CF89569}" type="datetime1">
              <a:rPr lang="en-US" smtClean="0"/>
              <a:t>11/29/2021</a:t>
            </a:fld>
            <a:endParaRPr lang="de-DE"/>
          </a:p>
        </p:txBody>
      </p:sp>
      <p:cxnSp>
        <p:nvCxnSpPr>
          <p:cNvPr id="18" name="Gerader Verbinder 17">
            <a:extLst>
              <a:ext uri="{FF2B5EF4-FFF2-40B4-BE49-F238E27FC236}">
                <a16:creationId xmlns:a16="http://schemas.microsoft.com/office/drawing/2014/main" id="{5602975A-2666-4F68-8AB3-41A4C0D07743}"/>
              </a:ext>
            </a:extLst>
          </p:cNvPr>
          <p:cNvCxnSpPr>
            <a:cxnSpLocks/>
          </p:cNvCxnSpPr>
          <p:nvPr userDrawn="1"/>
        </p:nvCxnSpPr>
        <p:spPr>
          <a:xfrm>
            <a:off x="1018545" y="4974101"/>
            <a:ext cx="180000"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Grafik 10">
            <a:extLst>
              <a:ext uri="{FF2B5EF4-FFF2-40B4-BE49-F238E27FC236}">
                <a16:creationId xmlns:a16="http://schemas.microsoft.com/office/drawing/2014/main" id="{71E4911A-6973-4581-A09A-076FE185618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25026" y="452664"/>
            <a:ext cx="1728000" cy="963692"/>
          </a:xfrm>
          <a:prstGeom prst="rect">
            <a:avLst/>
          </a:prstGeom>
        </p:spPr>
      </p:pic>
    </p:spTree>
    <p:extLst>
      <p:ext uri="{BB962C8B-B14F-4D97-AF65-F5344CB8AC3E}">
        <p14:creationId xmlns:p14="http://schemas.microsoft.com/office/powerpoint/2010/main" val="3437193140"/>
      </p:ext>
    </p:extLst>
  </p:cSld>
  <p:clrMapOvr>
    <a:masterClrMapping/>
  </p:clrMapOvr>
  <p:extLst>
    <p:ext uri="{DCECCB84-F9BA-43D5-87BE-67443E8EF086}">
      <p15:sldGuideLst xmlns:p15="http://schemas.microsoft.com/office/powerpoint/2012/main">
        <p15:guide id="1" pos="529">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8_content">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0B7B921C-DD71-4F98-A33D-A7936778058D}"/>
              </a:ext>
            </a:extLst>
          </p:cNvPr>
          <p:cNvSpPr>
            <a:spLocks noGrp="1"/>
          </p:cNvSpPr>
          <p:nvPr>
            <p:ph type="dt" sz="half" idx="10"/>
          </p:nvPr>
        </p:nvSpPr>
        <p:spPr/>
        <p:txBody>
          <a:bodyPr/>
          <a:lstStyle/>
          <a:p>
            <a:fld id="{5AA28853-2706-4F8E-B043-D25BE96F9A69}" type="datetime1">
              <a:rPr lang="en-US" smtClean="0"/>
              <a:t>11/29/2021</a:t>
            </a:fld>
            <a:endParaRPr lang="de-DE"/>
          </a:p>
        </p:txBody>
      </p:sp>
      <p:sp>
        <p:nvSpPr>
          <p:cNvPr id="5" name="Fußzeilenplatzhalter 4">
            <a:extLst>
              <a:ext uri="{FF2B5EF4-FFF2-40B4-BE49-F238E27FC236}">
                <a16:creationId xmlns:a16="http://schemas.microsoft.com/office/drawing/2014/main" id="{F8372CDE-0269-4A13-98B5-C2021453FF9D}"/>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C57CF5D1-2B71-44E7-BD5F-23474545DB7B}"/>
              </a:ext>
            </a:extLst>
          </p:cNvPr>
          <p:cNvSpPr>
            <a:spLocks noGrp="1"/>
          </p:cNvSpPr>
          <p:nvPr>
            <p:ph type="sldNum" sz="quarter" idx="12"/>
          </p:nvPr>
        </p:nvSpPr>
        <p:spPr/>
        <p:txBody>
          <a:bodyPr/>
          <a:lstStyle/>
          <a:p>
            <a:fld id="{46735E09-D06A-4765-B4D1-A70A5B2E5B6E}" type="slidenum">
              <a:rPr lang="de-DE" smtClean="0"/>
              <a:t>‹N°›</a:t>
            </a:fld>
            <a:endParaRPr lang="de-DE"/>
          </a:p>
        </p:txBody>
      </p:sp>
      <p:pic>
        <p:nvPicPr>
          <p:cNvPr id="7" name="Grafik 6">
            <a:extLst>
              <a:ext uri="{FF2B5EF4-FFF2-40B4-BE49-F238E27FC236}">
                <a16:creationId xmlns:a16="http://schemas.microsoft.com/office/drawing/2014/main" id="{2F607DA3-FACA-410C-A2F1-29FAB9AB670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565420" y="368300"/>
            <a:ext cx="1183668" cy="658834"/>
          </a:xfrm>
          <a:prstGeom prst="rect">
            <a:avLst/>
          </a:prstGeom>
        </p:spPr>
      </p:pic>
      <p:sp>
        <p:nvSpPr>
          <p:cNvPr id="10" name="Titel 1">
            <a:extLst>
              <a:ext uri="{FF2B5EF4-FFF2-40B4-BE49-F238E27FC236}">
                <a16:creationId xmlns:a16="http://schemas.microsoft.com/office/drawing/2014/main" id="{3A814B79-7DD9-4587-A8FC-4C56C805E79B}"/>
              </a:ext>
            </a:extLst>
          </p:cNvPr>
          <p:cNvSpPr>
            <a:spLocks noGrp="1"/>
          </p:cNvSpPr>
          <p:nvPr>
            <p:ph type="title" hasCustomPrompt="1"/>
          </p:nvPr>
        </p:nvSpPr>
        <p:spPr>
          <a:xfrm>
            <a:off x="515938" y="453851"/>
            <a:ext cx="6875155" cy="757619"/>
          </a:xfrm>
          <a:prstGeom prst="rect">
            <a:avLst/>
          </a:prstGeom>
        </p:spPr>
        <p:txBody>
          <a:bodyPr lIns="0" tIns="0" rIns="0"/>
          <a:lstStyle>
            <a:lvl1pPr>
              <a:defRPr sz="2900" b="0">
                <a:solidFill>
                  <a:schemeClr val="tx2"/>
                </a:solidFill>
              </a:defRPr>
            </a:lvl1pPr>
          </a:lstStyle>
          <a:p>
            <a:r>
              <a:rPr lang="de-DE"/>
              <a:t>This is a headline</a:t>
            </a:r>
          </a:p>
        </p:txBody>
      </p:sp>
      <p:sp>
        <p:nvSpPr>
          <p:cNvPr id="8" name="Bildplatzhalter 7">
            <a:extLst>
              <a:ext uri="{FF2B5EF4-FFF2-40B4-BE49-F238E27FC236}">
                <a16:creationId xmlns:a16="http://schemas.microsoft.com/office/drawing/2014/main" id="{3BEBD704-F1F8-4C42-824D-C7DE68879B3F}"/>
              </a:ext>
            </a:extLst>
          </p:cNvPr>
          <p:cNvSpPr>
            <a:spLocks noGrp="1"/>
          </p:cNvSpPr>
          <p:nvPr>
            <p:ph type="pic" sz="quarter" idx="13" hasCustomPrompt="1"/>
          </p:nvPr>
        </p:nvSpPr>
        <p:spPr>
          <a:xfrm>
            <a:off x="0" y="0"/>
            <a:ext cx="12192000" cy="6858000"/>
          </a:xfrm>
          <a:prstGeom prst="rect">
            <a:avLst/>
          </a:prstGeom>
          <a:solidFill>
            <a:schemeClr val="bg1">
              <a:lumMod val="95000"/>
            </a:schemeClr>
          </a:solidFill>
        </p:spPr>
        <p:txBody>
          <a:bodyPr/>
          <a:lstStyle>
            <a:lvl1pPr marL="0" indent="0" algn="ctr">
              <a:buNone/>
              <a:defRPr sz="1200"/>
            </a:lvl1pPr>
          </a:lstStyle>
          <a:p>
            <a:r>
              <a:rPr lang="de-DE"/>
              <a:t>picture</a:t>
            </a:r>
          </a:p>
        </p:txBody>
      </p:sp>
      <p:sp>
        <p:nvSpPr>
          <p:cNvPr id="12" name="Bildplatzhalter 11">
            <a:extLst>
              <a:ext uri="{FF2B5EF4-FFF2-40B4-BE49-F238E27FC236}">
                <a16:creationId xmlns:a16="http://schemas.microsoft.com/office/drawing/2014/main" id="{FAE77D14-E038-48E6-AD69-050CCB79F708}"/>
              </a:ext>
            </a:extLst>
          </p:cNvPr>
          <p:cNvSpPr>
            <a:spLocks noGrp="1"/>
          </p:cNvSpPr>
          <p:nvPr>
            <p:ph type="pic" sz="quarter" idx="14"/>
          </p:nvPr>
        </p:nvSpPr>
        <p:spPr>
          <a:xfrm>
            <a:off x="-8174" y="0"/>
            <a:ext cx="5227874" cy="6858000"/>
          </a:xfrm>
          <a:prstGeom prst="rect">
            <a:avLst/>
          </a:prstGeom>
          <a:gradFill flip="none" rotWithShape="1">
            <a:gsLst>
              <a:gs pos="1770">
                <a:schemeClr val="accent2"/>
              </a:gs>
              <a:gs pos="22000">
                <a:schemeClr val="tx2">
                  <a:alpha val="74000"/>
                </a:schemeClr>
              </a:gs>
              <a:gs pos="62000">
                <a:schemeClr val="accent1">
                  <a:alpha val="0"/>
                </a:schemeClr>
              </a:gs>
            </a:gsLst>
            <a:lin ang="1500000" scaled="0"/>
            <a:tileRect/>
          </a:gradFill>
        </p:spPr>
        <p:txBody>
          <a:bodyPr/>
          <a:lstStyle>
            <a:lvl1pPr marL="0" indent="0" algn="ctr">
              <a:buNone/>
              <a:defRPr sz="800">
                <a:solidFill>
                  <a:schemeClr val="bg1">
                    <a:lumMod val="95000"/>
                  </a:schemeClr>
                </a:solidFill>
              </a:defRPr>
            </a:lvl1pPr>
          </a:lstStyle>
          <a:p>
            <a:endParaRPr lang="de-DE"/>
          </a:p>
        </p:txBody>
      </p:sp>
    </p:spTree>
    <p:extLst>
      <p:ext uri="{BB962C8B-B14F-4D97-AF65-F5344CB8AC3E}">
        <p14:creationId xmlns:p14="http://schemas.microsoft.com/office/powerpoint/2010/main" val="287478944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9_content">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0B7B921C-DD71-4F98-A33D-A7936778058D}"/>
              </a:ext>
            </a:extLst>
          </p:cNvPr>
          <p:cNvSpPr>
            <a:spLocks noGrp="1"/>
          </p:cNvSpPr>
          <p:nvPr>
            <p:ph type="dt" sz="half" idx="10"/>
          </p:nvPr>
        </p:nvSpPr>
        <p:spPr/>
        <p:txBody>
          <a:bodyPr/>
          <a:lstStyle/>
          <a:p>
            <a:fld id="{C36383EA-898F-44A6-888F-D1CE96F5BCD2}" type="datetime1">
              <a:rPr lang="en-US" smtClean="0"/>
              <a:t>11/29/2021</a:t>
            </a:fld>
            <a:endParaRPr lang="de-DE"/>
          </a:p>
        </p:txBody>
      </p:sp>
      <p:sp>
        <p:nvSpPr>
          <p:cNvPr id="5" name="Fußzeilenplatzhalter 4">
            <a:extLst>
              <a:ext uri="{FF2B5EF4-FFF2-40B4-BE49-F238E27FC236}">
                <a16:creationId xmlns:a16="http://schemas.microsoft.com/office/drawing/2014/main" id="{F8372CDE-0269-4A13-98B5-C2021453FF9D}"/>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C57CF5D1-2B71-44E7-BD5F-23474545DB7B}"/>
              </a:ext>
            </a:extLst>
          </p:cNvPr>
          <p:cNvSpPr>
            <a:spLocks noGrp="1"/>
          </p:cNvSpPr>
          <p:nvPr>
            <p:ph type="sldNum" sz="quarter" idx="12"/>
          </p:nvPr>
        </p:nvSpPr>
        <p:spPr/>
        <p:txBody>
          <a:bodyPr/>
          <a:lstStyle/>
          <a:p>
            <a:fld id="{46735E09-D06A-4765-B4D1-A70A5B2E5B6E}" type="slidenum">
              <a:rPr lang="de-DE" smtClean="0"/>
              <a:t>‹N°›</a:t>
            </a:fld>
            <a:endParaRPr lang="de-DE"/>
          </a:p>
        </p:txBody>
      </p:sp>
      <p:sp>
        <p:nvSpPr>
          <p:cNvPr id="10" name="Titel 1">
            <a:extLst>
              <a:ext uri="{FF2B5EF4-FFF2-40B4-BE49-F238E27FC236}">
                <a16:creationId xmlns:a16="http://schemas.microsoft.com/office/drawing/2014/main" id="{3A814B79-7DD9-4587-A8FC-4C56C805E79B}"/>
              </a:ext>
            </a:extLst>
          </p:cNvPr>
          <p:cNvSpPr>
            <a:spLocks noGrp="1"/>
          </p:cNvSpPr>
          <p:nvPr>
            <p:ph type="title" hasCustomPrompt="1"/>
          </p:nvPr>
        </p:nvSpPr>
        <p:spPr>
          <a:xfrm>
            <a:off x="515938" y="453851"/>
            <a:ext cx="6875155" cy="757619"/>
          </a:xfrm>
          <a:prstGeom prst="rect">
            <a:avLst/>
          </a:prstGeom>
        </p:spPr>
        <p:txBody>
          <a:bodyPr lIns="0" tIns="0" rIns="0"/>
          <a:lstStyle>
            <a:lvl1pPr>
              <a:defRPr sz="2900" b="0">
                <a:solidFill>
                  <a:schemeClr val="tx2"/>
                </a:solidFill>
              </a:defRPr>
            </a:lvl1pPr>
          </a:lstStyle>
          <a:p>
            <a:r>
              <a:rPr lang="de-DE"/>
              <a:t>This is a headline</a:t>
            </a:r>
          </a:p>
        </p:txBody>
      </p:sp>
      <p:pic>
        <p:nvPicPr>
          <p:cNvPr id="9" name="Grafik 8">
            <a:extLst>
              <a:ext uri="{FF2B5EF4-FFF2-40B4-BE49-F238E27FC236}">
                <a16:creationId xmlns:a16="http://schemas.microsoft.com/office/drawing/2014/main" id="{FBE35180-5D59-4433-8EBA-5B98ABBD21E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78336" y="368300"/>
            <a:ext cx="1183668" cy="658834"/>
          </a:xfrm>
          <a:prstGeom prst="rect">
            <a:avLst/>
          </a:prstGeom>
        </p:spPr>
      </p:pic>
    </p:spTree>
    <p:extLst>
      <p:ext uri="{BB962C8B-B14F-4D97-AF65-F5344CB8AC3E}">
        <p14:creationId xmlns:p14="http://schemas.microsoft.com/office/powerpoint/2010/main" val="344356026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6_Nur Titel">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AB066A7F-1B93-4905-8CA9-495B41258BA8}"/>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46A158BF-703F-42D8-B1F9-19973D426E29}"/>
              </a:ext>
            </a:extLst>
          </p:cNvPr>
          <p:cNvSpPr/>
          <p:nvPr userDrawn="1"/>
        </p:nvSpPr>
        <p:spPr>
          <a:xfrm>
            <a:off x="0" y="1856100"/>
            <a:ext cx="4648200" cy="4991621"/>
          </a:xfrm>
          <a:prstGeom prst="rect">
            <a:avLst/>
          </a:prstGeom>
          <a:gradFill>
            <a:gsLst>
              <a:gs pos="0">
                <a:schemeClr val="accent2">
                  <a:lumMod val="84000"/>
                </a:schemeClr>
              </a:gs>
              <a:gs pos="69000">
                <a:schemeClr val="accent1"/>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E0A05EDB-D93B-439C-B793-E61C1AB13C25}"/>
              </a:ext>
            </a:extLst>
          </p:cNvPr>
          <p:cNvSpPr/>
          <p:nvPr userDrawn="1"/>
        </p:nvSpPr>
        <p:spPr>
          <a:xfrm>
            <a:off x="0" y="1866376"/>
            <a:ext cx="12192000" cy="4991623"/>
          </a:xfrm>
          <a:prstGeom prst="rect">
            <a:avLst/>
          </a:prstGeom>
          <a:gradFill>
            <a:gsLst>
              <a:gs pos="0">
                <a:srgbClr val="000094">
                  <a:alpha val="0"/>
                </a:srgbClr>
              </a:gs>
              <a:gs pos="100000">
                <a:schemeClr val="accent3"/>
              </a:gs>
            </a:gsLst>
            <a:lin ang="15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9" name="Grafik 8">
            <a:extLst>
              <a:ext uri="{FF2B5EF4-FFF2-40B4-BE49-F238E27FC236}">
                <a16:creationId xmlns:a16="http://schemas.microsoft.com/office/drawing/2014/main" id="{212A610B-3F5C-4C2B-A69B-89AD8F53F7F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90339" y="368300"/>
            <a:ext cx="1758749" cy="978926"/>
          </a:xfrm>
          <a:prstGeom prst="rect">
            <a:avLst/>
          </a:prstGeom>
        </p:spPr>
      </p:pic>
      <p:sp>
        <p:nvSpPr>
          <p:cNvPr id="10" name="Textfeld 9">
            <a:extLst>
              <a:ext uri="{FF2B5EF4-FFF2-40B4-BE49-F238E27FC236}">
                <a16:creationId xmlns:a16="http://schemas.microsoft.com/office/drawing/2014/main" id="{DC4E0629-C2B7-4E47-AC95-F0ABC8B5B2DF}"/>
              </a:ext>
            </a:extLst>
          </p:cNvPr>
          <p:cNvSpPr txBox="1"/>
          <p:nvPr userDrawn="1"/>
        </p:nvSpPr>
        <p:spPr>
          <a:xfrm>
            <a:off x="1739550" y="3189096"/>
            <a:ext cx="6680549" cy="3018772"/>
          </a:xfrm>
          <a:prstGeom prst="rect">
            <a:avLst/>
          </a:prstGeom>
          <a:noFill/>
        </p:spPr>
        <p:txBody>
          <a:bodyPr wrap="square" rtlCol="0">
            <a:noAutofit/>
          </a:bodyPr>
          <a:lstStyle/>
          <a:p>
            <a:pPr>
              <a:spcBef>
                <a:spcPts val="2000"/>
              </a:spcBef>
            </a:pPr>
            <a:r>
              <a:rPr lang="en-US" sz="3600" b="1" i="0" u="none" strike="noStrike" kern="1200">
                <a:solidFill>
                  <a:schemeClr val="bg1"/>
                </a:solidFill>
                <a:effectLst/>
                <a:latin typeface="+mj-lt"/>
                <a:ea typeface="+mn-ea"/>
                <a:cs typeface="+mn-cs"/>
              </a:rPr>
              <a:t>Be part </a:t>
            </a:r>
            <a:r>
              <a:rPr lang="en-US" sz="3600" b="0" i="0" u="none" strike="noStrike" kern="1200">
                <a:solidFill>
                  <a:schemeClr val="bg1"/>
                </a:solidFill>
                <a:effectLst/>
                <a:latin typeface="+mj-lt"/>
                <a:ea typeface="+mn-ea"/>
                <a:cs typeface="+mn-cs"/>
              </a:rPr>
              <a:t>of </a:t>
            </a:r>
            <a:r>
              <a:rPr lang="en-US" sz="3600" b="1" i="0" u="none" strike="noStrike" kern="1200">
                <a:solidFill>
                  <a:schemeClr val="bg1"/>
                </a:solidFill>
                <a:effectLst/>
                <a:latin typeface="+mj-lt"/>
                <a:ea typeface="+mn-ea"/>
                <a:cs typeface="+mn-cs"/>
              </a:rPr>
              <a:t>gaia-x </a:t>
            </a:r>
            <a:r>
              <a:rPr lang="en-US" sz="3600" b="0" i="0" u="none" strike="noStrike" kern="1200">
                <a:solidFill>
                  <a:schemeClr val="bg1"/>
                </a:solidFill>
                <a:effectLst/>
                <a:latin typeface="+mj-lt"/>
                <a:ea typeface="+mn-ea"/>
                <a:cs typeface="+mn-cs"/>
              </a:rPr>
              <a:t>and </a:t>
            </a:r>
            <a:r>
              <a:rPr lang="en-US" sz="3600" b="1" i="0" u="none" strike="noStrike" kern="1200">
                <a:solidFill>
                  <a:schemeClr val="bg1"/>
                </a:solidFill>
                <a:effectLst/>
                <a:latin typeface="+mj-lt"/>
                <a:ea typeface="+mn-ea"/>
                <a:cs typeface="+mn-cs"/>
              </a:rPr>
              <a:t>create </a:t>
            </a:r>
            <a:br>
              <a:rPr lang="en-US" sz="3600" b="1" i="0" u="none" strike="noStrike" kern="1200">
                <a:solidFill>
                  <a:schemeClr val="bg1"/>
                </a:solidFill>
                <a:effectLst/>
                <a:latin typeface="+mj-lt"/>
                <a:ea typeface="+mn-ea"/>
                <a:cs typeface="+mn-cs"/>
              </a:rPr>
            </a:br>
            <a:r>
              <a:rPr lang="en-US" sz="3600" b="0" i="0" u="none" strike="noStrike" kern="1200">
                <a:solidFill>
                  <a:schemeClr val="bg1"/>
                </a:solidFill>
                <a:effectLst/>
                <a:latin typeface="+mj-lt"/>
                <a:ea typeface="+mn-ea"/>
                <a:cs typeface="+mn-cs"/>
              </a:rPr>
              <a:t>a</a:t>
            </a:r>
            <a:r>
              <a:rPr lang="en-US" sz="3600" b="1" i="0" u="none" strike="noStrike" kern="1200">
                <a:solidFill>
                  <a:schemeClr val="bg1"/>
                </a:solidFill>
                <a:effectLst/>
                <a:latin typeface="+mj-lt"/>
                <a:ea typeface="+mn-ea"/>
                <a:cs typeface="+mn-cs"/>
              </a:rPr>
              <a:t> future </a:t>
            </a:r>
            <a:r>
              <a:rPr lang="en-US" sz="3600" b="0" i="0" u="none" strike="noStrike" kern="1200">
                <a:solidFill>
                  <a:schemeClr val="bg1"/>
                </a:solidFill>
                <a:effectLst/>
                <a:latin typeface="+mj-lt"/>
                <a:ea typeface="+mn-ea"/>
                <a:cs typeface="+mn-cs"/>
              </a:rPr>
              <a:t>that is both </a:t>
            </a:r>
            <a:r>
              <a:rPr lang="en-US" sz="3600" b="1" i="0" u="none" strike="noStrike" kern="1200">
                <a:solidFill>
                  <a:schemeClr val="bg1"/>
                </a:solidFill>
                <a:effectLst/>
                <a:latin typeface="+mj-lt"/>
                <a:ea typeface="+mn-ea"/>
                <a:cs typeface="+mn-cs"/>
              </a:rPr>
              <a:t>open </a:t>
            </a:r>
            <a:r>
              <a:rPr lang="en-US" sz="3600" b="0" i="0" u="none" strike="noStrike" kern="1200">
                <a:solidFill>
                  <a:schemeClr val="bg1"/>
                </a:solidFill>
                <a:effectLst/>
                <a:latin typeface="+mj-lt"/>
                <a:ea typeface="+mn-ea"/>
                <a:cs typeface="+mn-cs"/>
              </a:rPr>
              <a:t>and</a:t>
            </a:r>
            <a:r>
              <a:rPr lang="en-US" sz="3600" b="1" i="0" u="none" strike="noStrike" kern="1200">
                <a:solidFill>
                  <a:schemeClr val="bg1"/>
                </a:solidFill>
                <a:effectLst/>
                <a:latin typeface="+mj-lt"/>
                <a:ea typeface="+mn-ea"/>
                <a:cs typeface="+mn-cs"/>
              </a:rPr>
              <a:t> fair</a:t>
            </a:r>
            <a:r>
              <a:rPr lang="en-US" sz="3600" b="0" i="0" u="none" strike="noStrike" kern="1200">
                <a:solidFill>
                  <a:schemeClr val="bg1"/>
                </a:solidFill>
                <a:effectLst/>
                <a:latin typeface="+mj-lt"/>
                <a:ea typeface="+mn-ea"/>
                <a:cs typeface="+mn-cs"/>
              </a:rPr>
              <a:t>!</a:t>
            </a:r>
            <a:r>
              <a:rPr lang="en-US" sz="3600" b="0" i="0" kern="1200">
                <a:solidFill>
                  <a:schemeClr val="bg1"/>
                </a:solidFill>
                <a:effectLst/>
                <a:latin typeface="+mj-lt"/>
                <a:ea typeface="+mn-ea"/>
                <a:cs typeface="+mn-cs"/>
              </a:rPr>
              <a:t>​</a:t>
            </a:r>
          </a:p>
          <a:p>
            <a:pPr>
              <a:spcBef>
                <a:spcPts val="2000"/>
              </a:spcBef>
            </a:pPr>
            <a:r>
              <a:rPr lang="en-US" sz="3600" b="0" i="0" u="none" strike="noStrike" kern="1200">
                <a:solidFill>
                  <a:schemeClr val="bg1"/>
                </a:solidFill>
                <a:effectLst/>
                <a:latin typeface="+mj-lt"/>
                <a:ea typeface="+mn-ea"/>
                <a:cs typeface="+mn-cs"/>
              </a:rPr>
              <a:t>We are </a:t>
            </a:r>
            <a:r>
              <a:rPr lang="en-US" sz="3600" b="1" i="0" u="none" strike="noStrike" kern="1200">
                <a:solidFill>
                  <a:schemeClr val="bg1"/>
                </a:solidFill>
                <a:effectLst/>
                <a:latin typeface="+mj-lt"/>
                <a:ea typeface="+mn-ea"/>
                <a:cs typeface="+mn-cs"/>
              </a:rPr>
              <a:t>happy</a:t>
            </a:r>
            <a:r>
              <a:rPr lang="en-US" sz="3600" b="0" i="0" u="none" strike="noStrike" kern="1200">
                <a:solidFill>
                  <a:schemeClr val="bg1"/>
                </a:solidFill>
                <a:effectLst/>
                <a:latin typeface="+mj-lt"/>
                <a:ea typeface="+mn-ea"/>
                <a:cs typeface="+mn-cs"/>
              </a:rPr>
              <a:t> to </a:t>
            </a:r>
            <a:r>
              <a:rPr lang="en-US" sz="3600" b="1" i="0" u="none" strike="noStrike" kern="1200">
                <a:solidFill>
                  <a:schemeClr val="bg1"/>
                </a:solidFill>
                <a:effectLst/>
                <a:latin typeface="+mj-lt"/>
                <a:ea typeface="+mn-ea"/>
                <a:cs typeface="+mn-cs"/>
              </a:rPr>
              <a:t>have you with us</a:t>
            </a:r>
            <a:r>
              <a:rPr lang="en-US" sz="3600" b="0" i="0" u="none" strike="noStrike" kern="1200">
                <a:solidFill>
                  <a:schemeClr val="bg1"/>
                </a:solidFill>
                <a:effectLst/>
                <a:latin typeface="+mj-lt"/>
                <a:ea typeface="+mn-ea"/>
                <a:cs typeface="+mn-cs"/>
              </a:rPr>
              <a:t> and </a:t>
            </a:r>
            <a:r>
              <a:rPr lang="en-US" sz="3600" b="1" i="0" u="none" strike="noStrike" kern="1200">
                <a:solidFill>
                  <a:schemeClr val="bg1"/>
                </a:solidFill>
                <a:effectLst/>
                <a:latin typeface="+mj-lt"/>
                <a:ea typeface="+mn-ea"/>
                <a:cs typeface="+mn-cs"/>
              </a:rPr>
              <a:t>welcome you</a:t>
            </a:r>
            <a:r>
              <a:rPr lang="en-US" sz="3600" b="0" i="0" u="none" strike="noStrike" kern="1200">
                <a:solidFill>
                  <a:schemeClr val="bg1"/>
                </a:solidFill>
                <a:effectLst/>
                <a:latin typeface="+mj-lt"/>
                <a:ea typeface="+mn-ea"/>
                <a:cs typeface="+mn-cs"/>
              </a:rPr>
              <a:t>.</a:t>
            </a:r>
            <a:r>
              <a:rPr lang="en-US" sz="3600" b="0" i="0" kern="1200">
                <a:solidFill>
                  <a:schemeClr val="bg1"/>
                </a:solidFill>
                <a:effectLst/>
                <a:latin typeface="+mj-lt"/>
                <a:ea typeface="+mn-ea"/>
                <a:cs typeface="+mn-cs"/>
              </a:rPr>
              <a:t>​</a:t>
            </a:r>
            <a:endParaRPr lang="de-DE" sz="3600">
              <a:solidFill>
                <a:schemeClr val="bg1"/>
              </a:solidFill>
              <a:latin typeface="+mj-lt"/>
            </a:endParaRPr>
          </a:p>
        </p:txBody>
      </p:sp>
      <p:cxnSp>
        <p:nvCxnSpPr>
          <p:cNvPr id="11" name="Gerader Verbinder 10">
            <a:extLst>
              <a:ext uri="{FF2B5EF4-FFF2-40B4-BE49-F238E27FC236}">
                <a16:creationId xmlns:a16="http://schemas.microsoft.com/office/drawing/2014/main" id="{89365D1B-A520-4DA6-9332-856E004EFA56}"/>
              </a:ext>
            </a:extLst>
          </p:cNvPr>
          <p:cNvCxnSpPr>
            <a:cxnSpLocks/>
          </p:cNvCxnSpPr>
          <p:nvPr userDrawn="1"/>
        </p:nvCxnSpPr>
        <p:spPr>
          <a:xfrm>
            <a:off x="1911619" y="2971800"/>
            <a:ext cx="216000" cy="0"/>
          </a:xfrm>
          <a:prstGeom prst="line">
            <a:avLst/>
          </a:prstGeom>
          <a:ln w="95250" cap="rnd">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81000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8_Nur Titel">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AB066A7F-1B93-4905-8CA9-495B41258BA8}"/>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46A158BF-703F-42D8-B1F9-19973D426E29}"/>
              </a:ext>
            </a:extLst>
          </p:cNvPr>
          <p:cNvSpPr/>
          <p:nvPr userDrawn="1"/>
        </p:nvSpPr>
        <p:spPr>
          <a:xfrm>
            <a:off x="0" y="1856100"/>
            <a:ext cx="4648200" cy="4991621"/>
          </a:xfrm>
          <a:prstGeom prst="rect">
            <a:avLst/>
          </a:prstGeom>
          <a:gradFill>
            <a:gsLst>
              <a:gs pos="0">
                <a:schemeClr val="accent2">
                  <a:lumMod val="84000"/>
                </a:schemeClr>
              </a:gs>
              <a:gs pos="69000">
                <a:schemeClr val="accent1"/>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E0A05EDB-D93B-439C-B793-E61C1AB13C25}"/>
              </a:ext>
            </a:extLst>
          </p:cNvPr>
          <p:cNvSpPr/>
          <p:nvPr userDrawn="1"/>
        </p:nvSpPr>
        <p:spPr>
          <a:xfrm>
            <a:off x="0" y="1866376"/>
            <a:ext cx="12192000" cy="4991623"/>
          </a:xfrm>
          <a:prstGeom prst="rect">
            <a:avLst/>
          </a:prstGeom>
          <a:gradFill>
            <a:gsLst>
              <a:gs pos="0">
                <a:srgbClr val="000094">
                  <a:alpha val="0"/>
                </a:srgbClr>
              </a:gs>
              <a:gs pos="100000">
                <a:schemeClr val="accent3"/>
              </a:gs>
            </a:gsLst>
            <a:lin ang="15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9" name="Grafik 8">
            <a:extLst>
              <a:ext uri="{FF2B5EF4-FFF2-40B4-BE49-F238E27FC236}">
                <a16:creationId xmlns:a16="http://schemas.microsoft.com/office/drawing/2014/main" id="{212A610B-3F5C-4C2B-A69B-89AD8F53F7F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90339" y="368300"/>
            <a:ext cx="1758749" cy="978926"/>
          </a:xfrm>
          <a:prstGeom prst="rect">
            <a:avLst/>
          </a:prstGeom>
        </p:spPr>
      </p:pic>
      <p:sp>
        <p:nvSpPr>
          <p:cNvPr id="10" name="Textfeld 9">
            <a:extLst>
              <a:ext uri="{FF2B5EF4-FFF2-40B4-BE49-F238E27FC236}">
                <a16:creationId xmlns:a16="http://schemas.microsoft.com/office/drawing/2014/main" id="{DC4E0629-C2B7-4E47-AC95-F0ABC8B5B2DF}"/>
              </a:ext>
            </a:extLst>
          </p:cNvPr>
          <p:cNvSpPr txBox="1"/>
          <p:nvPr userDrawn="1"/>
        </p:nvSpPr>
        <p:spPr>
          <a:xfrm>
            <a:off x="1739550" y="3189096"/>
            <a:ext cx="6680549" cy="3018772"/>
          </a:xfrm>
          <a:prstGeom prst="rect">
            <a:avLst/>
          </a:prstGeom>
          <a:noFill/>
        </p:spPr>
        <p:txBody>
          <a:bodyPr wrap="square" rtlCol="0">
            <a:noAutofit/>
          </a:bodyPr>
          <a:lstStyle/>
          <a:p>
            <a:pPr>
              <a:spcBef>
                <a:spcPts val="2000"/>
              </a:spcBef>
            </a:pPr>
            <a:endParaRPr lang="de-DE" sz="3600">
              <a:solidFill>
                <a:schemeClr val="bg1"/>
              </a:solidFill>
              <a:latin typeface="+mj-lt"/>
            </a:endParaRPr>
          </a:p>
        </p:txBody>
      </p:sp>
      <p:cxnSp>
        <p:nvCxnSpPr>
          <p:cNvPr id="11" name="Gerader Verbinder 10">
            <a:extLst>
              <a:ext uri="{FF2B5EF4-FFF2-40B4-BE49-F238E27FC236}">
                <a16:creationId xmlns:a16="http://schemas.microsoft.com/office/drawing/2014/main" id="{89365D1B-A520-4DA6-9332-856E004EFA56}"/>
              </a:ext>
            </a:extLst>
          </p:cNvPr>
          <p:cNvCxnSpPr>
            <a:cxnSpLocks/>
          </p:cNvCxnSpPr>
          <p:nvPr userDrawn="1"/>
        </p:nvCxnSpPr>
        <p:spPr>
          <a:xfrm>
            <a:off x="1911619" y="2971800"/>
            <a:ext cx="216000" cy="0"/>
          </a:xfrm>
          <a:prstGeom prst="line">
            <a:avLst/>
          </a:prstGeom>
          <a:ln w="95250" cap="rnd">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Textplatzhalter 2">
            <a:extLst>
              <a:ext uri="{FF2B5EF4-FFF2-40B4-BE49-F238E27FC236}">
                <a16:creationId xmlns:a16="http://schemas.microsoft.com/office/drawing/2014/main" id="{8ED80C3A-BE6B-4912-9314-6A51580B485B}"/>
              </a:ext>
            </a:extLst>
          </p:cNvPr>
          <p:cNvSpPr>
            <a:spLocks noGrp="1"/>
          </p:cNvSpPr>
          <p:nvPr>
            <p:ph type="body" sz="quarter" idx="10" hasCustomPrompt="1"/>
          </p:nvPr>
        </p:nvSpPr>
        <p:spPr>
          <a:xfrm>
            <a:off x="1865050" y="3296509"/>
            <a:ext cx="6680549" cy="2700337"/>
          </a:xfrm>
          <a:prstGeom prst="rect">
            <a:avLst/>
          </a:prstGeom>
        </p:spPr>
        <p:txBody>
          <a:bodyPr lIns="0" tIns="0"/>
          <a:lstStyle>
            <a:lvl1pPr marL="0" indent="0">
              <a:lnSpc>
                <a:spcPct val="100000"/>
              </a:lnSpc>
              <a:buNone/>
              <a:defRPr sz="3600">
                <a:solidFill>
                  <a:schemeClr val="bg1"/>
                </a:solidFill>
                <a:latin typeface="+mj-lt"/>
              </a:defRPr>
            </a:lvl1pPr>
            <a:lvl2pPr marL="457200" indent="0">
              <a:lnSpc>
                <a:spcPct val="100000"/>
              </a:lnSpc>
              <a:buNone/>
              <a:defRPr sz="3600">
                <a:solidFill>
                  <a:schemeClr val="bg1"/>
                </a:solidFill>
                <a:latin typeface="+mj-lt"/>
              </a:defRPr>
            </a:lvl2pPr>
            <a:lvl3pPr marL="914400" indent="0">
              <a:lnSpc>
                <a:spcPct val="100000"/>
              </a:lnSpc>
              <a:buNone/>
              <a:defRPr sz="3600">
                <a:solidFill>
                  <a:schemeClr val="bg1"/>
                </a:solidFill>
                <a:latin typeface="+mj-lt"/>
              </a:defRPr>
            </a:lvl3pPr>
            <a:lvl4pPr marL="1371600" indent="0">
              <a:lnSpc>
                <a:spcPct val="100000"/>
              </a:lnSpc>
              <a:buNone/>
              <a:defRPr sz="3600">
                <a:solidFill>
                  <a:schemeClr val="bg1"/>
                </a:solidFill>
                <a:latin typeface="+mj-lt"/>
              </a:defRPr>
            </a:lvl4pPr>
            <a:lvl5pPr marL="1828800" indent="0">
              <a:lnSpc>
                <a:spcPct val="100000"/>
              </a:lnSpc>
              <a:buNone/>
              <a:defRPr sz="3600">
                <a:solidFill>
                  <a:schemeClr val="bg1"/>
                </a:solidFill>
                <a:latin typeface="+mj-lt"/>
              </a:defRPr>
            </a:lvl5pPr>
          </a:lstStyle>
          <a:p>
            <a:pPr>
              <a:spcBef>
                <a:spcPts val="2000"/>
              </a:spcBef>
            </a:pPr>
            <a:r>
              <a:rPr lang="en-US" sz="3600" b="1" i="0" u="none" strike="noStrike" kern="1200">
                <a:solidFill>
                  <a:schemeClr val="bg1"/>
                </a:solidFill>
                <a:effectLst/>
                <a:latin typeface="+mj-lt"/>
                <a:ea typeface="+mn-ea"/>
                <a:cs typeface="+mn-cs"/>
              </a:rPr>
              <a:t>Be part </a:t>
            </a:r>
            <a:r>
              <a:rPr lang="en-US" sz="3600" b="0" i="0" u="none" strike="noStrike" kern="1200">
                <a:solidFill>
                  <a:schemeClr val="bg1"/>
                </a:solidFill>
                <a:effectLst/>
                <a:latin typeface="+mj-lt"/>
                <a:ea typeface="+mn-ea"/>
                <a:cs typeface="+mn-cs"/>
              </a:rPr>
              <a:t>of </a:t>
            </a:r>
            <a:r>
              <a:rPr lang="en-US" sz="3600" b="1" i="0" u="none" strike="noStrike" kern="1200">
                <a:solidFill>
                  <a:schemeClr val="bg1"/>
                </a:solidFill>
                <a:effectLst/>
                <a:latin typeface="+mj-lt"/>
                <a:ea typeface="+mn-ea"/>
                <a:cs typeface="+mn-cs"/>
              </a:rPr>
              <a:t>gaia-x </a:t>
            </a:r>
            <a:r>
              <a:rPr lang="en-US" sz="3600" b="0" i="0" u="none" strike="noStrike" kern="1200">
                <a:solidFill>
                  <a:schemeClr val="bg1"/>
                </a:solidFill>
                <a:effectLst/>
                <a:latin typeface="+mj-lt"/>
                <a:ea typeface="+mn-ea"/>
                <a:cs typeface="+mn-cs"/>
              </a:rPr>
              <a:t>and </a:t>
            </a:r>
            <a:r>
              <a:rPr lang="en-US" sz="3600" b="1" i="0" u="none" strike="noStrike" kern="1200">
                <a:solidFill>
                  <a:schemeClr val="bg1"/>
                </a:solidFill>
                <a:effectLst/>
                <a:latin typeface="+mj-lt"/>
                <a:ea typeface="+mn-ea"/>
                <a:cs typeface="+mn-cs"/>
              </a:rPr>
              <a:t>create </a:t>
            </a:r>
            <a:br>
              <a:rPr lang="en-US" sz="3600" b="1" i="0" u="none" strike="noStrike" kern="1200">
                <a:solidFill>
                  <a:schemeClr val="bg1"/>
                </a:solidFill>
                <a:effectLst/>
                <a:latin typeface="+mj-lt"/>
                <a:ea typeface="+mn-ea"/>
                <a:cs typeface="+mn-cs"/>
              </a:rPr>
            </a:br>
            <a:r>
              <a:rPr lang="en-US" sz="3600" b="0" i="0" u="none" strike="noStrike" kern="1200">
                <a:solidFill>
                  <a:schemeClr val="bg1"/>
                </a:solidFill>
                <a:effectLst/>
                <a:latin typeface="+mj-lt"/>
                <a:ea typeface="+mn-ea"/>
                <a:cs typeface="+mn-cs"/>
              </a:rPr>
              <a:t>a</a:t>
            </a:r>
            <a:r>
              <a:rPr lang="en-US" sz="3600" b="1" i="0" u="none" strike="noStrike" kern="1200">
                <a:solidFill>
                  <a:schemeClr val="bg1"/>
                </a:solidFill>
                <a:effectLst/>
                <a:latin typeface="+mj-lt"/>
                <a:ea typeface="+mn-ea"/>
                <a:cs typeface="+mn-cs"/>
              </a:rPr>
              <a:t> future </a:t>
            </a:r>
            <a:r>
              <a:rPr lang="en-US" sz="3600" b="0" i="0" u="none" strike="noStrike" kern="1200">
                <a:solidFill>
                  <a:schemeClr val="bg1"/>
                </a:solidFill>
                <a:effectLst/>
                <a:latin typeface="+mj-lt"/>
                <a:ea typeface="+mn-ea"/>
                <a:cs typeface="+mn-cs"/>
              </a:rPr>
              <a:t>that is both </a:t>
            </a:r>
            <a:r>
              <a:rPr lang="en-US" sz="3600" b="1" i="0" u="none" strike="noStrike" kern="1200">
                <a:solidFill>
                  <a:schemeClr val="bg1"/>
                </a:solidFill>
                <a:effectLst/>
                <a:latin typeface="+mj-lt"/>
                <a:ea typeface="+mn-ea"/>
                <a:cs typeface="+mn-cs"/>
              </a:rPr>
              <a:t>open </a:t>
            </a:r>
            <a:r>
              <a:rPr lang="en-US" sz="3600" b="0" i="0" u="none" strike="noStrike" kern="1200">
                <a:solidFill>
                  <a:schemeClr val="bg1"/>
                </a:solidFill>
                <a:effectLst/>
                <a:latin typeface="+mj-lt"/>
                <a:ea typeface="+mn-ea"/>
                <a:cs typeface="+mn-cs"/>
              </a:rPr>
              <a:t>and</a:t>
            </a:r>
            <a:r>
              <a:rPr lang="en-US" sz="3600" b="1" i="0" u="none" strike="noStrike" kern="1200">
                <a:solidFill>
                  <a:schemeClr val="bg1"/>
                </a:solidFill>
                <a:effectLst/>
                <a:latin typeface="+mj-lt"/>
                <a:ea typeface="+mn-ea"/>
                <a:cs typeface="+mn-cs"/>
              </a:rPr>
              <a:t> fair</a:t>
            </a:r>
            <a:r>
              <a:rPr lang="en-US" sz="3600" b="0" i="0" u="none" strike="noStrike" kern="1200">
                <a:solidFill>
                  <a:schemeClr val="bg1"/>
                </a:solidFill>
                <a:effectLst/>
                <a:latin typeface="+mj-lt"/>
                <a:ea typeface="+mn-ea"/>
                <a:cs typeface="+mn-cs"/>
              </a:rPr>
              <a:t>!</a:t>
            </a:r>
            <a:r>
              <a:rPr lang="en-US" sz="3600" b="0" i="0" kern="1200">
                <a:solidFill>
                  <a:schemeClr val="bg1"/>
                </a:solidFill>
                <a:effectLst/>
                <a:latin typeface="+mj-lt"/>
                <a:ea typeface="+mn-ea"/>
                <a:cs typeface="+mn-cs"/>
              </a:rPr>
              <a:t>​</a:t>
            </a:r>
          </a:p>
          <a:p>
            <a:pPr>
              <a:spcBef>
                <a:spcPts val="2000"/>
              </a:spcBef>
            </a:pPr>
            <a:r>
              <a:rPr lang="en-US" sz="3600" b="0" i="0" u="none" strike="noStrike" kern="1200">
                <a:solidFill>
                  <a:schemeClr val="bg1"/>
                </a:solidFill>
                <a:effectLst/>
                <a:latin typeface="+mj-lt"/>
                <a:ea typeface="+mn-ea"/>
                <a:cs typeface="+mn-cs"/>
              </a:rPr>
              <a:t>We are </a:t>
            </a:r>
            <a:r>
              <a:rPr lang="en-US" sz="3600" b="1" i="0" u="none" strike="noStrike" kern="1200">
                <a:solidFill>
                  <a:schemeClr val="bg1"/>
                </a:solidFill>
                <a:effectLst/>
                <a:latin typeface="+mj-lt"/>
                <a:ea typeface="+mn-ea"/>
                <a:cs typeface="+mn-cs"/>
              </a:rPr>
              <a:t>happy</a:t>
            </a:r>
            <a:r>
              <a:rPr lang="en-US" sz="3600" b="0" i="0" u="none" strike="noStrike" kern="1200">
                <a:solidFill>
                  <a:schemeClr val="bg1"/>
                </a:solidFill>
                <a:effectLst/>
                <a:latin typeface="+mj-lt"/>
                <a:ea typeface="+mn-ea"/>
                <a:cs typeface="+mn-cs"/>
              </a:rPr>
              <a:t> to </a:t>
            </a:r>
            <a:r>
              <a:rPr lang="en-US" sz="3600" b="1" i="0" u="none" strike="noStrike" kern="1200">
                <a:solidFill>
                  <a:schemeClr val="bg1"/>
                </a:solidFill>
                <a:effectLst/>
                <a:latin typeface="+mj-lt"/>
                <a:ea typeface="+mn-ea"/>
                <a:cs typeface="+mn-cs"/>
              </a:rPr>
              <a:t>have you with us</a:t>
            </a:r>
            <a:r>
              <a:rPr lang="en-US" sz="3600" b="0" i="0" u="none" strike="noStrike" kern="1200">
                <a:solidFill>
                  <a:schemeClr val="bg1"/>
                </a:solidFill>
                <a:effectLst/>
                <a:latin typeface="+mj-lt"/>
                <a:ea typeface="+mn-ea"/>
                <a:cs typeface="+mn-cs"/>
              </a:rPr>
              <a:t> and </a:t>
            </a:r>
            <a:r>
              <a:rPr lang="en-US" sz="3600" b="1" i="0" u="none" strike="noStrike" kern="1200">
                <a:solidFill>
                  <a:schemeClr val="bg1"/>
                </a:solidFill>
                <a:effectLst/>
                <a:latin typeface="+mj-lt"/>
                <a:ea typeface="+mn-ea"/>
                <a:cs typeface="+mn-cs"/>
              </a:rPr>
              <a:t>welcome you</a:t>
            </a:r>
            <a:r>
              <a:rPr lang="en-US" sz="3600" b="0" i="0" u="none" strike="noStrike" kern="1200">
                <a:solidFill>
                  <a:schemeClr val="bg1"/>
                </a:solidFill>
                <a:effectLst/>
                <a:latin typeface="+mj-lt"/>
                <a:ea typeface="+mn-ea"/>
                <a:cs typeface="+mn-cs"/>
              </a:rPr>
              <a:t>.</a:t>
            </a:r>
            <a:r>
              <a:rPr lang="en-US" sz="3600" b="0" i="0" kern="1200">
                <a:solidFill>
                  <a:schemeClr val="bg1"/>
                </a:solidFill>
                <a:effectLst/>
                <a:latin typeface="+mj-lt"/>
                <a:ea typeface="+mn-ea"/>
                <a:cs typeface="+mn-cs"/>
              </a:rPr>
              <a:t>​</a:t>
            </a:r>
            <a:endParaRPr lang="de-DE" sz="3600">
              <a:solidFill>
                <a:schemeClr val="bg1"/>
              </a:solidFill>
              <a:latin typeface="+mj-lt"/>
            </a:endParaRPr>
          </a:p>
        </p:txBody>
      </p:sp>
    </p:spTree>
    <p:extLst>
      <p:ext uri="{BB962C8B-B14F-4D97-AF65-F5344CB8AC3E}">
        <p14:creationId xmlns:p14="http://schemas.microsoft.com/office/powerpoint/2010/main" val="7213409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3_title">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805F8CBC-B357-4045-914B-ED7B985BAF52}"/>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57E083C5-85A4-43AD-9A57-98C467EA6926}"/>
              </a:ext>
            </a:extLst>
          </p:cNvPr>
          <p:cNvSpPr/>
          <p:nvPr userDrawn="1"/>
        </p:nvSpPr>
        <p:spPr>
          <a:xfrm>
            <a:off x="0" y="1903956"/>
            <a:ext cx="12192000" cy="4954044"/>
          </a:xfrm>
          <a:prstGeom prst="rect">
            <a:avLst/>
          </a:prstGeom>
          <a:gradFill>
            <a:gsLst>
              <a:gs pos="56632">
                <a:schemeClr val="accent1">
                  <a:lumMod val="60000"/>
                  <a:lumOff val="40000"/>
                </a:schemeClr>
              </a:gs>
              <a:gs pos="0">
                <a:schemeClr val="accent2">
                  <a:lumMod val="84000"/>
                </a:schemeClr>
              </a:gs>
              <a:gs pos="100000">
                <a:schemeClr val="accent3"/>
              </a:gs>
              <a:gs pos="22000">
                <a:srgbClr val="000094"/>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3" name="Grafik 12">
            <a:extLst>
              <a:ext uri="{FF2B5EF4-FFF2-40B4-BE49-F238E27FC236}">
                <a16:creationId xmlns:a16="http://schemas.microsoft.com/office/drawing/2014/main" id="{C4358B15-5C81-4F6E-81C6-9A77344B0D74}"/>
              </a:ext>
            </a:extLst>
          </p:cNvPr>
          <p:cNvPicPr>
            <a:picLocks noChangeAspect="1"/>
          </p:cNvPicPr>
          <p:nvPr userDrawn="1"/>
        </p:nvPicPr>
        <p:blipFill>
          <a:blip r:embed="rId2">
            <a:alphaModFix amt="44000"/>
            <a:extLst>
              <a:ext uri="{28A0092B-C50C-407E-A947-70E740481C1C}">
                <a14:useLocalDpi xmlns:a14="http://schemas.microsoft.com/office/drawing/2010/main" val="0"/>
              </a:ext>
            </a:extLst>
          </a:blip>
          <a:stretch>
            <a:fillRect/>
          </a:stretch>
        </p:blipFill>
        <p:spPr>
          <a:xfrm>
            <a:off x="4531939" y="4411383"/>
            <a:ext cx="12675547" cy="5202003"/>
          </a:xfrm>
          <a:prstGeom prst="rect">
            <a:avLst/>
          </a:prstGeom>
        </p:spPr>
      </p:pic>
      <p:sp>
        <p:nvSpPr>
          <p:cNvPr id="12" name="Titel 1">
            <a:extLst>
              <a:ext uri="{FF2B5EF4-FFF2-40B4-BE49-F238E27FC236}">
                <a16:creationId xmlns:a16="http://schemas.microsoft.com/office/drawing/2014/main" id="{2D2499DA-7C20-4CF1-BFC9-F6B33261BFA9}"/>
              </a:ext>
            </a:extLst>
          </p:cNvPr>
          <p:cNvSpPr>
            <a:spLocks noGrp="1"/>
          </p:cNvSpPr>
          <p:nvPr>
            <p:ph type="ctrTitle" hasCustomPrompt="1"/>
          </p:nvPr>
        </p:nvSpPr>
        <p:spPr>
          <a:xfrm>
            <a:off x="1006019" y="2610793"/>
            <a:ext cx="6489526" cy="2022475"/>
          </a:xfrm>
          <a:prstGeom prst="rect">
            <a:avLst/>
          </a:prstGeom>
        </p:spPr>
        <p:txBody>
          <a:bodyPr lIns="0" tIns="0" bIns="0" anchor="b">
            <a:normAutofit/>
          </a:bodyPr>
          <a:lstStyle>
            <a:lvl1pPr algn="l">
              <a:defRPr sz="5500" b="0">
                <a:solidFill>
                  <a:schemeClr val="bg1"/>
                </a:solidFill>
              </a:defRPr>
            </a:lvl1pPr>
          </a:lstStyle>
          <a:p>
            <a:r>
              <a:rPr lang="de-DE"/>
              <a:t>This is the title of the presentation</a:t>
            </a:r>
          </a:p>
        </p:txBody>
      </p:sp>
      <p:sp>
        <p:nvSpPr>
          <p:cNvPr id="14" name="Untertitel 2">
            <a:extLst>
              <a:ext uri="{FF2B5EF4-FFF2-40B4-BE49-F238E27FC236}">
                <a16:creationId xmlns:a16="http://schemas.microsoft.com/office/drawing/2014/main" id="{868B64C9-B0FA-4BC3-8181-82EEFA5E7306}"/>
              </a:ext>
            </a:extLst>
          </p:cNvPr>
          <p:cNvSpPr>
            <a:spLocks noGrp="1"/>
          </p:cNvSpPr>
          <p:nvPr>
            <p:ph type="subTitle" idx="1" hasCustomPrompt="1"/>
          </p:nvPr>
        </p:nvSpPr>
        <p:spPr>
          <a:xfrm>
            <a:off x="1006019" y="5171566"/>
            <a:ext cx="6188901" cy="887228"/>
          </a:xfrm>
          <a:prstGeom prst="rect">
            <a:avLst/>
          </a:prstGeom>
        </p:spPr>
        <p:txBody>
          <a:bodyPr lIns="0" tIns="0"/>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24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Edit subtitle</a:t>
            </a:r>
          </a:p>
        </p:txBody>
      </p:sp>
      <p:sp>
        <p:nvSpPr>
          <p:cNvPr id="16" name="Datumsplatzhalter 3">
            <a:extLst>
              <a:ext uri="{FF2B5EF4-FFF2-40B4-BE49-F238E27FC236}">
                <a16:creationId xmlns:a16="http://schemas.microsoft.com/office/drawing/2014/main" id="{A9FF7190-E7E0-4F4C-934D-5B39C55C5474}"/>
              </a:ext>
            </a:extLst>
          </p:cNvPr>
          <p:cNvSpPr>
            <a:spLocks noGrp="1"/>
          </p:cNvSpPr>
          <p:nvPr>
            <p:ph type="dt" sz="half" idx="10"/>
          </p:nvPr>
        </p:nvSpPr>
        <p:spPr>
          <a:xfrm>
            <a:off x="1006019" y="6002847"/>
            <a:ext cx="1309981" cy="365125"/>
          </a:xfrm>
        </p:spPr>
        <p:txBody>
          <a:bodyPr/>
          <a:lstStyle>
            <a:lvl1pPr algn="l">
              <a:defRPr sz="1600">
                <a:solidFill>
                  <a:schemeClr val="bg1"/>
                </a:solidFill>
                <a:latin typeface="+mj-lt"/>
              </a:defRPr>
            </a:lvl1pPr>
          </a:lstStyle>
          <a:p>
            <a:fld id="{DD822949-0710-4427-A97E-E15D30AE60B5}" type="datetime1">
              <a:rPr lang="en-US" smtClean="0"/>
              <a:t>11/29/2021</a:t>
            </a:fld>
            <a:endParaRPr lang="de-DE"/>
          </a:p>
        </p:txBody>
      </p:sp>
      <p:cxnSp>
        <p:nvCxnSpPr>
          <p:cNvPr id="18" name="Gerader Verbinder 17">
            <a:extLst>
              <a:ext uri="{FF2B5EF4-FFF2-40B4-BE49-F238E27FC236}">
                <a16:creationId xmlns:a16="http://schemas.microsoft.com/office/drawing/2014/main" id="{5602975A-2666-4F68-8AB3-41A4C0D07743}"/>
              </a:ext>
            </a:extLst>
          </p:cNvPr>
          <p:cNvCxnSpPr>
            <a:cxnSpLocks/>
          </p:cNvCxnSpPr>
          <p:nvPr userDrawn="1"/>
        </p:nvCxnSpPr>
        <p:spPr>
          <a:xfrm>
            <a:off x="1018545" y="4974101"/>
            <a:ext cx="180000"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pic>
        <p:nvPicPr>
          <p:cNvPr id="15" name="Grafik 14">
            <a:extLst>
              <a:ext uri="{FF2B5EF4-FFF2-40B4-BE49-F238E27FC236}">
                <a16:creationId xmlns:a16="http://schemas.microsoft.com/office/drawing/2014/main" id="{E5114228-DBE9-4224-A2EE-0435CBDFE4E5}"/>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25026" y="452664"/>
            <a:ext cx="1728000" cy="963692"/>
          </a:xfrm>
          <a:prstGeom prst="rect">
            <a:avLst/>
          </a:prstGeom>
        </p:spPr>
      </p:pic>
    </p:spTree>
    <p:extLst>
      <p:ext uri="{BB962C8B-B14F-4D97-AF65-F5344CB8AC3E}">
        <p14:creationId xmlns:p14="http://schemas.microsoft.com/office/powerpoint/2010/main" val="3846276497"/>
      </p:ext>
    </p:extLst>
  </p:cSld>
  <p:clrMapOvr>
    <a:masterClrMapping/>
  </p:clrMapOvr>
  <p:extLst>
    <p:ext uri="{DCECCB84-F9BA-43D5-87BE-67443E8EF086}">
      <p15:sldGuideLst xmlns:p15="http://schemas.microsoft.com/office/powerpoint/2012/main">
        <p15:guide id="1" pos="529">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5_title">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805F8CBC-B357-4045-914B-ED7B985BAF52}"/>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57E083C5-85A4-43AD-9A57-98C467EA6926}"/>
              </a:ext>
            </a:extLst>
          </p:cNvPr>
          <p:cNvSpPr/>
          <p:nvPr userDrawn="1"/>
        </p:nvSpPr>
        <p:spPr>
          <a:xfrm>
            <a:off x="0" y="1903956"/>
            <a:ext cx="12192000" cy="4954044"/>
          </a:xfrm>
          <a:prstGeom prst="rect">
            <a:avLst/>
          </a:prstGeom>
          <a:gradFill>
            <a:gsLst>
              <a:gs pos="56632">
                <a:schemeClr val="accent1">
                  <a:lumMod val="60000"/>
                  <a:lumOff val="40000"/>
                </a:schemeClr>
              </a:gs>
              <a:gs pos="0">
                <a:schemeClr val="accent2">
                  <a:lumMod val="84000"/>
                </a:schemeClr>
              </a:gs>
              <a:gs pos="100000">
                <a:schemeClr val="accent3"/>
              </a:gs>
              <a:gs pos="22000">
                <a:srgbClr val="000094"/>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itel 1">
            <a:extLst>
              <a:ext uri="{FF2B5EF4-FFF2-40B4-BE49-F238E27FC236}">
                <a16:creationId xmlns:a16="http://schemas.microsoft.com/office/drawing/2014/main" id="{2D2499DA-7C20-4CF1-BFC9-F6B33261BFA9}"/>
              </a:ext>
            </a:extLst>
          </p:cNvPr>
          <p:cNvSpPr>
            <a:spLocks noGrp="1"/>
          </p:cNvSpPr>
          <p:nvPr>
            <p:ph type="ctrTitle" hasCustomPrompt="1"/>
          </p:nvPr>
        </p:nvSpPr>
        <p:spPr>
          <a:xfrm>
            <a:off x="1006019" y="2610793"/>
            <a:ext cx="6489526" cy="2022475"/>
          </a:xfrm>
          <a:prstGeom prst="rect">
            <a:avLst/>
          </a:prstGeom>
        </p:spPr>
        <p:txBody>
          <a:bodyPr lIns="0" tIns="0" bIns="0" anchor="b">
            <a:normAutofit/>
          </a:bodyPr>
          <a:lstStyle>
            <a:lvl1pPr algn="l">
              <a:defRPr sz="5500" b="0">
                <a:solidFill>
                  <a:schemeClr val="bg1"/>
                </a:solidFill>
              </a:defRPr>
            </a:lvl1pPr>
          </a:lstStyle>
          <a:p>
            <a:r>
              <a:rPr lang="de-DE"/>
              <a:t>This is the title of the presentation</a:t>
            </a:r>
          </a:p>
        </p:txBody>
      </p:sp>
      <p:sp>
        <p:nvSpPr>
          <p:cNvPr id="14" name="Untertitel 2">
            <a:extLst>
              <a:ext uri="{FF2B5EF4-FFF2-40B4-BE49-F238E27FC236}">
                <a16:creationId xmlns:a16="http://schemas.microsoft.com/office/drawing/2014/main" id="{868B64C9-B0FA-4BC3-8181-82EEFA5E7306}"/>
              </a:ext>
            </a:extLst>
          </p:cNvPr>
          <p:cNvSpPr>
            <a:spLocks noGrp="1"/>
          </p:cNvSpPr>
          <p:nvPr>
            <p:ph type="subTitle" idx="1" hasCustomPrompt="1"/>
          </p:nvPr>
        </p:nvSpPr>
        <p:spPr>
          <a:xfrm>
            <a:off x="1006019" y="5171566"/>
            <a:ext cx="6188901" cy="887228"/>
          </a:xfrm>
          <a:prstGeom prst="rect">
            <a:avLst/>
          </a:prstGeom>
        </p:spPr>
        <p:txBody>
          <a:bodyPr lIns="0" tIns="0"/>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24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Edit subtitle</a:t>
            </a:r>
          </a:p>
        </p:txBody>
      </p:sp>
      <p:sp>
        <p:nvSpPr>
          <p:cNvPr id="16" name="Datumsplatzhalter 3">
            <a:extLst>
              <a:ext uri="{FF2B5EF4-FFF2-40B4-BE49-F238E27FC236}">
                <a16:creationId xmlns:a16="http://schemas.microsoft.com/office/drawing/2014/main" id="{A9FF7190-E7E0-4F4C-934D-5B39C55C5474}"/>
              </a:ext>
            </a:extLst>
          </p:cNvPr>
          <p:cNvSpPr>
            <a:spLocks noGrp="1"/>
          </p:cNvSpPr>
          <p:nvPr>
            <p:ph type="dt" sz="half" idx="10"/>
          </p:nvPr>
        </p:nvSpPr>
        <p:spPr>
          <a:xfrm>
            <a:off x="1006019" y="6002847"/>
            <a:ext cx="849775" cy="365125"/>
          </a:xfrm>
        </p:spPr>
        <p:txBody>
          <a:bodyPr/>
          <a:lstStyle>
            <a:lvl1pPr algn="l">
              <a:defRPr sz="1600">
                <a:solidFill>
                  <a:schemeClr val="bg1"/>
                </a:solidFill>
                <a:latin typeface="+mj-lt"/>
              </a:defRPr>
            </a:lvl1pPr>
          </a:lstStyle>
          <a:p>
            <a:fld id="{4177A4EF-276D-4DAC-AA59-BDC8E1EA8346}" type="datetime1">
              <a:rPr lang="en-US" smtClean="0"/>
              <a:t>11/29/2021</a:t>
            </a:fld>
            <a:endParaRPr lang="de-DE"/>
          </a:p>
        </p:txBody>
      </p:sp>
      <p:cxnSp>
        <p:nvCxnSpPr>
          <p:cNvPr id="18" name="Gerader Verbinder 17">
            <a:extLst>
              <a:ext uri="{FF2B5EF4-FFF2-40B4-BE49-F238E27FC236}">
                <a16:creationId xmlns:a16="http://schemas.microsoft.com/office/drawing/2014/main" id="{5602975A-2666-4F68-8AB3-41A4C0D07743}"/>
              </a:ext>
            </a:extLst>
          </p:cNvPr>
          <p:cNvCxnSpPr>
            <a:cxnSpLocks/>
          </p:cNvCxnSpPr>
          <p:nvPr userDrawn="1"/>
        </p:nvCxnSpPr>
        <p:spPr>
          <a:xfrm>
            <a:off x="1018545" y="4974101"/>
            <a:ext cx="180000"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Grafik 10">
            <a:extLst>
              <a:ext uri="{FF2B5EF4-FFF2-40B4-BE49-F238E27FC236}">
                <a16:creationId xmlns:a16="http://schemas.microsoft.com/office/drawing/2014/main" id="{71E4911A-6973-4581-A09A-076FE185618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25026" y="452664"/>
            <a:ext cx="1728000" cy="963692"/>
          </a:xfrm>
          <a:prstGeom prst="rect">
            <a:avLst/>
          </a:prstGeom>
        </p:spPr>
      </p:pic>
    </p:spTree>
    <p:extLst>
      <p:ext uri="{BB962C8B-B14F-4D97-AF65-F5344CB8AC3E}">
        <p14:creationId xmlns:p14="http://schemas.microsoft.com/office/powerpoint/2010/main" val="4291965165"/>
      </p:ext>
    </p:extLst>
  </p:cSld>
  <p:clrMapOvr>
    <a:masterClrMapping/>
  </p:clrMapOvr>
  <p:extLst>
    <p:ext uri="{DCECCB84-F9BA-43D5-87BE-67443E8EF086}">
      <p15:sldGuideLst xmlns:p15="http://schemas.microsoft.com/office/powerpoint/2012/main">
        <p15:guide id="1" pos="52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6_title">
    <p:spTree>
      <p:nvGrpSpPr>
        <p:cNvPr id="1" name=""/>
        <p:cNvGrpSpPr/>
        <p:nvPr/>
      </p:nvGrpSpPr>
      <p:grpSpPr>
        <a:xfrm>
          <a:off x="0" y="0"/>
          <a:ext cx="0" cy="0"/>
          <a:chOff x="0" y="0"/>
          <a:chExt cx="0" cy="0"/>
        </a:xfrm>
      </p:grpSpPr>
      <p:pic>
        <p:nvPicPr>
          <p:cNvPr id="11" name="Grafik 10">
            <a:extLst>
              <a:ext uri="{FF2B5EF4-FFF2-40B4-BE49-F238E27FC236}">
                <a16:creationId xmlns:a16="http://schemas.microsoft.com/office/drawing/2014/main" id="{84F14DA5-FB2B-4EE5-81B8-4DECF49AFA92}"/>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b="-775"/>
          <a:stretch/>
        </p:blipFill>
        <p:spPr>
          <a:xfrm>
            <a:off x="0" y="1431083"/>
            <a:ext cx="12191999" cy="5506912"/>
          </a:xfrm>
          <a:prstGeom prst="rect">
            <a:avLst/>
          </a:prstGeom>
        </p:spPr>
      </p:pic>
      <p:sp>
        <p:nvSpPr>
          <p:cNvPr id="22" name="Rechteck 21">
            <a:extLst>
              <a:ext uri="{FF2B5EF4-FFF2-40B4-BE49-F238E27FC236}">
                <a16:creationId xmlns:a16="http://schemas.microsoft.com/office/drawing/2014/main" id="{1D73AF97-E657-410B-8979-223179977D4F}"/>
              </a:ext>
            </a:extLst>
          </p:cNvPr>
          <p:cNvSpPr/>
          <p:nvPr userDrawn="1"/>
        </p:nvSpPr>
        <p:spPr>
          <a:xfrm>
            <a:off x="721895" y="2460171"/>
            <a:ext cx="5903494" cy="3907801"/>
          </a:xfrm>
          <a:prstGeom prst="rect">
            <a:avLst/>
          </a:prstGeom>
          <a:solidFill>
            <a:srgbClr val="000071">
              <a:alpha val="77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latin typeface="+mj-lt"/>
            </a:endParaRPr>
          </a:p>
        </p:txBody>
      </p:sp>
      <p:sp>
        <p:nvSpPr>
          <p:cNvPr id="23" name="Titel 1">
            <a:extLst>
              <a:ext uri="{FF2B5EF4-FFF2-40B4-BE49-F238E27FC236}">
                <a16:creationId xmlns:a16="http://schemas.microsoft.com/office/drawing/2014/main" id="{63AF153A-F5B1-4FAF-97D5-90207EB42A0E}"/>
              </a:ext>
            </a:extLst>
          </p:cNvPr>
          <p:cNvSpPr>
            <a:spLocks noGrp="1"/>
          </p:cNvSpPr>
          <p:nvPr>
            <p:ph type="ctrTitle" hasCustomPrompt="1"/>
          </p:nvPr>
        </p:nvSpPr>
        <p:spPr>
          <a:xfrm>
            <a:off x="1006019" y="3302380"/>
            <a:ext cx="5378738" cy="1505057"/>
          </a:xfrm>
          <a:prstGeom prst="rect">
            <a:avLst/>
          </a:prstGeom>
        </p:spPr>
        <p:txBody>
          <a:bodyPr lIns="0" tIns="0" bIns="0" anchor="b">
            <a:normAutofit/>
          </a:bodyPr>
          <a:lstStyle>
            <a:lvl1pPr algn="l">
              <a:defRPr sz="4400" b="1">
                <a:solidFill>
                  <a:schemeClr val="bg1"/>
                </a:solidFill>
              </a:defRPr>
            </a:lvl1pPr>
          </a:lstStyle>
          <a:p>
            <a:r>
              <a:rPr lang="de-DE"/>
              <a:t>This is the title of </a:t>
            </a:r>
            <a:br>
              <a:rPr lang="de-DE"/>
            </a:br>
            <a:r>
              <a:rPr lang="de-DE"/>
              <a:t>the presentation</a:t>
            </a:r>
          </a:p>
        </p:txBody>
      </p:sp>
      <p:sp>
        <p:nvSpPr>
          <p:cNvPr id="24" name="Untertitel 2">
            <a:extLst>
              <a:ext uri="{FF2B5EF4-FFF2-40B4-BE49-F238E27FC236}">
                <a16:creationId xmlns:a16="http://schemas.microsoft.com/office/drawing/2014/main" id="{E0108142-5FE7-45E6-B502-6DD843863996}"/>
              </a:ext>
            </a:extLst>
          </p:cNvPr>
          <p:cNvSpPr>
            <a:spLocks noGrp="1"/>
          </p:cNvSpPr>
          <p:nvPr>
            <p:ph type="subTitle" idx="1" hasCustomPrompt="1"/>
          </p:nvPr>
        </p:nvSpPr>
        <p:spPr>
          <a:xfrm>
            <a:off x="1006020" y="5107272"/>
            <a:ext cx="5378738" cy="603588"/>
          </a:xfrm>
          <a:prstGeom prst="rect">
            <a:avLst/>
          </a:prstGeom>
        </p:spPr>
        <p:txBody>
          <a:bodyPr lIns="0" tIns="0"/>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Edit subtitle</a:t>
            </a:r>
          </a:p>
        </p:txBody>
      </p:sp>
      <p:sp>
        <p:nvSpPr>
          <p:cNvPr id="25" name="Datumsplatzhalter 3">
            <a:extLst>
              <a:ext uri="{FF2B5EF4-FFF2-40B4-BE49-F238E27FC236}">
                <a16:creationId xmlns:a16="http://schemas.microsoft.com/office/drawing/2014/main" id="{8BE16643-B864-4CC3-ADD7-8A1F58E920AD}"/>
              </a:ext>
            </a:extLst>
          </p:cNvPr>
          <p:cNvSpPr>
            <a:spLocks noGrp="1"/>
          </p:cNvSpPr>
          <p:nvPr>
            <p:ph type="dt" sz="half" idx="10"/>
          </p:nvPr>
        </p:nvSpPr>
        <p:spPr>
          <a:xfrm>
            <a:off x="1006019" y="5836526"/>
            <a:ext cx="849775" cy="365125"/>
          </a:xfrm>
        </p:spPr>
        <p:txBody>
          <a:bodyPr/>
          <a:lstStyle>
            <a:lvl1pPr algn="l">
              <a:defRPr sz="1600">
                <a:solidFill>
                  <a:schemeClr val="bg1"/>
                </a:solidFill>
                <a:latin typeface="+mj-lt"/>
              </a:defRPr>
            </a:lvl1pPr>
          </a:lstStyle>
          <a:p>
            <a:fld id="{46910CD9-CE28-49AC-90EF-563F8571F4CB}" type="datetime1">
              <a:rPr lang="en-US" smtClean="0"/>
              <a:t>11/29/2021</a:t>
            </a:fld>
            <a:endParaRPr lang="de-DE"/>
          </a:p>
        </p:txBody>
      </p:sp>
      <p:sp>
        <p:nvSpPr>
          <p:cNvPr id="26" name="Rechteck 25">
            <a:extLst>
              <a:ext uri="{FF2B5EF4-FFF2-40B4-BE49-F238E27FC236}">
                <a16:creationId xmlns:a16="http://schemas.microsoft.com/office/drawing/2014/main" id="{CFBAA4CC-366F-4C70-8B62-142F7520BEC3}"/>
              </a:ext>
            </a:extLst>
          </p:cNvPr>
          <p:cNvSpPr/>
          <p:nvPr userDrawn="1"/>
        </p:nvSpPr>
        <p:spPr>
          <a:xfrm rot="10800000">
            <a:off x="-20835" y="-44918"/>
            <a:ext cx="12212834" cy="147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latin typeface="+mj-lt"/>
            </a:endParaRPr>
          </a:p>
        </p:txBody>
      </p:sp>
      <p:pic>
        <p:nvPicPr>
          <p:cNvPr id="12" name="Grafik 11">
            <a:extLst>
              <a:ext uri="{FF2B5EF4-FFF2-40B4-BE49-F238E27FC236}">
                <a16:creationId xmlns:a16="http://schemas.microsoft.com/office/drawing/2014/main" id="{97D61926-EEAE-4451-9E07-B2AB6E466D6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01153" y="338610"/>
            <a:ext cx="1476000" cy="823154"/>
          </a:xfrm>
          <a:prstGeom prst="rect">
            <a:avLst/>
          </a:prstGeom>
        </p:spPr>
      </p:pic>
    </p:spTree>
    <p:extLst>
      <p:ext uri="{BB962C8B-B14F-4D97-AF65-F5344CB8AC3E}">
        <p14:creationId xmlns:p14="http://schemas.microsoft.com/office/powerpoint/2010/main" val="3446811244"/>
      </p:ext>
    </p:extLst>
  </p:cSld>
  <p:clrMapOvr>
    <a:masterClrMapping/>
  </p:clrMapOvr>
  <p:extLst>
    <p:ext uri="{DCECCB84-F9BA-43D5-87BE-67443E8EF086}">
      <p15:sldGuideLst xmlns:p15="http://schemas.microsoft.com/office/powerpoint/2012/main">
        <p15:guide id="1" pos="529">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8_chapter">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751ACB90-73CF-4E64-8999-95CE87B3E14A}"/>
              </a:ext>
            </a:extLst>
          </p:cNvPr>
          <p:cNvSpPr/>
          <p:nvPr userDrawn="1"/>
        </p:nvSpPr>
        <p:spPr>
          <a:xfrm>
            <a:off x="0" y="0"/>
            <a:ext cx="12192000" cy="6858000"/>
          </a:xfrm>
          <a:prstGeom prst="rect">
            <a:avLst/>
          </a:prstGeom>
          <a:gradFill>
            <a:gsLst>
              <a:gs pos="0">
                <a:srgbClr val="000094"/>
              </a:gs>
              <a:gs pos="100000">
                <a:srgbClr val="000071"/>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a:extLst>
              <a:ext uri="{FF2B5EF4-FFF2-40B4-BE49-F238E27FC236}">
                <a16:creationId xmlns:a16="http://schemas.microsoft.com/office/drawing/2014/main" id="{71058CCE-5938-4591-9F4B-A29B24E93605}"/>
              </a:ext>
            </a:extLst>
          </p:cNvPr>
          <p:cNvSpPr/>
          <p:nvPr userDrawn="1"/>
        </p:nvSpPr>
        <p:spPr>
          <a:xfrm>
            <a:off x="0" y="1856100"/>
            <a:ext cx="12204000" cy="5004000"/>
          </a:xfrm>
          <a:prstGeom prst="rect">
            <a:avLst/>
          </a:prstGeom>
          <a:gradFill>
            <a:gsLst>
              <a:gs pos="0">
                <a:schemeClr val="accent2">
                  <a:lumMod val="84000"/>
                </a:schemeClr>
              </a:gs>
              <a:gs pos="100000">
                <a:schemeClr val="accent1">
                  <a:alpha val="0"/>
                </a:scheme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0" name="Gerader Verbinder 9">
            <a:extLst>
              <a:ext uri="{FF2B5EF4-FFF2-40B4-BE49-F238E27FC236}">
                <a16:creationId xmlns:a16="http://schemas.microsoft.com/office/drawing/2014/main" id="{E3C164B8-1808-41CD-99EA-6F175049FA95}"/>
              </a:ext>
            </a:extLst>
          </p:cNvPr>
          <p:cNvCxnSpPr>
            <a:cxnSpLocks/>
          </p:cNvCxnSpPr>
          <p:nvPr userDrawn="1"/>
        </p:nvCxnSpPr>
        <p:spPr>
          <a:xfrm>
            <a:off x="4813876" y="3576691"/>
            <a:ext cx="234000" cy="0"/>
          </a:xfrm>
          <a:prstGeom prst="line">
            <a:avLst/>
          </a:prstGeom>
          <a:ln w="5715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itel 1">
            <a:extLst>
              <a:ext uri="{FF2B5EF4-FFF2-40B4-BE49-F238E27FC236}">
                <a16:creationId xmlns:a16="http://schemas.microsoft.com/office/drawing/2014/main" id="{6A8248FC-08B1-48A4-886E-7BA25F912ABD}"/>
              </a:ext>
            </a:extLst>
          </p:cNvPr>
          <p:cNvSpPr>
            <a:spLocks noGrp="1"/>
          </p:cNvSpPr>
          <p:nvPr>
            <p:ph type="title" hasCustomPrompt="1"/>
          </p:nvPr>
        </p:nvSpPr>
        <p:spPr>
          <a:xfrm>
            <a:off x="1113307" y="3576691"/>
            <a:ext cx="3795820" cy="2931773"/>
          </a:xfrm>
          <a:prstGeom prst="rect">
            <a:avLst/>
          </a:prstGeom>
        </p:spPr>
        <p:txBody>
          <a:bodyPr lIns="0" tIns="0" rIns="0" bIns="0" anchor="b"/>
          <a:lstStyle>
            <a:lvl1pPr>
              <a:defRPr sz="25000" b="0">
                <a:solidFill>
                  <a:schemeClr val="bg1"/>
                </a:solidFill>
              </a:defRPr>
            </a:lvl1pPr>
          </a:lstStyle>
          <a:p>
            <a:r>
              <a:rPr lang="de-DE"/>
              <a:t>02</a:t>
            </a:r>
          </a:p>
        </p:txBody>
      </p:sp>
      <p:sp>
        <p:nvSpPr>
          <p:cNvPr id="19" name="Textplatzhalter 2">
            <a:extLst>
              <a:ext uri="{FF2B5EF4-FFF2-40B4-BE49-F238E27FC236}">
                <a16:creationId xmlns:a16="http://schemas.microsoft.com/office/drawing/2014/main" id="{BA9B036D-1374-41FC-AE47-FA2BC92E74EB}"/>
              </a:ext>
            </a:extLst>
          </p:cNvPr>
          <p:cNvSpPr>
            <a:spLocks noGrp="1"/>
          </p:cNvSpPr>
          <p:nvPr>
            <p:ph type="body" idx="1" hasCustomPrompt="1"/>
          </p:nvPr>
        </p:nvSpPr>
        <p:spPr>
          <a:xfrm>
            <a:off x="4813876" y="3871367"/>
            <a:ext cx="4052666" cy="1221551"/>
          </a:xfrm>
          <a:prstGeom prst="rect">
            <a:avLst/>
          </a:prstGeom>
        </p:spPr>
        <p:txBody>
          <a:bodyPr lIns="0" tIns="0" rIns="0" bIns="0"/>
          <a:lstStyle>
            <a:lvl1pPr marL="0" indent="0">
              <a:lnSpc>
                <a:spcPct val="100000"/>
              </a:lnSpc>
              <a:spcBef>
                <a:spcPts val="0"/>
              </a:spcBef>
              <a:buNone/>
              <a:defRPr sz="2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This is a chapter </a:t>
            </a:r>
          </a:p>
          <a:p>
            <a:pPr lvl="0"/>
            <a:r>
              <a:rPr lang="de-DE"/>
              <a:t>title</a:t>
            </a:r>
          </a:p>
        </p:txBody>
      </p:sp>
      <p:pic>
        <p:nvPicPr>
          <p:cNvPr id="11" name="Grafik 10">
            <a:extLst>
              <a:ext uri="{FF2B5EF4-FFF2-40B4-BE49-F238E27FC236}">
                <a16:creationId xmlns:a16="http://schemas.microsoft.com/office/drawing/2014/main" id="{6DA13B34-3C8D-4C7F-B0BD-50A8DBF4D6C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25026" y="452664"/>
            <a:ext cx="1728000" cy="963692"/>
          </a:xfrm>
          <a:prstGeom prst="rect">
            <a:avLst/>
          </a:prstGeom>
        </p:spPr>
      </p:pic>
    </p:spTree>
    <p:extLst>
      <p:ext uri="{BB962C8B-B14F-4D97-AF65-F5344CB8AC3E}">
        <p14:creationId xmlns:p14="http://schemas.microsoft.com/office/powerpoint/2010/main" val="18625797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agenda_1">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0B7B921C-DD71-4F98-A33D-A7936778058D}"/>
              </a:ext>
            </a:extLst>
          </p:cNvPr>
          <p:cNvSpPr>
            <a:spLocks noGrp="1"/>
          </p:cNvSpPr>
          <p:nvPr>
            <p:ph type="dt" sz="half" idx="10"/>
          </p:nvPr>
        </p:nvSpPr>
        <p:spPr/>
        <p:txBody>
          <a:bodyPr/>
          <a:lstStyle/>
          <a:p>
            <a:fld id="{5F9872BC-AA41-438D-B156-9E8335355E53}" type="datetime1">
              <a:rPr lang="en-US" smtClean="0"/>
              <a:t>11/29/2021</a:t>
            </a:fld>
            <a:endParaRPr lang="de-DE"/>
          </a:p>
        </p:txBody>
      </p:sp>
      <p:sp>
        <p:nvSpPr>
          <p:cNvPr id="5" name="Fußzeilenplatzhalter 4">
            <a:extLst>
              <a:ext uri="{FF2B5EF4-FFF2-40B4-BE49-F238E27FC236}">
                <a16:creationId xmlns:a16="http://schemas.microsoft.com/office/drawing/2014/main" id="{F8372CDE-0269-4A13-98B5-C2021453FF9D}"/>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C57CF5D1-2B71-44E7-BD5F-23474545DB7B}"/>
              </a:ext>
            </a:extLst>
          </p:cNvPr>
          <p:cNvSpPr>
            <a:spLocks noGrp="1"/>
          </p:cNvSpPr>
          <p:nvPr>
            <p:ph type="sldNum" sz="quarter" idx="12"/>
          </p:nvPr>
        </p:nvSpPr>
        <p:spPr/>
        <p:txBody>
          <a:bodyPr/>
          <a:lstStyle/>
          <a:p>
            <a:fld id="{46735E09-D06A-4765-B4D1-A70A5B2E5B6E}" type="slidenum">
              <a:rPr lang="de-DE" smtClean="0"/>
              <a:t>‹N°›</a:t>
            </a:fld>
            <a:endParaRPr lang="de-DE"/>
          </a:p>
        </p:txBody>
      </p:sp>
      <p:sp>
        <p:nvSpPr>
          <p:cNvPr id="8" name="Textplatzhalter 3">
            <a:extLst>
              <a:ext uri="{FF2B5EF4-FFF2-40B4-BE49-F238E27FC236}">
                <a16:creationId xmlns:a16="http://schemas.microsoft.com/office/drawing/2014/main" id="{31704F4A-B312-4280-A99B-AC4E41C0F8E7}"/>
              </a:ext>
            </a:extLst>
          </p:cNvPr>
          <p:cNvSpPr>
            <a:spLocks noGrp="1"/>
          </p:cNvSpPr>
          <p:nvPr>
            <p:ph type="body" sz="half" idx="2" hasCustomPrompt="1"/>
          </p:nvPr>
        </p:nvSpPr>
        <p:spPr>
          <a:xfrm>
            <a:off x="1271093" y="1606651"/>
            <a:ext cx="6120000" cy="280693"/>
          </a:xfrm>
          <a:prstGeom prst="rect">
            <a:avLst/>
          </a:prstGeom>
        </p:spPr>
        <p:txBody>
          <a:bodyPr lIns="0" tIns="0" bIns="0"/>
          <a:lstStyle>
            <a:lvl1pPr marL="0" marR="0" indent="0" algn="l" defTabSz="914400" rtl="0" eaLnBrk="1" fontAlgn="auto" latinLnBrk="0" hangingPunct="1">
              <a:lnSpc>
                <a:spcPts val="2300"/>
              </a:lnSpc>
              <a:spcBef>
                <a:spcPts val="1000"/>
              </a:spcBef>
              <a:spcAft>
                <a:spcPts val="0"/>
              </a:spcAft>
              <a:buClrTx/>
              <a:buSzTx/>
              <a:buFont typeface="Arial" panose="020B0604020202020204" pitchFamily="34" charset="0"/>
              <a:buNone/>
              <a:tabLst/>
              <a:defRPr sz="1900" b="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9" name="Inhaltsplatzhalter 3">
            <a:extLst>
              <a:ext uri="{FF2B5EF4-FFF2-40B4-BE49-F238E27FC236}">
                <a16:creationId xmlns:a16="http://schemas.microsoft.com/office/drawing/2014/main" id="{08F03557-5B71-40A8-80D8-7C031BFDD4D5}"/>
              </a:ext>
            </a:extLst>
          </p:cNvPr>
          <p:cNvSpPr>
            <a:spLocks noGrp="1"/>
          </p:cNvSpPr>
          <p:nvPr>
            <p:ph sz="half" idx="13" hasCustomPrompt="1"/>
          </p:nvPr>
        </p:nvSpPr>
        <p:spPr>
          <a:xfrm>
            <a:off x="552450" y="1606651"/>
            <a:ext cx="473075" cy="407693"/>
          </a:xfrm>
          <a:prstGeom prst="rect">
            <a:avLst/>
          </a:prstGeom>
        </p:spPr>
        <p:txBody>
          <a:bodyPr lIns="0" tIns="0" rIns="0"/>
          <a:lstStyle>
            <a:lvl1pPr marL="0" indent="0" algn="l">
              <a:lnSpc>
                <a:spcPts val="2300"/>
              </a:lnSpc>
              <a:spcBef>
                <a:spcPts val="2000"/>
              </a:spcBef>
              <a:buNone/>
              <a:defRPr sz="25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1</a:t>
            </a:r>
          </a:p>
        </p:txBody>
      </p:sp>
      <p:sp>
        <p:nvSpPr>
          <p:cNvPr id="10" name="Textplatzhalter 3">
            <a:extLst>
              <a:ext uri="{FF2B5EF4-FFF2-40B4-BE49-F238E27FC236}">
                <a16:creationId xmlns:a16="http://schemas.microsoft.com/office/drawing/2014/main" id="{34E227F7-4BD6-4C8D-A799-5AEA9C981783}"/>
              </a:ext>
            </a:extLst>
          </p:cNvPr>
          <p:cNvSpPr>
            <a:spLocks noGrp="1"/>
          </p:cNvSpPr>
          <p:nvPr>
            <p:ph type="body" sz="half" idx="15" hasCustomPrompt="1"/>
          </p:nvPr>
        </p:nvSpPr>
        <p:spPr>
          <a:xfrm>
            <a:off x="1271093" y="2225657"/>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1" name="Inhaltsplatzhalter 3">
            <a:extLst>
              <a:ext uri="{FF2B5EF4-FFF2-40B4-BE49-F238E27FC236}">
                <a16:creationId xmlns:a16="http://schemas.microsoft.com/office/drawing/2014/main" id="{D6E35B84-E933-4E37-8C47-2C4F19F1E328}"/>
              </a:ext>
            </a:extLst>
          </p:cNvPr>
          <p:cNvSpPr>
            <a:spLocks noGrp="1"/>
          </p:cNvSpPr>
          <p:nvPr>
            <p:ph sz="half" idx="16" hasCustomPrompt="1"/>
          </p:nvPr>
        </p:nvSpPr>
        <p:spPr>
          <a:xfrm>
            <a:off x="552450" y="2232007"/>
            <a:ext cx="473075" cy="407693"/>
          </a:xfrm>
          <a:prstGeom prst="rect">
            <a:avLst/>
          </a:prstGeom>
        </p:spPr>
        <p:txBody>
          <a:bodyPr lIns="0" tIns="0" rIns="0"/>
          <a:lstStyle>
            <a:lvl1pPr marL="0" indent="0" algn="l">
              <a:lnSpc>
                <a:spcPts val="2300"/>
              </a:lnSpc>
              <a:spcBef>
                <a:spcPts val="2000"/>
              </a:spcBef>
              <a:buNone/>
              <a:defRPr sz="25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2</a:t>
            </a:r>
          </a:p>
        </p:txBody>
      </p:sp>
      <p:sp>
        <p:nvSpPr>
          <p:cNvPr id="12" name="Textplatzhalter 3">
            <a:extLst>
              <a:ext uri="{FF2B5EF4-FFF2-40B4-BE49-F238E27FC236}">
                <a16:creationId xmlns:a16="http://schemas.microsoft.com/office/drawing/2014/main" id="{39FE1244-9B38-4E13-BAB9-A0FAFAC4864E}"/>
              </a:ext>
            </a:extLst>
          </p:cNvPr>
          <p:cNvSpPr>
            <a:spLocks noGrp="1"/>
          </p:cNvSpPr>
          <p:nvPr>
            <p:ph type="body" sz="half" idx="18" hasCustomPrompt="1"/>
          </p:nvPr>
        </p:nvSpPr>
        <p:spPr>
          <a:xfrm>
            <a:off x="1271093" y="2857363"/>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3" name="Inhaltsplatzhalter 3">
            <a:extLst>
              <a:ext uri="{FF2B5EF4-FFF2-40B4-BE49-F238E27FC236}">
                <a16:creationId xmlns:a16="http://schemas.microsoft.com/office/drawing/2014/main" id="{ED115436-7B46-4A85-B13B-D414D292C9E1}"/>
              </a:ext>
            </a:extLst>
          </p:cNvPr>
          <p:cNvSpPr>
            <a:spLocks noGrp="1"/>
          </p:cNvSpPr>
          <p:nvPr>
            <p:ph sz="half" idx="19" hasCustomPrompt="1"/>
          </p:nvPr>
        </p:nvSpPr>
        <p:spPr>
          <a:xfrm>
            <a:off x="552450" y="2857363"/>
            <a:ext cx="473075" cy="407693"/>
          </a:xfrm>
          <a:prstGeom prst="rect">
            <a:avLst/>
          </a:prstGeom>
        </p:spPr>
        <p:txBody>
          <a:bodyPr lIns="0" tIns="0" rIns="0"/>
          <a:lstStyle>
            <a:lvl1pPr marL="0" indent="0" algn="l">
              <a:lnSpc>
                <a:spcPts val="2300"/>
              </a:lnSpc>
              <a:spcBef>
                <a:spcPts val="2000"/>
              </a:spcBef>
              <a:buNone/>
              <a:defRPr sz="25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3</a:t>
            </a:r>
          </a:p>
        </p:txBody>
      </p:sp>
      <p:sp>
        <p:nvSpPr>
          <p:cNvPr id="14" name="Textplatzhalter 3">
            <a:extLst>
              <a:ext uri="{FF2B5EF4-FFF2-40B4-BE49-F238E27FC236}">
                <a16:creationId xmlns:a16="http://schemas.microsoft.com/office/drawing/2014/main" id="{CD48362C-06EA-4B32-8061-61E670C28D60}"/>
              </a:ext>
            </a:extLst>
          </p:cNvPr>
          <p:cNvSpPr>
            <a:spLocks noGrp="1"/>
          </p:cNvSpPr>
          <p:nvPr>
            <p:ph type="body" sz="half" idx="21" hasCustomPrompt="1"/>
          </p:nvPr>
        </p:nvSpPr>
        <p:spPr>
          <a:xfrm>
            <a:off x="1271093" y="3482719"/>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5" name="Inhaltsplatzhalter 3">
            <a:extLst>
              <a:ext uri="{FF2B5EF4-FFF2-40B4-BE49-F238E27FC236}">
                <a16:creationId xmlns:a16="http://schemas.microsoft.com/office/drawing/2014/main" id="{A8609564-AFB3-4B1E-944F-B641CB949903}"/>
              </a:ext>
            </a:extLst>
          </p:cNvPr>
          <p:cNvSpPr>
            <a:spLocks noGrp="1"/>
          </p:cNvSpPr>
          <p:nvPr>
            <p:ph sz="half" idx="22" hasCustomPrompt="1"/>
          </p:nvPr>
        </p:nvSpPr>
        <p:spPr>
          <a:xfrm>
            <a:off x="552450" y="3482719"/>
            <a:ext cx="473075" cy="407693"/>
          </a:xfrm>
          <a:prstGeom prst="rect">
            <a:avLst/>
          </a:prstGeom>
        </p:spPr>
        <p:txBody>
          <a:bodyPr lIns="0" tIns="0" rIns="0"/>
          <a:lstStyle>
            <a:lvl1pPr marL="0" indent="0" algn="l">
              <a:lnSpc>
                <a:spcPts val="2300"/>
              </a:lnSpc>
              <a:spcBef>
                <a:spcPts val="2000"/>
              </a:spcBef>
              <a:buNone/>
              <a:defRPr sz="25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4</a:t>
            </a:r>
          </a:p>
        </p:txBody>
      </p:sp>
      <p:sp>
        <p:nvSpPr>
          <p:cNvPr id="16" name="Textplatzhalter 3">
            <a:extLst>
              <a:ext uri="{FF2B5EF4-FFF2-40B4-BE49-F238E27FC236}">
                <a16:creationId xmlns:a16="http://schemas.microsoft.com/office/drawing/2014/main" id="{D4EFD030-3884-46E3-B63E-FB3A77A93E5D}"/>
              </a:ext>
            </a:extLst>
          </p:cNvPr>
          <p:cNvSpPr>
            <a:spLocks noGrp="1"/>
          </p:cNvSpPr>
          <p:nvPr>
            <p:ph type="body" sz="half" idx="24" hasCustomPrompt="1"/>
          </p:nvPr>
        </p:nvSpPr>
        <p:spPr>
          <a:xfrm>
            <a:off x="1271093" y="4108075"/>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7" name="Inhaltsplatzhalter 3">
            <a:extLst>
              <a:ext uri="{FF2B5EF4-FFF2-40B4-BE49-F238E27FC236}">
                <a16:creationId xmlns:a16="http://schemas.microsoft.com/office/drawing/2014/main" id="{8EAF93B9-68EC-4C42-9C97-45C22CDD734A}"/>
              </a:ext>
            </a:extLst>
          </p:cNvPr>
          <p:cNvSpPr>
            <a:spLocks noGrp="1"/>
          </p:cNvSpPr>
          <p:nvPr>
            <p:ph sz="half" idx="25" hasCustomPrompt="1"/>
          </p:nvPr>
        </p:nvSpPr>
        <p:spPr>
          <a:xfrm>
            <a:off x="552450" y="4108075"/>
            <a:ext cx="473075" cy="407693"/>
          </a:xfrm>
          <a:prstGeom prst="rect">
            <a:avLst/>
          </a:prstGeom>
        </p:spPr>
        <p:txBody>
          <a:bodyPr lIns="0" tIns="0" rIns="0"/>
          <a:lstStyle>
            <a:lvl1pPr marL="0" indent="0" algn="l">
              <a:lnSpc>
                <a:spcPts val="2300"/>
              </a:lnSpc>
              <a:spcBef>
                <a:spcPts val="2000"/>
              </a:spcBef>
              <a:buNone/>
              <a:defRPr sz="25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5</a:t>
            </a:r>
          </a:p>
        </p:txBody>
      </p:sp>
      <p:sp>
        <p:nvSpPr>
          <p:cNvPr id="18" name="Textplatzhalter 3">
            <a:extLst>
              <a:ext uri="{FF2B5EF4-FFF2-40B4-BE49-F238E27FC236}">
                <a16:creationId xmlns:a16="http://schemas.microsoft.com/office/drawing/2014/main" id="{C6A805B9-155F-4325-B953-748606AD9BB7}"/>
              </a:ext>
            </a:extLst>
          </p:cNvPr>
          <p:cNvSpPr>
            <a:spLocks noGrp="1"/>
          </p:cNvSpPr>
          <p:nvPr>
            <p:ph type="body" sz="half" idx="27" hasCustomPrompt="1"/>
          </p:nvPr>
        </p:nvSpPr>
        <p:spPr>
          <a:xfrm>
            <a:off x="1254764" y="4733431"/>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9" name="Inhaltsplatzhalter 3">
            <a:extLst>
              <a:ext uri="{FF2B5EF4-FFF2-40B4-BE49-F238E27FC236}">
                <a16:creationId xmlns:a16="http://schemas.microsoft.com/office/drawing/2014/main" id="{659FD8D3-911F-4202-A648-1CAC292E4AA5}"/>
              </a:ext>
            </a:extLst>
          </p:cNvPr>
          <p:cNvSpPr>
            <a:spLocks noGrp="1"/>
          </p:cNvSpPr>
          <p:nvPr>
            <p:ph sz="half" idx="28" hasCustomPrompt="1"/>
          </p:nvPr>
        </p:nvSpPr>
        <p:spPr>
          <a:xfrm>
            <a:off x="536121" y="4733431"/>
            <a:ext cx="473075" cy="407693"/>
          </a:xfrm>
          <a:prstGeom prst="rect">
            <a:avLst/>
          </a:prstGeom>
        </p:spPr>
        <p:txBody>
          <a:bodyPr lIns="0" tIns="0" rIns="0"/>
          <a:lstStyle>
            <a:lvl1pPr marL="0" indent="0" algn="l">
              <a:lnSpc>
                <a:spcPts val="2300"/>
              </a:lnSpc>
              <a:spcBef>
                <a:spcPts val="2000"/>
              </a:spcBef>
              <a:buNone/>
              <a:defRPr sz="25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6</a:t>
            </a:r>
          </a:p>
        </p:txBody>
      </p:sp>
      <p:sp>
        <p:nvSpPr>
          <p:cNvPr id="20" name="Textplatzhalter 3">
            <a:extLst>
              <a:ext uri="{FF2B5EF4-FFF2-40B4-BE49-F238E27FC236}">
                <a16:creationId xmlns:a16="http://schemas.microsoft.com/office/drawing/2014/main" id="{C8883233-3AB4-4750-B7E4-C05E86234AFA}"/>
              </a:ext>
            </a:extLst>
          </p:cNvPr>
          <p:cNvSpPr>
            <a:spLocks noGrp="1"/>
          </p:cNvSpPr>
          <p:nvPr>
            <p:ph type="body" sz="half" idx="36" hasCustomPrompt="1"/>
          </p:nvPr>
        </p:nvSpPr>
        <p:spPr>
          <a:xfrm>
            <a:off x="1254764" y="5358790"/>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21" name="Inhaltsplatzhalter 3">
            <a:extLst>
              <a:ext uri="{FF2B5EF4-FFF2-40B4-BE49-F238E27FC236}">
                <a16:creationId xmlns:a16="http://schemas.microsoft.com/office/drawing/2014/main" id="{534F42E2-7C55-44D9-B171-D2DE36F31CCE}"/>
              </a:ext>
            </a:extLst>
          </p:cNvPr>
          <p:cNvSpPr>
            <a:spLocks noGrp="1"/>
          </p:cNvSpPr>
          <p:nvPr>
            <p:ph sz="half" idx="37" hasCustomPrompt="1"/>
          </p:nvPr>
        </p:nvSpPr>
        <p:spPr>
          <a:xfrm>
            <a:off x="536121" y="5358790"/>
            <a:ext cx="473075" cy="407693"/>
          </a:xfrm>
          <a:prstGeom prst="rect">
            <a:avLst/>
          </a:prstGeom>
        </p:spPr>
        <p:txBody>
          <a:bodyPr lIns="0" tIns="0" rIns="0"/>
          <a:lstStyle>
            <a:lvl1pPr marL="0" indent="0" algn="l">
              <a:lnSpc>
                <a:spcPts val="2300"/>
              </a:lnSpc>
              <a:spcBef>
                <a:spcPts val="2000"/>
              </a:spcBef>
              <a:buNone/>
              <a:defRPr sz="25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7</a:t>
            </a:r>
          </a:p>
        </p:txBody>
      </p:sp>
      <p:cxnSp>
        <p:nvCxnSpPr>
          <p:cNvPr id="24" name="Gerader Verbinder 23">
            <a:extLst>
              <a:ext uri="{FF2B5EF4-FFF2-40B4-BE49-F238E27FC236}">
                <a16:creationId xmlns:a16="http://schemas.microsoft.com/office/drawing/2014/main" id="{37E9692B-183E-4452-962F-5565E0366558}"/>
              </a:ext>
            </a:extLst>
          </p:cNvPr>
          <p:cNvCxnSpPr>
            <a:cxnSpLocks/>
          </p:cNvCxnSpPr>
          <p:nvPr userDrawn="1"/>
        </p:nvCxnSpPr>
        <p:spPr>
          <a:xfrm>
            <a:off x="590028" y="1363996"/>
            <a:ext cx="288000" cy="0"/>
          </a:xfrm>
          <a:prstGeom prst="line">
            <a:avLst/>
          </a:prstGeom>
          <a:ln w="444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2745757A-4D76-4D5E-AA6D-8ABC7173609F}"/>
              </a:ext>
            </a:extLst>
          </p:cNvPr>
          <p:cNvCxnSpPr>
            <a:cxnSpLocks/>
          </p:cNvCxnSpPr>
          <p:nvPr userDrawn="1"/>
        </p:nvCxnSpPr>
        <p:spPr>
          <a:xfrm>
            <a:off x="1271093" y="1363996"/>
            <a:ext cx="6120000" cy="0"/>
          </a:xfrm>
          <a:prstGeom prst="line">
            <a:avLst/>
          </a:prstGeom>
          <a:ln w="44450" cap="rnd">
            <a:gradFill>
              <a:gsLst>
                <a:gs pos="0">
                  <a:schemeClr val="accent2"/>
                </a:gs>
                <a:gs pos="74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26" name="Titel 1">
            <a:extLst>
              <a:ext uri="{FF2B5EF4-FFF2-40B4-BE49-F238E27FC236}">
                <a16:creationId xmlns:a16="http://schemas.microsoft.com/office/drawing/2014/main" id="{F7A7C660-EAC9-4188-9A7D-155F023CDF2E}"/>
              </a:ext>
            </a:extLst>
          </p:cNvPr>
          <p:cNvSpPr>
            <a:spLocks noGrp="1"/>
          </p:cNvSpPr>
          <p:nvPr>
            <p:ph type="title" hasCustomPrompt="1"/>
          </p:nvPr>
        </p:nvSpPr>
        <p:spPr>
          <a:xfrm>
            <a:off x="515938" y="453851"/>
            <a:ext cx="6875155" cy="757619"/>
          </a:xfrm>
          <a:prstGeom prst="rect">
            <a:avLst/>
          </a:prstGeom>
        </p:spPr>
        <p:txBody>
          <a:bodyPr lIns="0" tIns="0" rIns="0"/>
          <a:lstStyle>
            <a:lvl1pPr>
              <a:defRPr sz="3300" b="0">
                <a:solidFill>
                  <a:schemeClr val="tx2"/>
                </a:solidFill>
              </a:defRPr>
            </a:lvl1pPr>
          </a:lstStyle>
          <a:p>
            <a:r>
              <a:rPr lang="de-DE"/>
              <a:t>Agenda</a:t>
            </a:r>
          </a:p>
        </p:txBody>
      </p:sp>
      <p:pic>
        <p:nvPicPr>
          <p:cNvPr id="28" name="Grafik 27">
            <a:extLst>
              <a:ext uri="{FF2B5EF4-FFF2-40B4-BE49-F238E27FC236}">
                <a16:creationId xmlns:a16="http://schemas.microsoft.com/office/drawing/2014/main" id="{6D2A9481-B982-4E95-A91A-DE5DB01D6B9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77604" y="368300"/>
            <a:ext cx="1184400" cy="660531"/>
          </a:xfrm>
          <a:prstGeom prst="rect">
            <a:avLst/>
          </a:prstGeom>
        </p:spPr>
      </p:pic>
    </p:spTree>
    <p:extLst>
      <p:ext uri="{BB962C8B-B14F-4D97-AF65-F5344CB8AC3E}">
        <p14:creationId xmlns:p14="http://schemas.microsoft.com/office/powerpoint/2010/main" val="1963004466"/>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0_content">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603EB85B-3EA8-4814-B5ED-06F4F7B8D42A}"/>
              </a:ext>
            </a:extLst>
          </p:cNvPr>
          <p:cNvSpPr>
            <a:spLocks noGrp="1"/>
          </p:cNvSpPr>
          <p:nvPr>
            <p:ph idx="1" hasCustomPrompt="1"/>
          </p:nvPr>
        </p:nvSpPr>
        <p:spPr>
          <a:xfrm>
            <a:off x="515938" y="1461927"/>
            <a:ext cx="8395833" cy="4775361"/>
          </a:xfrm>
          <a:prstGeom prst="rect">
            <a:avLst/>
          </a:prstGeom>
        </p:spPr>
        <p:txBody>
          <a:bodyPr lIns="0" tIns="0"/>
          <a:lstStyle>
            <a:lvl1pPr marL="324000" indent="-324000">
              <a:lnSpc>
                <a:spcPct val="100000"/>
              </a:lnSpc>
              <a:spcBef>
                <a:spcPts val="800"/>
              </a:spcBef>
              <a:buFontTx/>
              <a:buBlip>
                <a:blip r:embed="rId2"/>
              </a:buBlip>
              <a:defRPr sz="1800">
                <a:solidFill>
                  <a:schemeClr val="accent6">
                    <a:lumMod val="50000"/>
                  </a:schemeClr>
                </a:solidFill>
              </a:defRPr>
            </a:lvl1pPr>
            <a:lvl2pPr marL="611188" indent="-323850">
              <a:lnSpc>
                <a:spcPct val="100000"/>
              </a:lnSpc>
              <a:spcBef>
                <a:spcPts val="800"/>
              </a:spcBef>
              <a:buFontTx/>
              <a:buBlip>
                <a:blip r:embed="rId3"/>
              </a:buBlip>
              <a:defRPr sz="1800">
                <a:solidFill>
                  <a:schemeClr val="accent6">
                    <a:lumMod val="50000"/>
                  </a:schemeClr>
                </a:solidFill>
              </a:defRPr>
            </a:lvl2pPr>
            <a:lvl3pPr marL="863600" indent="-287338">
              <a:lnSpc>
                <a:spcPct val="100000"/>
              </a:lnSpc>
              <a:spcBef>
                <a:spcPts val="800"/>
              </a:spcBef>
              <a:buFontTx/>
              <a:buBlip>
                <a:blip r:embed="rId4"/>
              </a:buBlip>
              <a:defRPr sz="1800">
                <a:solidFill>
                  <a:schemeClr val="accent6">
                    <a:lumMod val="50000"/>
                  </a:schemeClr>
                </a:solidFill>
              </a:defRPr>
            </a:lvl3pPr>
            <a:lvl4pPr marL="1116000" indent="-288000">
              <a:lnSpc>
                <a:spcPct val="100000"/>
              </a:lnSpc>
              <a:spcBef>
                <a:spcPts val="800"/>
              </a:spcBef>
              <a:buFontTx/>
              <a:buBlip>
                <a:blip r:embed="rId5"/>
              </a:buBlip>
              <a:defRPr sz="1800">
                <a:solidFill>
                  <a:schemeClr val="accent6">
                    <a:lumMod val="50000"/>
                  </a:schemeClr>
                </a:solidFill>
              </a:defRPr>
            </a:lvl4pPr>
            <a:lvl5pPr marL="1368000" marR="0" indent="-288000" algn="l" defTabSz="914400" rtl="0" eaLnBrk="1" fontAlgn="auto" latinLnBrk="0" hangingPunct="1">
              <a:lnSpc>
                <a:spcPct val="100000"/>
              </a:lnSpc>
              <a:spcBef>
                <a:spcPts val="800"/>
              </a:spcBef>
              <a:spcAft>
                <a:spcPts val="0"/>
              </a:spcAft>
              <a:buClrTx/>
              <a:buSzTx/>
              <a:buFontTx/>
              <a:buBlip>
                <a:blip r:embed="rId5"/>
              </a:buBlip>
              <a:tabLst/>
              <a:defRPr sz="1800">
                <a:solidFill>
                  <a:schemeClr val="accent6">
                    <a:lumMod val="50000"/>
                  </a:schemeClr>
                </a:solidFill>
              </a:defRPr>
            </a:lvl5pPr>
            <a:lvl6pPr marL="2514600" indent="-228600">
              <a:buNone/>
              <a:defRPr/>
            </a:lvl6pPr>
          </a:lstStyle>
          <a:p>
            <a:pPr lvl="0"/>
            <a:r>
              <a:rPr lang="de-DE"/>
              <a:t>This is a bullet point</a:t>
            </a:r>
          </a:p>
          <a:p>
            <a:pPr lvl="1"/>
            <a:r>
              <a:rPr lang="de-DE"/>
              <a:t>This is a bullet point level 2</a:t>
            </a:r>
          </a:p>
          <a:p>
            <a:pPr lvl="2"/>
            <a:r>
              <a:rPr lang="de-DE"/>
              <a:t>This is a bullet point level 3</a:t>
            </a:r>
          </a:p>
          <a:p>
            <a:pPr lvl="3"/>
            <a:r>
              <a:rPr lang="de-DE"/>
              <a:t>Level 4</a:t>
            </a:r>
          </a:p>
          <a:p>
            <a:pPr lvl="4"/>
            <a:r>
              <a:rPr lang="de-DE"/>
              <a:t>Level 5</a:t>
            </a:r>
          </a:p>
          <a:p>
            <a:pPr lvl="4"/>
            <a:endParaRPr lang="de-DE"/>
          </a:p>
        </p:txBody>
      </p:sp>
      <p:sp>
        <p:nvSpPr>
          <p:cNvPr id="4" name="Datumsplatzhalter 3">
            <a:extLst>
              <a:ext uri="{FF2B5EF4-FFF2-40B4-BE49-F238E27FC236}">
                <a16:creationId xmlns:a16="http://schemas.microsoft.com/office/drawing/2014/main" id="{0B7B921C-DD71-4F98-A33D-A7936778058D}"/>
              </a:ext>
            </a:extLst>
          </p:cNvPr>
          <p:cNvSpPr>
            <a:spLocks noGrp="1"/>
          </p:cNvSpPr>
          <p:nvPr>
            <p:ph type="dt" sz="half" idx="10"/>
          </p:nvPr>
        </p:nvSpPr>
        <p:spPr/>
        <p:txBody>
          <a:bodyPr/>
          <a:lstStyle/>
          <a:p>
            <a:fld id="{06CC1BC8-34D2-4F4F-8E98-9D7DE43C3D52}" type="datetime1">
              <a:rPr lang="en-US" smtClean="0"/>
              <a:t>11/29/2021</a:t>
            </a:fld>
            <a:endParaRPr lang="de-DE"/>
          </a:p>
        </p:txBody>
      </p:sp>
      <p:sp>
        <p:nvSpPr>
          <p:cNvPr id="5" name="Fußzeilenplatzhalter 4">
            <a:extLst>
              <a:ext uri="{FF2B5EF4-FFF2-40B4-BE49-F238E27FC236}">
                <a16:creationId xmlns:a16="http://schemas.microsoft.com/office/drawing/2014/main" id="{F8372CDE-0269-4A13-98B5-C2021453FF9D}"/>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C57CF5D1-2B71-44E7-BD5F-23474545DB7B}"/>
              </a:ext>
            </a:extLst>
          </p:cNvPr>
          <p:cNvSpPr>
            <a:spLocks noGrp="1"/>
          </p:cNvSpPr>
          <p:nvPr>
            <p:ph type="sldNum" sz="quarter" idx="12"/>
          </p:nvPr>
        </p:nvSpPr>
        <p:spPr/>
        <p:txBody>
          <a:bodyPr/>
          <a:lstStyle/>
          <a:p>
            <a:fld id="{46735E09-D06A-4765-B4D1-A70A5B2E5B6E}" type="slidenum">
              <a:rPr lang="de-DE" smtClean="0"/>
              <a:t>‹N°›</a:t>
            </a:fld>
            <a:endParaRPr lang="de-DE"/>
          </a:p>
        </p:txBody>
      </p:sp>
      <p:sp>
        <p:nvSpPr>
          <p:cNvPr id="10" name="Titel 1">
            <a:extLst>
              <a:ext uri="{FF2B5EF4-FFF2-40B4-BE49-F238E27FC236}">
                <a16:creationId xmlns:a16="http://schemas.microsoft.com/office/drawing/2014/main" id="{3A814B79-7DD9-4587-A8FC-4C56C805E79B}"/>
              </a:ext>
            </a:extLst>
          </p:cNvPr>
          <p:cNvSpPr>
            <a:spLocks noGrp="1"/>
          </p:cNvSpPr>
          <p:nvPr>
            <p:ph type="title" hasCustomPrompt="1"/>
          </p:nvPr>
        </p:nvSpPr>
        <p:spPr>
          <a:xfrm>
            <a:off x="515938" y="453851"/>
            <a:ext cx="6875155" cy="757619"/>
          </a:xfrm>
          <a:prstGeom prst="rect">
            <a:avLst/>
          </a:prstGeom>
        </p:spPr>
        <p:txBody>
          <a:bodyPr lIns="0" tIns="0" rIns="0"/>
          <a:lstStyle>
            <a:lvl1pPr>
              <a:defRPr sz="2900" b="0">
                <a:solidFill>
                  <a:schemeClr val="tx2"/>
                </a:solidFill>
              </a:defRPr>
            </a:lvl1pPr>
          </a:lstStyle>
          <a:p>
            <a:r>
              <a:rPr lang="de-DE"/>
              <a:t>This is a headline</a:t>
            </a:r>
          </a:p>
        </p:txBody>
      </p:sp>
      <p:pic>
        <p:nvPicPr>
          <p:cNvPr id="8" name="Grafik 7">
            <a:extLst>
              <a:ext uri="{FF2B5EF4-FFF2-40B4-BE49-F238E27FC236}">
                <a16:creationId xmlns:a16="http://schemas.microsoft.com/office/drawing/2014/main" id="{41092445-41F2-46BF-BE49-6895916C6EE2}"/>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477604" y="368300"/>
            <a:ext cx="1184400" cy="660531"/>
          </a:xfrm>
          <a:prstGeom prst="rect">
            <a:avLst/>
          </a:prstGeom>
        </p:spPr>
      </p:pic>
    </p:spTree>
    <p:extLst>
      <p:ext uri="{BB962C8B-B14F-4D97-AF65-F5344CB8AC3E}">
        <p14:creationId xmlns:p14="http://schemas.microsoft.com/office/powerpoint/2010/main" val="34920762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2_title">
    <p:spTree>
      <p:nvGrpSpPr>
        <p:cNvPr id="1" name=""/>
        <p:cNvGrpSpPr/>
        <p:nvPr/>
      </p:nvGrpSpPr>
      <p:grpSpPr>
        <a:xfrm>
          <a:off x="0" y="0"/>
          <a:ext cx="0" cy="0"/>
          <a:chOff x="0" y="0"/>
          <a:chExt cx="0" cy="0"/>
        </a:xfrm>
      </p:grpSpPr>
      <p:pic>
        <p:nvPicPr>
          <p:cNvPr id="11" name="Grafik 10">
            <a:extLst>
              <a:ext uri="{FF2B5EF4-FFF2-40B4-BE49-F238E27FC236}">
                <a16:creationId xmlns:a16="http://schemas.microsoft.com/office/drawing/2014/main" id="{84F14DA5-FB2B-4EE5-81B8-4DECF49AFA92}"/>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b="-775"/>
          <a:stretch/>
        </p:blipFill>
        <p:spPr>
          <a:xfrm>
            <a:off x="0" y="1431083"/>
            <a:ext cx="12191999" cy="5506912"/>
          </a:xfrm>
          <a:prstGeom prst="rect">
            <a:avLst/>
          </a:prstGeom>
        </p:spPr>
      </p:pic>
      <p:sp>
        <p:nvSpPr>
          <p:cNvPr id="22" name="Rechteck 21">
            <a:extLst>
              <a:ext uri="{FF2B5EF4-FFF2-40B4-BE49-F238E27FC236}">
                <a16:creationId xmlns:a16="http://schemas.microsoft.com/office/drawing/2014/main" id="{1D73AF97-E657-410B-8979-223179977D4F}"/>
              </a:ext>
            </a:extLst>
          </p:cNvPr>
          <p:cNvSpPr/>
          <p:nvPr userDrawn="1"/>
        </p:nvSpPr>
        <p:spPr>
          <a:xfrm>
            <a:off x="721895" y="2460171"/>
            <a:ext cx="5903494" cy="3907801"/>
          </a:xfrm>
          <a:prstGeom prst="rect">
            <a:avLst/>
          </a:prstGeom>
          <a:solidFill>
            <a:srgbClr val="000071">
              <a:alpha val="77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latin typeface="+mj-lt"/>
            </a:endParaRPr>
          </a:p>
        </p:txBody>
      </p:sp>
      <p:sp>
        <p:nvSpPr>
          <p:cNvPr id="23" name="Titel 1">
            <a:extLst>
              <a:ext uri="{FF2B5EF4-FFF2-40B4-BE49-F238E27FC236}">
                <a16:creationId xmlns:a16="http://schemas.microsoft.com/office/drawing/2014/main" id="{63AF153A-F5B1-4FAF-97D5-90207EB42A0E}"/>
              </a:ext>
            </a:extLst>
          </p:cNvPr>
          <p:cNvSpPr>
            <a:spLocks noGrp="1"/>
          </p:cNvSpPr>
          <p:nvPr>
            <p:ph type="ctrTitle" hasCustomPrompt="1"/>
          </p:nvPr>
        </p:nvSpPr>
        <p:spPr>
          <a:xfrm>
            <a:off x="1006019" y="3302380"/>
            <a:ext cx="5378738" cy="1505057"/>
          </a:xfrm>
          <a:prstGeom prst="rect">
            <a:avLst/>
          </a:prstGeom>
        </p:spPr>
        <p:txBody>
          <a:bodyPr lIns="0" tIns="0" bIns="0" anchor="b">
            <a:normAutofit/>
          </a:bodyPr>
          <a:lstStyle>
            <a:lvl1pPr algn="l">
              <a:defRPr sz="4400" b="1">
                <a:solidFill>
                  <a:schemeClr val="bg1"/>
                </a:solidFill>
              </a:defRPr>
            </a:lvl1pPr>
          </a:lstStyle>
          <a:p>
            <a:r>
              <a:rPr lang="de-DE"/>
              <a:t>This is the title of </a:t>
            </a:r>
            <a:br>
              <a:rPr lang="de-DE"/>
            </a:br>
            <a:r>
              <a:rPr lang="de-DE"/>
              <a:t>the presentation</a:t>
            </a:r>
          </a:p>
        </p:txBody>
      </p:sp>
      <p:sp>
        <p:nvSpPr>
          <p:cNvPr id="24" name="Untertitel 2">
            <a:extLst>
              <a:ext uri="{FF2B5EF4-FFF2-40B4-BE49-F238E27FC236}">
                <a16:creationId xmlns:a16="http://schemas.microsoft.com/office/drawing/2014/main" id="{E0108142-5FE7-45E6-B502-6DD843863996}"/>
              </a:ext>
            </a:extLst>
          </p:cNvPr>
          <p:cNvSpPr>
            <a:spLocks noGrp="1"/>
          </p:cNvSpPr>
          <p:nvPr>
            <p:ph type="subTitle" idx="1" hasCustomPrompt="1"/>
          </p:nvPr>
        </p:nvSpPr>
        <p:spPr>
          <a:xfrm>
            <a:off x="1006020" y="5107272"/>
            <a:ext cx="5378738" cy="603588"/>
          </a:xfrm>
          <a:prstGeom prst="rect">
            <a:avLst/>
          </a:prstGeom>
        </p:spPr>
        <p:txBody>
          <a:bodyPr lIns="0" tIns="0"/>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Edit subtitle</a:t>
            </a:r>
          </a:p>
        </p:txBody>
      </p:sp>
      <p:sp>
        <p:nvSpPr>
          <p:cNvPr id="25" name="Datumsplatzhalter 3">
            <a:extLst>
              <a:ext uri="{FF2B5EF4-FFF2-40B4-BE49-F238E27FC236}">
                <a16:creationId xmlns:a16="http://schemas.microsoft.com/office/drawing/2014/main" id="{8BE16643-B864-4CC3-ADD7-8A1F58E920AD}"/>
              </a:ext>
            </a:extLst>
          </p:cNvPr>
          <p:cNvSpPr>
            <a:spLocks noGrp="1"/>
          </p:cNvSpPr>
          <p:nvPr>
            <p:ph type="dt" sz="half" idx="10"/>
          </p:nvPr>
        </p:nvSpPr>
        <p:spPr>
          <a:xfrm>
            <a:off x="1006019" y="5836526"/>
            <a:ext cx="849775" cy="365125"/>
          </a:xfrm>
        </p:spPr>
        <p:txBody>
          <a:bodyPr/>
          <a:lstStyle>
            <a:lvl1pPr algn="l">
              <a:defRPr sz="1600">
                <a:solidFill>
                  <a:schemeClr val="bg1"/>
                </a:solidFill>
                <a:latin typeface="+mj-lt"/>
              </a:defRPr>
            </a:lvl1pPr>
          </a:lstStyle>
          <a:p>
            <a:fld id="{ECE9B1CA-569D-4F41-AE5C-E950FE9A8F19}" type="datetime1">
              <a:rPr lang="en-US" smtClean="0"/>
              <a:t>11/29/2021</a:t>
            </a:fld>
            <a:endParaRPr lang="de-DE"/>
          </a:p>
        </p:txBody>
      </p:sp>
      <p:sp>
        <p:nvSpPr>
          <p:cNvPr id="26" name="Rechteck 25">
            <a:extLst>
              <a:ext uri="{FF2B5EF4-FFF2-40B4-BE49-F238E27FC236}">
                <a16:creationId xmlns:a16="http://schemas.microsoft.com/office/drawing/2014/main" id="{CFBAA4CC-366F-4C70-8B62-142F7520BEC3}"/>
              </a:ext>
            </a:extLst>
          </p:cNvPr>
          <p:cNvSpPr/>
          <p:nvPr userDrawn="1"/>
        </p:nvSpPr>
        <p:spPr>
          <a:xfrm rot="10800000">
            <a:off x="-20835" y="-44918"/>
            <a:ext cx="12212834" cy="147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latin typeface="+mj-lt"/>
            </a:endParaRPr>
          </a:p>
        </p:txBody>
      </p:sp>
      <p:pic>
        <p:nvPicPr>
          <p:cNvPr id="12" name="Grafik 11">
            <a:extLst>
              <a:ext uri="{FF2B5EF4-FFF2-40B4-BE49-F238E27FC236}">
                <a16:creationId xmlns:a16="http://schemas.microsoft.com/office/drawing/2014/main" id="{97D61926-EEAE-4451-9E07-B2AB6E466D6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01153" y="338610"/>
            <a:ext cx="1476000" cy="823154"/>
          </a:xfrm>
          <a:prstGeom prst="rect">
            <a:avLst/>
          </a:prstGeom>
        </p:spPr>
      </p:pic>
    </p:spTree>
    <p:extLst>
      <p:ext uri="{BB962C8B-B14F-4D97-AF65-F5344CB8AC3E}">
        <p14:creationId xmlns:p14="http://schemas.microsoft.com/office/powerpoint/2010/main" val="4100652356"/>
      </p:ext>
    </p:extLst>
  </p:cSld>
  <p:clrMapOvr>
    <a:masterClrMapping/>
  </p:clrMapOvr>
  <p:extLst>
    <p:ext uri="{DCECCB84-F9BA-43D5-87BE-67443E8EF086}">
      <p15:sldGuideLst xmlns:p15="http://schemas.microsoft.com/office/powerpoint/2012/main">
        <p15:guide id="1" pos="529">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1_content">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603EB85B-3EA8-4814-B5ED-06F4F7B8D42A}"/>
              </a:ext>
            </a:extLst>
          </p:cNvPr>
          <p:cNvSpPr>
            <a:spLocks noGrp="1"/>
          </p:cNvSpPr>
          <p:nvPr>
            <p:ph idx="1" hasCustomPrompt="1"/>
          </p:nvPr>
        </p:nvSpPr>
        <p:spPr>
          <a:xfrm>
            <a:off x="515939" y="1461927"/>
            <a:ext cx="7298882" cy="4775361"/>
          </a:xfrm>
          <a:prstGeom prst="rect">
            <a:avLst/>
          </a:prstGeom>
        </p:spPr>
        <p:txBody>
          <a:bodyPr lIns="0" tIns="0"/>
          <a:lstStyle>
            <a:lvl1pPr marL="324000" indent="-324000">
              <a:lnSpc>
                <a:spcPct val="100000"/>
              </a:lnSpc>
              <a:spcBef>
                <a:spcPts val="800"/>
              </a:spcBef>
              <a:buFontTx/>
              <a:buBlip>
                <a:blip r:embed="rId2"/>
              </a:buBlip>
              <a:defRPr sz="1800">
                <a:solidFill>
                  <a:schemeClr val="accent6">
                    <a:lumMod val="50000"/>
                  </a:schemeClr>
                </a:solidFill>
              </a:defRPr>
            </a:lvl1pPr>
            <a:lvl2pPr marL="611188" indent="-323850">
              <a:lnSpc>
                <a:spcPct val="100000"/>
              </a:lnSpc>
              <a:spcBef>
                <a:spcPts val="800"/>
              </a:spcBef>
              <a:buFontTx/>
              <a:buBlip>
                <a:blip r:embed="rId3"/>
              </a:buBlip>
              <a:defRPr sz="1800">
                <a:solidFill>
                  <a:schemeClr val="accent6">
                    <a:lumMod val="50000"/>
                  </a:schemeClr>
                </a:solidFill>
              </a:defRPr>
            </a:lvl2pPr>
            <a:lvl3pPr marL="863600" indent="-287338">
              <a:lnSpc>
                <a:spcPct val="100000"/>
              </a:lnSpc>
              <a:spcBef>
                <a:spcPts val="800"/>
              </a:spcBef>
              <a:buFontTx/>
              <a:buBlip>
                <a:blip r:embed="rId4"/>
              </a:buBlip>
              <a:defRPr sz="1800">
                <a:solidFill>
                  <a:schemeClr val="accent6">
                    <a:lumMod val="50000"/>
                  </a:schemeClr>
                </a:solidFill>
              </a:defRPr>
            </a:lvl3pPr>
            <a:lvl4pPr marL="1116000" indent="-288000">
              <a:lnSpc>
                <a:spcPct val="100000"/>
              </a:lnSpc>
              <a:spcBef>
                <a:spcPts val="800"/>
              </a:spcBef>
              <a:buFontTx/>
              <a:buBlip>
                <a:blip r:embed="rId5"/>
              </a:buBlip>
              <a:defRPr sz="1800">
                <a:solidFill>
                  <a:schemeClr val="accent6">
                    <a:lumMod val="50000"/>
                  </a:schemeClr>
                </a:solidFill>
              </a:defRPr>
            </a:lvl4pPr>
            <a:lvl5pPr marL="0" marR="0" indent="0" algn="l" defTabSz="914400" rtl="0" eaLnBrk="1" fontAlgn="auto" latinLnBrk="0" hangingPunct="1">
              <a:lnSpc>
                <a:spcPct val="100000"/>
              </a:lnSpc>
              <a:spcBef>
                <a:spcPts val="800"/>
              </a:spcBef>
              <a:spcAft>
                <a:spcPts val="0"/>
              </a:spcAft>
              <a:buClrTx/>
              <a:buSzTx/>
              <a:buFont typeface="Arial" panose="020B0604020202020204" pitchFamily="34" charset="0"/>
              <a:buNone/>
              <a:tabLst/>
              <a:defRPr sz="1800" b="0">
                <a:solidFill>
                  <a:schemeClr val="accent6">
                    <a:lumMod val="50000"/>
                  </a:schemeClr>
                </a:solidFill>
              </a:defRPr>
            </a:lvl5pPr>
            <a:lvl6pPr marL="2514600" indent="-228600">
              <a:buNone/>
              <a:defRPr/>
            </a:lvl6pPr>
          </a:lstStyle>
          <a:p>
            <a:pPr lvl="4"/>
            <a:r>
              <a:rPr lang="de-DE"/>
              <a:t>Lorem ipsum dolor sit amet, consetetur sadipscing elitr, sed diam nonumy eirmod tempor invidunt ut labore et dolore magna aliquyam erat, sed diam voluptua. At vero eos et accusam et justo duo dolores et ea rebum. Stet clita kasd gubergren, no sea takimata sanctus est Lorem ipsum dolor sit amet. </a:t>
            </a:r>
          </a:p>
        </p:txBody>
      </p:sp>
      <p:sp>
        <p:nvSpPr>
          <p:cNvPr id="4" name="Datumsplatzhalter 3">
            <a:extLst>
              <a:ext uri="{FF2B5EF4-FFF2-40B4-BE49-F238E27FC236}">
                <a16:creationId xmlns:a16="http://schemas.microsoft.com/office/drawing/2014/main" id="{0B7B921C-DD71-4F98-A33D-A7936778058D}"/>
              </a:ext>
            </a:extLst>
          </p:cNvPr>
          <p:cNvSpPr>
            <a:spLocks noGrp="1"/>
          </p:cNvSpPr>
          <p:nvPr>
            <p:ph type="dt" sz="half" idx="10"/>
          </p:nvPr>
        </p:nvSpPr>
        <p:spPr/>
        <p:txBody>
          <a:bodyPr/>
          <a:lstStyle/>
          <a:p>
            <a:fld id="{954FAA68-8424-49CC-BBA6-901AA0E85728}" type="datetime1">
              <a:rPr lang="en-US" smtClean="0"/>
              <a:t>11/29/2021</a:t>
            </a:fld>
            <a:endParaRPr lang="de-DE"/>
          </a:p>
        </p:txBody>
      </p:sp>
      <p:sp>
        <p:nvSpPr>
          <p:cNvPr id="5" name="Fußzeilenplatzhalter 4">
            <a:extLst>
              <a:ext uri="{FF2B5EF4-FFF2-40B4-BE49-F238E27FC236}">
                <a16:creationId xmlns:a16="http://schemas.microsoft.com/office/drawing/2014/main" id="{F8372CDE-0269-4A13-98B5-C2021453FF9D}"/>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C57CF5D1-2B71-44E7-BD5F-23474545DB7B}"/>
              </a:ext>
            </a:extLst>
          </p:cNvPr>
          <p:cNvSpPr>
            <a:spLocks noGrp="1"/>
          </p:cNvSpPr>
          <p:nvPr>
            <p:ph type="sldNum" sz="quarter" idx="12"/>
          </p:nvPr>
        </p:nvSpPr>
        <p:spPr/>
        <p:txBody>
          <a:bodyPr/>
          <a:lstStyle/>
          <a:p>
            <a:fld id="{46735E09-D06A-4765-B4D1-A70A5B2E5B6E}" type="slidenum">
              <a:rPr lang="de-DE" smtClean="0"/>
              <a:t>‹N°›</a:t>
            </a:fld>
            <a:endParaRPr lang="de-DE"/>
          </a:p>
        </p:txBody>
      </p:sp>
      <p:sp>
        <p:nvSpPr>
          <p:cNvPr id="10" name="Titel 1">
            <a:extLst>
              <a:ext uri="{FF2B5EF4-FFF2-40B4-BE49-F238E27FC236}">
                <a16:creationId xmlns:a16="http://schemas.microsoft.com/office/drawing/2014/main" id="{3A814B79-7DD9-4587-A8FC-4C56C805E79B}"/>
              </a:ext>
            </a:extLst>
          </p:cNvPr>
          <p:cNvSpPr>
            <a:spLocks noGrp="1"/>
          </p:cNvSpPr>
          <p:nvPr>
            <p:ph type="title" hasCustomPrompt="1"/>
          </p:nvPr>
        </p:nvSpPr>
        <p:spPr>
          <a:xfrm>
            <a:off x="515938" y="453851"/>
            <a:ext cx="6875155" cy="757619"/>
          </a:xfrm>
          <a:prstGeom prst="rect">
            <a:avLst/>
          </a:prstGeom>
        </p:spPr>
        <p:txBody>
          <a:bodyPr lIns="0" tIns="0" rIns="0"/>
          <a:lstStyle>
            <a:lvl1pPr>
              <a:defRPr sz="2900" b="0">
                <a:solidFill>
                  <a:schemeClr val="tx2"/>
                </a:solidFill>
              </a:defRPr>
            </a:lvl1pPr>
          </a:lstStyle>
          <a:p>
            <a:r>
              <a:rPr lang="de-DE"/>
              <a:t>This is a headline</a:t>
            </a:r>
          </a:p>
        </p:txBody>
      </p:sp>
      <p:pic>
        <p:nvPicPr>
          <p:cNvPr id="8" name="Grafik 7">
            <a:extLst>
              <a:ext uri="{FF2B5EF4-FFF2-40B4-BE49-F238E27FC236}">
                <a16:creationId xmlns:a16="http://schemas.microsoft.com/office/drawing/2014/main" id="{41092445-41F2-46BF-BE49-6895916C6EE2}"/>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477604" y="368300"/>
            <a:ext cx="1184400" cy="660531"/>
          </a:xfrm>
          <a:prstGeom prst="rect">
            <a:avLst/>
          </a:prstGeom>
        </p:spPr>
      </p:pic>
    </p:spTree>
    <p:extLst>
      <p:ext uri="{BB962C8B-B14F-4D97-AF65-F5344CB8AC3E}">
        <p14:creationId xmlns:p14="http://schemas.microsoft.com/office/powerpoint/2010/main" val="209401506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2_content">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0B7B921C-DD71-4F98-A33D-A7936778058D}"/>
              </a:ext>
            </a:extLst>
          </p:cNvPr>
          <p:cNvSpPr>
            <a:spLocks noGrp="1"/>
          </p:cNvSpPr>
          <p:nvPr>
            <p:ph type="dt" sz="half" idx="10"/>
          </p:nvPr>
        </p:nvSpPr>
        <p:spPr/>
        <p:txBody>
          <a:bodyPr/>
          <a:lstStyle/>
          <a:p>
            <a:fld id="{D7E0C85F-776D-41A8-8438-24D95F72EDF5}" type="datetime1">
              <a:rPr lang="en-US" smtClean="0"/>
              <a:t>11/29/2021</a:t>
            </a:fld>
            <a:endParaRPr lang="de-DE"/>
          </a:p>
        </p:txBody>
      </p:sp>
      <p:sp>
        <p:nvSpPr>
          <p:cNvPr id="5" name="Fußzeilenplatzhalter 4">
            <a:extLst>
              <a:ext uri="{FF2B5EF4-FFF2-40B4-BE49-F238E27FC236}">
                <a16:creationId xmlns:a16="http://schemas.microsoft.com/office/drawing/2014/main" id="{F8372CDE-0269-4A13-98B5-C2021453FF9D}"/>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C57CF5D1-2B71-44E7-BD5F-23474545DB7B}"/>
              </a:ext>
            </a:extLst>
          </p:cNvPr>
          <p:cNvSpPr>
            <a:spLocks noGrp="1"/>
          </p:cNvSpPr>
          <p:nvPr>
            <p:ph type="sldNum" sz="quarter" idx="12"/>
          </p:nvPr>
        </p:nvSpPr>
        <p:spPr/>
        <p:txBody>
          <a:bodyPr/>
          <a:lstStyle/>
          <a:p>
            <a:fld id="{46735E09-D06A-4765-B4D1-A70A5B2E5B6E}" type="slidenum">
              <a:rPr lang="de-DE" smtClean="0"/>
              <a:t>‹N°›</a:t>
            </a:fld>
            <a:endParaRPr lang="de-DE"/>
          </a:p>
        </p:txBody>
      </p:sp>
      <p:pic>
        <p:nvPicPr>
          <p:cNvPr id="7" name="Grafik 6">
            <a:extLst>
              <a:ext uri="{FF2B5EF4-FFF2-40B4-BE49-F238E27FC236}">
                <a16:creationId xmlns:a16="http://schemas.microsoft.com/office/drawing/2014/main" id="{2F607DA3-FACA-410C-A2F1-29FAB9AB670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565420" y="368300"/>
            <a:ext cx="1183668" cy="658834"/>
          </a:xfrm>
          <a:prstGeom prst="rect">
            <a:avLst/>
          </a:prstGeom>
        </p:spPr>
      </p:pic>
      <p:sp>
        <p:nvSpPr>
          <p:cNvPr id="10" name="Titel 1">
            <a:extLst>
              <a:ext uri="{FF2B5EF4-FFF2-40B4-BE49-F238E27FC236}">
                <a16:creationId xmlns:a16="http://schemas.microsoft.com/office/drawing/2014/main" id="{3A814B79-7DD9-4587-A8FC-4C56C805E79B}"/>
              </a:ext>
            </a:extLst>
          </p:cNvPr>
          <p:cNvSpPr>
            <a:spLocks noGrp="1"/>
          </p:cNvSpPr>
          <p:nvPr>
            <p:ph type="title" hasCustomPrompt="1"/>
          </p:nvPr>
        </p:nvSpPr>
        <p:spPr>
          <a:xfrm>
            <a:off x="515938" y="453851"/>
            <a:ext cx="6875155" cy="757619"/>
          </a:xfrm>
          <a:prstGeom prst="rect">
            <a:avLst/>
          </a:prstGeom>
        </p:spPr>
        <p:txBody>
          <a:bodyPr lIns="0" tIns="0" rIns="0"/>
          <a:lstStyle>
            <a:lvl1pPr>
              <a:defRPr sz="2900" b="0">
                <a:solidFill>
                  <a:schemeClr val="tx2"/>
                </a:solidFill>
              </a:defRPr>
            </a:lvl1pPr>
          </a:lstStyle>
          <a:p>
            <a:r>
              <a:rPr lang="de-DE"/>
              <a:t>This is a headline</a:t>
            </a:r>
          </a:p>
        </p:txBody>
      </p:sp>
      <p:sp>
        <p:nvSpPr>
          <p:cNvPr id="8" name="Bildplatzhalter 7">
            <a:extLst>
              <a:ext uri="{FF2B5EF4-FFF2-40B4-BE49-F238E27FC236}">
                <a16:creationId xmlns:a16="http://schemas.microsoft.com/office/drawing/2014/main" id="{3BEBD704-F1F8-4C42-824D-C7DE68879B3F}"/>
              </a:ext>
            </a:extLst>
          </p:cNvPr>
          <p:cNvSpPr>
            <a:spLocks noGrp="1"/>
          </p:cNvSpPr>
          <p:nvPr>
            <p:ph type="pic" sz="quarter" idx="13" hasCustomPrompt="1"/>
          </p:nvPr>
        </p:nvSpPr>
        <p:spPr>
          <a:xfrm>
            <a:off x="0" y="0"/>
            <a:ext cx="12192000" cy="6858000"/>
          </a:xfrm>
          <a:prstGeom prst="rect">
            <a:avLst/>
          </a:prstGeom>
          <a:solidFill>
            <a:schemeClr val="bg1">
              <a:lumMod val="95000"/>
            </a:schemeClr>
          </a:solidFill>
        </p:spPr>
        <p:txBody>
          <a:bodyPr/>
          <a:lstStyle>
            <a:lvl1pPr marL="0" indent="0" algn="ctr">
              <a:buNone/>
              <a:defRPr sz="1200"/>
            </a:lvl1pPr>
          </a:lstStyle>
          <a:p>
            <a:r>
              <a:rPr lang="de-DE"/>
              <a:t>picture</a:t>
            </a:r>
          </a:p>
        </p:txBody>
      </p:sp>
      <p:sp>
        <p:nvSpPr>
          <p:cNvPr id="12" name="Bildplatzhalter 11">
            <a:extLst>
              <a:ext uri="{FF2B5EF4-FFF2-40B4-BE49-F238E27FC236}">
                <a16:creationId xmlns:a16="http://schemas.microsoft.com/office/drawing/2014/main" id="{FAE77D14-E038-48E6-AD69-050CCB79F708}"/>
              </a:ext>
            </a:extLst>
          </p:cNvPr>
          <p:cNvSpPr>
            <a:spLocks noGrp="1"/>
          </p:cNvSpPr>
          <p:nvPr>
            <p:ph type="pic" sz="quarter" idx="14"/>
          </p:nvPr>
        </p:nvSpPr>
        <p:spPr>
          <a:xfrm>
            <a:off x="-8174" y="0"/>
            <a:ext cx="5227874" cy="6858000"/>
          </a:xfrm>
          <a:prstGeom prst="rect">
            <a:avLst/>
          </a:prstGeom>
          <a:gradFill flip="none" rotWithShape="1">
            <a:gsLst>
              <a:gs pos="1770">
                <a:schemeClr val="accent2"/>
              </a:gs>
              <a:gs pos="22000">
                <a:schemeClr val="tx2">
                  <a:alpha val="74000"/>
                </a:schemeClr>
              </a:gs>
              <a:gs pos="62000">
                <a:schemeClr val="accent1">
                  <a:alpha val="0"/>
                </a:schemeClr>
              </a:gs>
            </a:gsLst>
            <a:lin ang="1500000" scaled="0"/>
            <a:tileRect/>
          </a:gradFill>
        </p:spPr>
        <p:txBody>
          <a:bodyPr/>
          <a:lstStyle>
            <a:lvl1pPr marL="0" indent="0" algn="ctr">
              <a:buNone/>
              <a:defRPr sz="800">
                <a:solidFill>
                  <a:schemeClr val="bg1">
                    <a:lumMod val="95000"/>
                  </a:schemeClr>
                </a:solidFill>
              </a:defRPr>
            </a:lvl1pPr>
          </a:lstStyle>
          <a:p>
            <a:endParaRPr lang="de-DE"/>
          </a:p>
        </p:txBody>
      </p:sp>
    </p:spTree>
    <p:extLst>
      <p:ext uri="{BB962C8B-B14F-4D97-AF65-F5344CB8AC3E}">
        <p14:creationId xmlns:p14="http://schemas.microsoft.com/office/powerpoint/2010/main" val="327875534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3_content">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0B7B921C-DD71-4F98-A33D-A7936778058D}"/>
              </a:ext>
            </a:extLst>
          </p:cNvPr>
          <p:cNvSpPr>
            <a:spLocks noGrp="1"/>
          </p:cNvSpPr>
          <p:nvPr>
            <p:ph type="dt" sz="half" idx="10"/>
          </p:nvPr>
        </p:nvSpPr>
        <p:spPr/>
        <p:txBody>
          <a:bodyPr/>
          <a:lstStyle/>
          <a:p>
            <a:fld id="{8D4626A6-E04A-4901-890B-E46FACE078DA}" type="datetime1">
              <a:rPr lang="en-US" smtClean="0"/>
              <a:t>11/29/2021</a:t>
            </a:fld>
            <a:endParaRPr lang="de-DE"/>
          </a:p>
        </p:txBody>
      </p:sp>
      <p:sp>
        <p:nvSpPr>
          <p:cNvPr id="5" name="Fußzeilenplatzhalter 4">
            <a:extLst>
              <a:ext uri="{FF2B5EF4-FFF2-40B4-BE49-F238E27FC236}">
                <a16:creationId xmlns:a16="http://schemas.microsoft.com/office/drawing/2014/main" id="{F8372CDE-0269-4A13-98B5-C2021453FF9D}"/>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C57CF5D1-2B71-44E7-BD5F-23474545DB7B}"/>
              </a:ext>
            </a:extLst>
          </p:cNvPr>
          <p:cNvSpPr>
            <a:spLocks noGrp="1"/>
          </p:cNvSpPr>
          <p:nvPr>
            <p:ph type="sldNum" sz="quarter" idx="12"/>
          </p:nvPr>
        </p:nvSpPr>
        <p:spPr/>
        <p:txBody>
          <a:bodyPr/>
          <a:lstStyle/>
          <a:p>
            <a:fld id="{46735E09-D06A-4765-B4D1-A70A5B2E5B6E}" type="slidenum">
              <a:rPr lang="de-DE" smtClean="0"/>
              <a:t>‹N°›</a:t>
            </a:fld>
            <a:endParaRPr lang="de-DE"/>
          </a:p>
        </p:txBody>
      </p:sp>
      <p:sp>
        <p:nvSpPr>
          <p:cNvPr id="10" name="Titel 1">
            <a:extLst>
              <a:ext uri="{FF2B5EF4-FFF2-40B4-BE49-F238E27FC236}">
                <a16:creationId xmlns:a16="http://schemas.microsoft.com/office/drawing/2014/main" id="{3A814B79-7DD9-4587-A8FC-4C56C805E79B}"/>
              </a:ext>
            </a:extLst>
          </p:cNvPr>
          <p:cNvSpPr>
            <a:spLocks noGrp="1"/>
          </p:cNvSpPr>
          <p:nvPr>
            <p:ph type="title" hasCustomPrompt="1"/>
          </p:nvPr>
        </p:nvSpPr>
        <p:spPr>
          <a:xfrm>
            <a:off x="515938" y="453851"/>
            <a:ext cx="6875155" cy="757619"/>
          </a:xfrm>
          <a:prstGeom prst="rect">
            <a:avLst/>
          </a:prstGeom>
        </p:spPr>
        <p:txBody>
          <a:bodyPr lIns="0" tIns="0" rIns="0"/>
          <a:lstStyle>
            <a:lvl1pPr>
              <a:defRPr sz="2900" b="0">
                <a:solidFill>
                  <a:schemeClr val="tx2"/>
                </a:solidFill>
              </a:defRPr>
            </a:lvl1pPr>
          </a:lstStyle>
          <a:p>
            <a:r>
              <a:rPr lang="de-DE"/>
              <a:t>This is a headline</a:t>
            </a:r>
          </a:p>
        </p:txBody>
      </p:sp>
      <p:pic>
        <p:nvPicPr>
          <p:cNvPr id="8" name="Grafik 7">
            <a:extLst>
              <a:ext uri="{FF2B5EF4-FFF2-40B4-BE49-F238E27FC236}">
                <a16:creationId xmlns:a16="http://schemas.microsoft.com/office/drawing/2014/main" id="{266FBCA7-87AA-423A-A57C-F133C2F27DB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77604" y="368300"/>
            <a:ext cx="1184400" cy="660531"/>
          </a:xfrm>
          <a:prstGeom prst="rect">
            <a:avLst/>
          </a:prstGeom>
        </p:spPr>
      </p:pic>
    </p:spTree>
    <p:extLst>
      <p:ext uri="{BB962C8B-B14F-4D97-AF65-F5344CB8AC3E}">
        <p14:creationId xmlns:p14="http://schemas.microsoft.com/office/powerpoint/2010/main" val="268219736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9_Nur Titel">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AB066A7F-1B93-4905-8CA9-495B41258BA8}"/>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46A158BF-703F-42D8-B1F9-19973D426E29}"/>
              </a:ext>
            </a:extLst>
          </p:cNvPr>
          <p:cNvSpPr/>
          <p:nvPr userDrawn="1"/>
        </p:nvSpPr>
        <p:spPr>
          <a:xfrm>
            <a:off x="0" y="1856100"/>
            <a:ext cx="4648200" cy="4991621"/>
          </a:xfrm>
          <a:prstGeom prst="rect">
            <a:avLst/>
          </a:prstGeom>
          <a:gradFill>
            <a:gsLst>
              <a:gs pos="0">
                <a:schemeClr val="accent2">
                  <a:lumMod val="84000"/>
                </a:schemeClr>
              </a:gs>
              <a:gs pos="69000">
                <a:schemeClr val="accent1"/>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E0A05EDB-D93B-439C-B793-E61C1AB13C25}"/>
              </a:ext>
            </a:extLst>
          </p:cNvPr>
          <p:cNvSpPr/>
          <p:nvPr userDrawn="1"/>
        </p:nvSpPr>
        <p:spPr>
          <a:xfrm>
            <a:off x="0" y="1866376"/>
            <a:ext cx="12192000" cy="4991623"/>
          </a:xfrm>
          <a:prstGeom prst="rect">
            <a:avLst/>
          </a:prstGeom>
          <a:gradFill>
            <a:gsLst>
              <a:gs pos="0">
                <a:srgbClr val="000094">
                  <a:alpha val="0"/>
                </a:srgbClr>
              </a:gs>
              <a:gs pos="100000">
                <a:schemeClr val="accent3"/>
              </a:gs>
            </a:gsLst>
            <a:lin ang="15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DC4E0629-C2B7-4E47-AC95-F0ABC8B5B2DF}"/>
              </a:ext>
            </a:extLst>
          </p:cNvPr>
          <p:cNvSpPr txBox="1"/>
          <p:nvPr userDrawn="1"/>
        </p:nvSpPr>
        <p:spPr>
          <a:xfrm>
            <a:off x="1739550" y="3189096"/>
            <a:ext cx="6680549" cy="3018772"/>
          </a:xfrm>
          <a:prstGeom prst="rect">
            <a:avLst/>
          </a:prstGeom>
          <a:noFill/>
        </p:spPr>
        <p:txBody>
          <a:bodyPr wrap="square" rtlCol="0">
            <a:noAutofit/>
          </a:bodyPr>
          <a:lstStyle/>
          <a:p>
            <a:pPr>
              <a:spcBef>
                <a:spcPts val="2000"/>
              </a:spcBef>
            </a:pPr>
            <a:endParaRPr lang="de-DE" sz="3600">
              <a:solidFill>
                <a:schemeClr val="bg1"/>
              </a:solidFill>
              <a:latin typeface="+mj-lt"/>
            </a:endParaRPr>
          </a:p>
        </p:txBody>
      </p:sp>
      <p:cxnSp>
        <p:nvCxnSpPr>
          <p:cNvPr id="11" name="Gerader Verbinder 10">
            <a:extLst>
              <a:ext uri="{FF2B5EF4-FFF2-40B4-BE49-F238E27FC236}">
                <a16:creationId xmlns:a16="http://schemas.microsoft.com/office/drawing/2014/main" id="{89365D1B-A520-4DA6-9332-856E004EFA56}"/>
              </a:ext>
            </a:extLst>
          </p:cNvPr>
          <p:cNvCxnSpPr>
            <a:cxnSpLocks/>
          </p:cNvCxnSpPr>
          <p:nvPr userDrawn="1"/>
        </p:nvCxnSpPr>
        <p:spPr>
          <a:xfrm>
            <a:off x="1911619" y="2971800"/>
            <a:ext cx="216000" cy="0"/>
          </a:xfrm>
          <a:prstGeom prst="line">
            <a:avLst/>
          </a:prstGeom>
          <a:ln w="95250" cap="rnd">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Textplatzhalter 2">
            <a:extLst>
              <a:ext uri="{FF2B5EF4-FFF2-40B4-BE49-F238E27FC236}">
                <a16:creationId xmlns:a16="http://schemas.microsoft.com/office/drawing/2014/main" id="{8ED80C3A-BE6B-4912-9314-6A51580B485B}"/>
              </a:ext>
            </a:extLst>
          </p:cNvPr>
          <p:cNvSpPr>
            <a:spLocks noGrp="1"/>
          </p:cNvSpPr>
          <p:nvPr>
            <p:ph type="body" sz="quarter" idx="10" hasCustomPrompt="1"/>
          </p:nvPr>
        </p:nvSpPr>
        <p:spPr>
          <a:xfrm>
            <a:off x="1865050" y="3296509"/>
            <a:ext cx="6680549" cy="2700337"/>
          </a:xfrm>
          <a:prstGeom prst="rect">
            <a:avLst/>
          </a:prstGeom>
        </p:spPr>
        <p:txBody>
          <a:bodyPr lIns="0" tIns="0"/>
          <a:lstStyle>
            <a:lvl1pPr marL="0" indent="0">
              <a:lnSpc>
                <a:spcPct val="100000"/>
              </a:lnSpc>
              <a:buNone/>
              <a:defRPr sz="3200">
                <a:solidFill>
                  <a:schemeClr val="bg1"/>
                </a:solidFill>
                <a:latin typeface="+mj-lt"/>
              </a:defRPr>
            </a:lvl1pPr>
            <a:lvl2pPr marL="457200" indent="0">
              <a:lnSpc>
                <a:spcPct val="100000"/>
              </a:lnSpc>
              <a:buNone/>
              <a:defRPr sz="3600">
                <a:solidFill>
                  <a:schemeClr val="bg1"/>
                </a:solidFill>
                <a:latin typeface="+mj-lt"/>
              </a:defRPr>
            </a:lvl2pPr>
            <a:lvl3pPr marL="914400" indent="0">
              <a:lnSpc>
                <a:spcPct val="100000"/>
              </a:lnSpc>
              <a:buNone/>
              <a:defRPr sz="3600">
                <a:solidFill>
                  <a:schemeClr val="bg1"/>
                </a:solidFill>
                <a:latin typeface="+mj-lt"/>
              </a:defRPr>
            </a:lvl3pPr>
            <a:lvl4pPr marL="1371600" indent="0">
              <a:lnSpc>
                <a:spcPct val="100000"/>
              </a:lnSpc>
              <a:buNone/>
              <a:defRPr sz="3600">
                <a:solidFill>
                  <a:schemeClr val="bg1"/>
                </a:solidFill>
                <a:latin typeface="+mj-lt"/>
              </a:defRPr>
            </a:lvl4pPr>
            <a:lvl5pPr marL="1828800" indent="0">
              <a:lnSpc>
                <a:spcPct val="100000"/>
              </a:lnSpc>
              <a:buNone/>
              <a:defRPr sz="3600">
                <a:solidFill>
                  <a:schemeClr val="bg1"/>
                </a:solidFill>
                <a:latin typeface="+mj-lt"/>
              </a:defRPr>
            </a:lvl5pPr>
          </a:lstStyle>
          <a:p>
            <a:pPr>
              <a:spcBef>
                <a:spcPts val="2000"/>
              </a:spcBef>
            </a:pPr>
            <a:r>
              <a:rPr lang="en-US" sz="3600" b="1" i="0" u="none" strike="noStrike" kern="1200">
                <a:solidFill>
                  <a:schemeClr val="bg1"/>
                </a:solidFill>
                <a:effectLst/>
                <a:latin typeface="+mj-lt"/>
                <a:ea typeface="+mn-ea"/>
                <a:cs typeface="+mn-cs"/>
              </a:rPr>
              <a:t>Be part </a:t>
            </a:r>
            <a:r>
              <a:rPr lang="en-US" sz="3600" b="0" i="0" u="none" strike="noStrike" kern="1200">
                <a:solidFill>
                  <a:schemeClr val="bg1"/>
                </a:solidFill>
                <a:effectLst/>
                <a:latin typeface="+mj-lt"/>
                <a:ea typeface="+mn-ea"/>
                <a:cs typeface="+mn-cs"/>
              </a:rPr>
              <a:t>of </a:t>
            </a:r>
            <a:r>
              <a:rPr lang="en-US" sz="3600" b="1" i="0" u="none" strike="noStrike" kern="1200">
                <a:solidFill>
                  <a:schemeClr val="bg1"/>
                </a:solidFill>
                <a:effectLst/>
                <a:latin typeface="+mj-lt"/>
                <a:ea typeface="+mn-ea"/>
                <a:cs typeface="+mn-cs"/>
              </a:rPr>
              <a:t>gaia-x </a:t>
            </a:r>
            <a:r>
              <a:rPr lang="en-US" sz="3600" b="0" i="0" u="none" strike="noStrike" kern="1200">
                <a:solidFill>
                  <a:schemeClr val="bg1"/>
                </a:solidFill>
                <a:effectLst/>
                <a:latin typeface="+mj-lt"/>
                <a:ea typeface="+mn-ea"/>
                <a:cs typeface="+mn-cs"/>
              </a:rPr>
              <a:t>and </a:t>
            </a:r>
            <a:r>
              <a:rPr lang="en-US" sz="3600" b="1" i="0" u="none" strike="noStrike" kern="1200">
                <a:solidFill>
                  <a:schemeClr val="bg1"/>
                </a:solidFill>
                <a:effectLst/>
                <a:latin typeface="+mj-lt"/>
                <a:ea typeface="+mn-ea"/>
                <a:cs typeface="+mn-cs"/>
              </a:rPr>
              <a:t>create </a:t>
            </a:r>
            <a:br>
              <a:rPr lang="en-US" sz="3600" b="1" i="0" u="none" strike="noStrike" kern="1200">
                <a:solidFill>
                  <a:schemeClr val="bg1"/>
                </a:solidFill>
                <a:effectLst/>
                <a:latin typeface="+mj-lt"/>
                <a:ea typeface="+mn-ea"/>
                <a:cs typeface="+mn-cs"/>
              </a:rPr>
            </a:br>
            <a:r>
              <a:rPr lang="en-US" sz="3600" b="0" i="0" u="none" strike="noStrike" kern="1200">
                <a:solidFill>
                  <a:schemeClr val="bg1"/>
                </a:solidFill>
                <a:effectLst/>
                <a:latin typeface="+mj-lt"/>
                <a:ea typeface="+mn-ea"/>
                <a:cs typeface="+mn-cs"/>
              </a:rPr>
              <a:t>a</a:t>
            </a:r>
            <a:r>
              <a:rPr lang="en-US" sz="3600" b="1" i="0" u="none" strike="noStrike" kern="1200">
                <a:solidFill>
                  <a:schemeClr val="bg1"/>
                </a:solidFill>
                <a:effectLst/>
                <a:latin typeface="+mj-lt"/>
                <a:ea typeface="+mn-ea"/>
                <a:cs typeface="+mn-cs"/>
              </a:rPr>
              <a:t> future </a:t>
            </a:r>
            <a:r>
              <a:rPr lang="en-US" sz="3600" b="0" i="0" u="none" strike="noStrike" kern="1200">
                <a:solidFill>
                  <a:schemeClr val="bg1"/>
                </a:solidFill>
                <a:effectLst/>
                <a:latin typeface="+mj-lt"/>
                <a:ea typeface="+mn-ea"/>
                <a:cs typeface="+mn-cs"/>
              </a:rPr>
              <a:t>that is both </a:t>
            </a:r>
            <a:r>
              <a:rPr lang="en-US" sz="3600" b="1" i="0" u="none" strike="noStrike" kern="1200">
                <a:solidFill>
                  <a:schemeClr val="bg1"/>
                </a:solidFill>
                <a:effectLst/>
                <a:latin typeface="+mj-lt"/>
                <a:ea typeface="+mn-ea"/>
                <a:cs typeface="+mn-cs"/>
              </a:rPr>
              <a:t>open </a:t>
            </a:r>
            <a:r>
              <a:rPr lang="en-US" sz="3600" b="0" i="0" u="none" strike="noStrike" kern="1200">
                <a:solidFill>
                  <a:schemeClr val="bg1"/>
                </a:solidFill>
                <a:effectLst/>
                <a:latin typeface="+mj-lt"/>
                <a:ea typeface="+mn-ea"/>
                <a:cs typeface="+mn-cs"/>
              </a:rPr>
              <a:t>and</a:t>
            </a:r>
            <a:r>
              <a:rPr lang="en-US" sz="3600" b="1" i="0" u="none" strike="noStrike" kern="1200">
                <a:solidFill>
                  <a:schemeClr val="bg1"/>
                </a:solidFill>
                <a:effectLst/>
                <a:latin typeface="+mj-lt"/>
                <a:ea typeface="+mn-ea"/>
                <a:cs typeface="+mn-cs"/>
              </a:rPr>
              <a:t> fair</a:t>
            </a:r>
            <a:r>
              <a:rPr lang="en-US" sz="3600" b="0" i="0" u="none" strike="noStrike" kern="1200">
                <a:solidFill>
                  <a:schemeClr val="bg1"/>
                </a:solidFill>
                <a:effectLst/>
                <a:latin typeface="+mj-lt"/>
                <a:ea typeface="+mn-ea"/>
                <a:cs typeface="+mn-cs"/>
              </a:rPr>
              <a:t>!</a:t>
            </a:r>
            <a:r>
              <a:rPr lang="en-US" sz="3600" b="0" i="0" kern="1200">
                <a:solidFill>
                  <a:schemeClr val="bg1"/>
                </a:solidFill>
                <a:effectLst/>
                <a:latin typeface="+mj-lt"/>
                <a:ea typeface="+mn-ea"/>
                <a:cs typeface="+mn-cs"/>
              </a:rPr>
              <a:t>​</a:t>
            </a:r>
          </a:p>
          <a:p>
            <a:pPr>
              <a:spcBef>
                <a:spcPts val="2000"/>
              </a:spcBef>
            </a:pPr>
            <a:r>
              <a:rPr lang="en-US" sz="3600" b="0" i="0" u="none" strike="noStrike" kern="1200">
                <a:solidFill>
                  <a:schemeClr val="bg1"/>
                </a:solidFill>
                <a:effectLst/>
                <a:latin typeface="+mj-lt"/>
                <a:ea typeface="+mn-ea"/>
                <a:cs typeface="+mn-cs"/>
              </a:rPr>
              <a:t>We are </a:t>
            </a:r>
            <a:r>
              <a:rPr lang="en-US" sz="3600" b="1" i="0" u="none" strike="noStrike" kern="1200">
                <a:solidFill>
                  <a:schemeClr val="bg1"/>
                </a:solidFill>
                <a:effectLst/>
                <a:latin typeface="+mj-lt"/>
                <a:ea typeface="+mn-ea"/>
                <a:cs typeface="+mn-cs"/>
              </a:rPr>
              <a:t>happy</a:t>
            </a:r>
            <a:r>
              <a:rPr lang="en-US" sz="3600" b="0" i="0" u="none" strike="noStrike" kern="1200">
                <a:solidFill>
                  <a:schemeClr val="bg1"/>
                </a:solidFill>
                <a:effectLst/>
                <a:latin typeface="+mj-lt"/>
                <a:ea typeface="+mn-ea"/>
                <a:cs typeface="+mn-cs"/>
              </a:rPr>
              <a:t> to </a:t>
            </a:r>
            <a:r>
              <a:rPr lang="en-US" sz="3600" b="1" i="0" u="none" strike="noStrike" kern="1200">
                <a:solidFill>
                  <a:schemeClr val="bg1"/>
                </a:solidFill>
                <a:effectLst/>
                <a:latin typeface="+mj-lt"/>
                <a:ea typeface="+mn-ea"/>
                <a:cs typeface="+mn-cs"/>
              </a:rPr>
              <a:t>have you with us</a:t>
            </a:r>
            <a:r>
              <a:rPr lang="en-US" sz="3600" b="0" i="0" u="none" strike="noStrike" kern="1200">
                <a:solidFill>
                  <a:schemeClr val="bg1"/>
                </a:solidFill>
                <a:effectLst/>
                <a:latin typeface="+mj-lt"/>
                <a:ea typeface="+mn-ea"/>
                <a:cs typeface="+mn-cs"/>
              </a:rPr>
              <a:t> and </a:t>
            </a:r>
            <a:r>
              <a:rPr lang="en-US" sz="3600" b="1" i="0" u="none" strike="noStrike" kern="1200">
                <a:solidFill>
                  <a:schemeClr val="bg1"/>
                </a:solidFill>
                <a:effectLst/>
                <a:latin typeface="+mj-lt"/>
                <a:ea typeface="+mn-ea"/>
                <a:cs typeface="+mn-cs"/>
              </a:rPr>
              <a:t>welcome you</a:t>
            </a:r>
            <a:r>
              <a:rPr lang="en-US" sz="3600" b="0" i="0" u="none" strike="noStrike" kern="1200">
                <a:solidFill>
                  <a:schemeClr val="bg1"/>
                </a:solidFill>
                <a:effectLst/>
                <a:latin typeface="+mj-lt"/>
                <a:ea typeface="+mn-ea"/>
                <a:cs typeface="+mn-cs"/>
              </a:rPr>
              <a:t>.</a:t>
            </a:r>
            <a:r>
              <a:rPr lang="en-US" sz="3600" b="0" i="0" kern="1200">
                <a:solidFill>
                  <a:schemeClr val="bg1"/>
                </a:solidFill>
                <a:effectLst/>
                <a:latin typeface="+mj-lt"/>
                <a:ea typeface="+mn-ea"/>
                <a:cs typeface="+mn-cs"/>
              </a:rPr>
              <a:t>​</a:t>
            </a:r>
            <a:endParaRPr lang="de-DE" sz="3600">
              <a:solidFill>
                <a:schemeClr val="bg1"/>
              </a:solidFill>
              <a:latin typeface="+mj-lt"/>
            </a:endParaRPr>
          </a:p>
        </p:txBody>
      </p:sp>
      <p:pic>
        <p:nvPicPr>
          <p:cNvPr id="9" name="Grafik 8">
            <a:extLst>
              <a:ext uri="{FF2B5EF4-FFF2-40B4-BE49-F238E27FC236}">
                <a16:creationId xmlns:a16="http://schemas.microsoft.com/office/drawing/2014/main" id="{C03AF734-3C6F-44E8-BB71-394A72D714B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25026" y="452664"/>
            <a:ext cx="1728000" cy="963692"/>
          </a:xfrm>
          <a:prstGeom prst="rect">
            <a:avLst/>
          </a:prstGeom>
        </p:spPr>
      </p:pic>
    </p:spTree>
    <p:extLst>
      <p:ext uri="{BB962C8B-B14F-4D97-AF65-F5344CB8AC3E}">
        <p14:creationId xmlns:p14="http://schemas.microsoft.com/office/powerpoint/2010/main" val="388589659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59481B-12CC-43AF-AC55-1551FB6AE6BA}"/>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de-DE"/>
          </a:p>
        </p:txBody>
      </p:sp>
      <p:sp>
        <p:nvSpPr>
          <p:cNvPr id="3" name="Date Placeholder 2">
            <a:extLst>
              <a:ext uri="{FF2B5EF4-FFF2-40B4-BE49-F238E27FC236}">
                <a16:creationId xmlns:a16="http://schemas.microsoft.com/office/drawing/2014/main" id="{B4086A71-CCE3-40DA-A453-3DDF6B37C1C4}"/>
              </a:ext>
            </a:extLst>
          </p:cNvPr>
          <p:cNvSpPr>
            <a:spLocks noGrp="1"/>
          </p:cNvSpPr>
          <p:nvPr>
            <p:ph type="dt" sz="half" idx="10"/>
          </p:nvPr>
        </p:nvSpPr>
        <p:spPr/>
        <p:txBody>
          <a:bodyPr/>
          <a:lstStyle/>
          <a:p>
            <a:fld id="{B0FF34AC-DBB8-414F-9448-EA69D0E9E08A}" type="datetime1">
              <a:rPr lang="en-US" smtClean="0"/>
              <a:t>11/29/2021</a:t>
            </a:fld>
            <a:endParaRPr lang="de-DE"/>
          </a:p>
        </p:txBody>
      </p:sp>
      <p:sp>
        <p:nvSpPr>
          <p:cNvPr id="4" name="Footer Placeholder 3">
            <a:extLst>
              <a:ext uri="{FF2B5EF4-FFF2-40B4-BE49-F238E27FC236}">
                <a16:creationId xmlns:a16="http://schemas.microsoft.com/office/drawing/2014/main" id="{7293AA63-B768-4B70-BEF9-DA47FEBCEE9A}"/>
              </a:ext>
            </a:extLst>
          </p:cNvPr>
          <p:cNvSpPr>
            <a:spLocks noGrp="1"/>
          </p:cNvSpPr>
          <p:nvPr>
            <p:ph type="ftr" sz="quarter" idx="11"/>
          </p:nvPr>
        </p:nvSpPr>
        <p:spPr/>
        <p:txBody>
          <a:bodyPr/>
          <a:lstStyle/>
          <a:p>
            <a:endParaRPr lang="de-DE"/>
          </a:p>
        </p:txBody>
      </p:sp>
      <p:sp>
        <p:nvSpPr>
          <p:cNvPr id="5" name="Slide Number Placeholder 4">
            <a:extLst>
              <a:ext uri="{FF2B5EF4-FFF2-40B4-BE49-F238E27FC236}">
                <a16:creationId xmlns:a16="http://schemas.microsoft.com/office/drawing/2014/main" id="{D2455AF5-438E-4209-9EED-AB3B80723D1F}"/>
              </a:ext>
            </a:extLst>
          </p:cNvPr>
          <p:cNvSpPr>
            <a:spLocks noGrp="1"/>
          </p:cNvSpPr>
          <p:nvPr>
            <p:ph type="sldNum" sz="quarter" idx="12"/>
          </p:nvPr>
        </p:nvSpPr>
        <p:spPr/>
        <p:txBody>
          <a:bodyPr/>
          <a:lstStyle/>
          <a:p>
            <a:fld id="{46735E09-D06A-4765-B4D1-A70A5B2E5B6E}" type="slidenum">
              <a:rPr lang="de-DE" smtClean="0"/>
              <a:pPr/>
              <a:t>‹N°›</a:t>
            </a:fld>
            <a:endParaRPr lang="de-DE"/>
          </a:p>
        </p:txBody>
      </p:sp>
    </p:spTree>
    <p:extLst>
      <p:ext uri="{BB962C8B-B14F-4D97-AF65-F5344CB8AC3E}">
        <p14:creationId xmlns:p14="http://schemas.microsoft.com/office/powerpoint/2010/main" val="4194136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06857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9_Imprint">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AB066A7F-1B93-4905-8CA9-495B41258BA8}"/>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2" name="Rechteck 11">
            <a:extLst>
              <a:ext uri="{FF2B5EF4-FFF2-40B4-BE49-F238E27FC236}">
                <a16:creationId xmlns:a16="http://schemas.microsoft.com/office/drawing/2014/main" id="{46A158BF-703F-42D8-B1F9-19973D426E29}"/>
              </a:ext>
            </a:extLst>
          </p:cNvPr>
          <p:cNvSpPr/>
          <p:nvPr userDrawn="1"/>
        </p:nvSpPr>
        <p:spPr>
          <a:xfrm>
            <a:off x="0" y="1856100"/>
            <a:ext cx="4648200" cy="4991621"/>
          </a:xfrm>
          <a:prstGeom prst="rect">
            <a:avLst/>
          </a:prstGeom>
          <a:gradFill>
            <a:gsLst>
              <a:gs pos="0">
                <a:schemeClr val="accent2">
                  <a:lumMod val="84000"/>
                </a:schemeClr>
              </a:gs>
              <a:gs pos="69000">
                <a:schemeClr val="accent1"/>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8" name="Rechteck 7">
            <a:extLst>
              <a:ext uri="{FF2B5EF4-FFF2-40B4-BE49-F238E27FC236}">
                <a16:creationId xmlns:a16="http://schemas.microsoft.com/office/drawing/2014/main" id="{E0A05EDB-D93B-439C-B793-E61C1AB13C25}"/>
              </a:ext>
            </a:extLst>
          </p:cNvPr>
          <p:cNvSpPr/>
          <p:nvPr userDrawn="1"/>
        </p:nvSpPr>
        <p:spPr>
          <a:xfrm>
            <a:off x="0" y="1866376"/>
            <a:ext cx="12192000" cy="4991623"/>
          </a:xfrm>
          <a:prstGeom prst="rect">
            <a:avLst/>
          </a:prstGeom>
          <a:gradFill>
            <a:gsLst>
              <a:gs pos="0">
                <a:srgbClr val="000094">
                  <a:alpha val="0"/>
                </a:srgbClr>
              </a:gs>
              <a:gs pos="100000">
                <a:schemeClr val="accent3"/>
              </a:gs>
            </a:gsLst>
            <a:lin ang="15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10" name="Textfeld 9">
            <a:extLst>
              <a:ext uri="{FF2B5EF4-FFF2-40B4-BE49-F238E27FC236}">
                <a16:creationId xmlns:a16="http://schemas.microsoft.com/office/drawing/2014/main" id="{DC4E0629-C2B7-4E47-AC95-F0ABC8B5B2DF}"/>
              </a:ext>
            </a:extLst>
          </p:cNvPr>
          <p:cNvSpPr txBox="1"/>
          <p:nvPr userDrawn="1"/>
        </p:nvSpPr>
        <p:spPr>
          <a:xfrm>
            <a:off x="1739550" y="3198149"/>
            <a:ext cx="6680549" cy="3018772"/>
          </a:xfrm>
          <a:prstGeom prst="rect">
            <a:avLst/>
          </a:prstGeom>
          <a:noFill/>
        </p:spPr>
        <p:txBody>
          <a:bodyPr wrap="square" rtlCol="0">
            <a:noAutofit/>
          </a:bodyPr>
          <a:lstStyle/>
          <a:p>
            <a:pPr>
              <a:spcBef>
                <a:spcPts val="2000"/>
              </a:spcBef>
            </a:pPr>
            <a:endParaRPr lang="en-GB" sz="3600" noProof="0">
              <a:solidFill>
                <a:schemeClr val="bg1"/>
              </a:solidFill>
              <a:latin typeface="+mj-lt"/>
            </a:endParaRPr>
          </a:p>
        </p:txBody>
      </p:sp>
      <p:cxnSp>
        <p:nvCxnSpPr>
          <p:cNvPr id="11" name="Gerader Verbinder 10">
            <a:extLst>
              <a:ext uri="{FF2B5EF4-FFF2-40B4-BE49-F238E27FC236}">
                <a16:creationId xmlns:a16="http://schemas.microsoft.com/office/drawing/2014/main" id="{89365D1B-A520-4DA6-9332-856E004EFA56}"/>
              </a:ext>
            </a:extLst>
          </p:cNvPr>
          <p:cNvCxnSpPr>
            <a:cxnSpLocks/>
          </p:cNvCxnSpPr>
          <p:nvPr userDrawn="1"/>
        </p:nvCxnSpPr>
        <p:spPr>
          <a:xfrm>
            <a:off x="1911619" y="2971800"/>
            <a:ext cx="216000" cy="0"/>
          </a:xfrm>
          <a:prstGeom prst="line">
            <a:avLst/>
          </a:prstGeom>
          <a:ln w="95250" cap="rnd">
            <a:solidFill>
              <a:schemeClr val="accent3"/>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EE614E4D-63B9-415B-B7D0-2741E54A072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25026" y="452664"/>
            <a:ext cx="1728000" cy="963692"/>
          </a:xfrm>
          <a:prstGeom prst="rect">
            <a:avLst/>
          </a:prstGeom>
        </p:spPr>
      </p:pic>
      <p:sp>
        <p:nvSpPr>
          <p:cNvPr id="19" name="Textplatzhalter 17">
            <a:extLst>
              <a:ext uri="{FF2B5EF4-FFF2-40B4-BE49-F238E27FC236}">
                <a16:creationId xmlns:a16="http://schemas.microsoft.com/office/drawing/2014/main" id="{6CB84198-E19C-47B2-B123-9A4656E1D547}"/>
              </a:ext>
            </a:extLst>
          </p:cNvPr>
          <p:cNvSpPr>
            <a:spLocks noGrp="1"/>
          </p:cNvSpPr>
          <p:nvPr>
            <p:ph type="body" sz="quarter" idx="13" hasCustomPrompt="1"/>
          </p:nvPr>
        </p:nvSpPr>
        <p:spPr>
          <a:xfrm>
            <a:off x="1865051" y="3296510"/>
            <a:ext cx="6397625" cy="1346200"/>
          </a:xfrm>
          <a:prstGeom prst="rect">
            <a:avLst/>
          </a:prstGeom>
        </p:spPr>
        <p:txBody>
          <a:bodyPr lIns="0" tIns="0"/>
          <a:lstStyle>
            <a:lvl1pPr marL="0" indent="0">
              <a:buNone/>
              <a:defRPr sz="4800" b="1">
                <a:solidFill>
                  <a:schemeClr val="bg1"/>
                </a:solidFill>
              </a:defRPr>
            </a:lvl1pPr>
          </a:lstStyle>
          <a:p>
            <a:pPr lvl="0"/>
            <a:r>
              <a:rPr lang="en-GB" noProof="0"/>
              <a:t>Thank you!</a:t>
            </a:r>
          </a:p>
        </p:txBody>
      </p:sp>
    </p:spTree>
    <p:extLst>
      <p:ext uri="{BB962C8B-B14F-4D97-AF65-F5344CB8AC3E}">
        <p14:creationId xmlns:p14="http://schemas.microsoft.com/office/powerpoint/2010/main" val="23827765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4_title">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C5AE839C-AA80-4CF6-AC9C-0ACE6C08EF8D}"/>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a:stretch/>
        </p:blipFill>
        <p:spPr>
          <a:xfrm>
            <a:off x="-5747" y="1420617"/>
            <a:ext cx="12212834" cy="5446292"/>
          </a:xfrm>
          <a:prstGeom prst="rect">
            <a:avLst/>
          </a:prstGeom>
        </p:spPr>
      </p:pic>
      <p:sp>
        <p:nvSpPr>
          <p:cNvPr id="11" name="Rechteck 10">
            <a:extLst>
              <a:ext uri="{FF2B5EF4-FFF2-40B4-BE49-F238E27FC236}">
                <a16:creationId xmlns:a16="http://schemas.microsoft.com/office/drawing/2014/main" id="{5214EF93-2455-4E3F-91E0-B7943F671804}"/>
              </a:ext>
            </a:extLst>
          </p:cNvPr>
          <p:cNvSpPr/>
          <p:nvPr userDrawn="1"/>
        </p:nvSpPr>
        <p:spPr>
          <a:xfrm rot="10800000">
            <a:off x="-20835" y="-44918"/>
            <a:ext cx="12212834" cy="147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latin typeface="+mj-lt"/>
            </a:endParaRPr>
          </a:p>
        </p:txBody>
      </p:sp>
      <p:sp>
        <p:nvSpPr>
          <p:cNvPr id="4" name="Rechteck 3">
            <a:extLst>
              <a:ext uri="{FF2B5EF4-FFF2-40B4-BE49-F238E27FC236}">
                <a16:creationId xmlns:a16="http://schemas.microsoft.com/office/drawing/2014/main" id="{34E95868-D70C-4F04-BFA6-137C22D82466}"/>
              </a:ext>
            </a:extLst>
          </p:cNvPr>
          <p:cNvSpPr/>
          <p:nvPr userDrawn="1"/>
        </p:nvSpPr>
        <p:spPr>
          <a:xfrm>
            <a:off x="721895" y="2460171"/>
            <a:ext cx="5903494" cy="3907801"/>
          </a:xfrm>
          <a:prstGeom prst="rect">
            <a:avLst/>
          </a:prstGeom>
          <a:solidFill>
            <a:srgbClr val="000071">
              <a:alpha val="77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latin typeface="+mj-lt"/>
            </a:endParaRPr>
          </a:p>
        </p:txBody>
      </p:sp>
      <p:sp>
        <p:nvSpPr>
          <p:cNvPr id="2" name="Titel 1">
            <a:extLst>
              <a:ext uri="{FF2B5EF4-FFF2-40B4-BE49-F238E27FC236}">
                <a16:creationId xmlns:a16="http://schemas.microsoft.com/office/drawing/2014/main" id="{14E530E1-D8F1-47B0-86B9-533CA37FD818}"/>
              </a:ext>
            </a:extLst>
          </p:cNvPr>
          <p:cNvSpPr>
            <a:spLocks noGrp="1"/>
          </p:cNvSpPr>
          <p:nvPr>
            <p:ph type="ctrTitle" hasCustomPrompt="1"/>
          </p:nvPr>
        </p:nvSpPr>
        <p:spPr>
          <a:xfrm>
            <a:off x="1006019" y="3302380"/>
            <a:ext cx="5378738" cy="1505057"/>
          </a:xfrm>
          <a:prstGeom prst="rect">
            <a:avLst/>
          </a:prstGeom>
        </p:spPr>
        <p:txBody>
          <a:bodyPr lIns="0" tIns="0" bIns="0" anchor="b">
            <a:normAutofit/>
          </a:bodyPr>
          <a:lstStyle>
            <a:lvl1pPr algn="l">
              <a:defRPr sz="4400" b="1">
                <a:solidFill>
                  <a:schemeClr val="bg1"/>
                </a:solidFill>
              </a:defRPr>
            </a:lvl1pPr>
          </a:lstStyle>
          <a:p>
            <a:r>
              <a:rPr lang="de-DE"/>
              <a:t>This is the title of </a:t>
            </a:r>
            <a:br>
              <a:rPr lang="de-DE"/>
            </a:br>
            <a:r>
              <a:rPr lang="de-DE"/>
              <a:t>the presentation</a:t>
            </a:r>
          </a:p>
        </p:txBody>
      </p:sp>
      <p:sp>
        <p:nvSpPr>
          <p:cNvPr id="3" name="Untertitel 2">
            <a:extLst>
              <a:ext uri="{FF2B5EF4-FFF2-40B4-BE49-F238E27FC236}">
                <a16:creationId xmlns:a16="http://schemas.microsoft.com/office/drawing/2014/main" id="{C517A7B7-B810-407F-A3BD-3D293CA64DCA}"/>
              </a:ext>
            </a:extLst>
          </p:cNvPr>
          <p:cNvSpPr>
            <a:spLocks noGrp="1"/>
          </p:cNvSpPr>
          <p:nvPr>
            <p:ph type="subTitle" idx="1" hasCustomPrompt="1"/>
          </p:nvPr>
        </p:nvSpPr>
        <p:spPr>
          <a:xfrm>
            <a:off x="1006020" y="5107272"/>
            <a:ext cx="5378738" cy="603588"/>
          </a:xfrm>
          <a:prstGeom prst="rect">
            <a:avLst/>
          </a:prstGeom>
        </p:spPr>
        <p:txBody>
          <a:bodyPr lIns="0" tIns="0"/>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Edit subtitle</a:t>
            </a:r>
          </a:p>
        </p:txBody>
      </p:sp>
      <p:sp>
        <p:nvSpPr>
          <p:cNvPr id="15" name="Datumsplatzhalter 3">
            <a:extLst>
              <a:ext uri="{FF2B5EF4-FFF2-40B4-BE49-F238E27FC236}">
                <a16:creationId xmlns:a16="http://schemas.microsoft.com/office/drawing/2014/main" id="{5B12C922-31FC-4763-8ED2-982CFD5DBF1E}"/>
              </a:ext>
            </a:extLst>
          </p:cNvPr>
          <p:cNvSpPr>
            <a:spLocks noGrp="1"/>
          </p:cNvSpPr>
          <p:nvPr>
            <p:ph type="dt" sz="half" idx="10"/>
          </p:nvPr>
        </p:nvSpPr>
        <p:spPr>
          <a:xfrm>
            <a:off x="1006019" y="5836526"/>
            <a:ext cx="849775" cy="365125"/>
          </a:xfrm>
        </p:spPr>
        <p:txBody>
          <a:bodyPr/>
          <a:lstStyle>
            <a:lvl1pPr algn="l">
              <a:defRPr sz="1600">
                <a:solidFill>
                  <a:schemeClr val="bg1"/>
                </a:solidFill>
                <a:latin typeface="+mj-lt"/>
              </a:defRPr>
            </a:lvl1pPr>
          </a:lstStyle>
          <a:p>
            <a:fld id="{19D1A60D-6C19-4353-87AA-9B6102672282}" type="datetime1">
              <a:rPr lang="en-US" smtClean="0"/>
              <a:t>11/29/2021</a:t>
            </a:fld>
            <a:endParaRPr lang="de-DE"/>
          </a:p>
        </p:txBody>
      </p:sp>
      <p:pic>
        <p:nvPicPr>
          <p:cNvPr id="10" name="Grafik 9">
            <a:extLst>
              <a:ext uri="{FF2B5EF4-FFF2-40B4-BE49-F238E27FC236}">
                <a16:creationId xmlns:a16="http://schemas.microsoft.com/office/drawing/2014/main" id="{D3FCEE86-CA87-461D-BDEC-757FD809E08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01153" y="338610"/>
            <a:ext cx="1476000" cy="823154"/>
          </a:xfrm>
          <a:prstGeom prst="rect">
            <a:avLst/>
          </a:prstGeom>
        </p:spPr>
      </p:pic>
    </p:spTree>
    <p:extLst>
      <p:ext uri="{BB962C8B-B14F-4D97-AF65-F5344CB8AC3E}">
        <p14:creationId xmlns:p14="http://schemas.microsoft.com/office/powerpoint/2010/main" val="3541852622"/>
      </p:ext>
    </p:extLst>
  </p:cSld>
  <p:clrMapOvr>
    <a:masterClrMapping/>
  </p:clrMapOvr>
  <p:extLst>
    <p:ext uri="{DCECCB84-F9BA-43D5-87BE-67443E8EF086}">
      <p15:sldGuideLst xmlns:p15="http://schemas.microsoft.com/office/powerpoint/2012/main">
        <p15:guide id="1" pos="529">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5_chapter">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751ACB90-73CF-4E64-8999-95CE87B3E14A}"/>
              </a:ext>
            </a:extLst>
          </p:cNvPr>
          <p:cNvSpPr/>
          <p:nvPr userDrawn="1"/>
        </p:nvSpPr>
        <p:spPr>
          <a:xfrm>
            <a:off x="0" y="0"/>
            <a:ext cx="12192000" cy="6858000"/>
          </a:xfrm>
          <a:prstGeom prst="rect">
            <a:avLst/>
          </a:prstGeom>
          <a:gradFill>
            <a:gsLst>
              <a:gs pos="0">
                <a:srgbClr val="000094"/>
              </a:gs>
              <a:gs pos="100000">
                <a:srgbClr val="000071"/>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0" name="Grafik 29">
            <a:extLst>
              <a:ext uri="{FF2B5EF4-FFF2-40B4-BE49-F238E27FC236}">
                <a16:creationId xmlns:a16="http://schemas.microsoft.com/office/drawing/2014/main" id="{19E9DDFF-2CA2-4C97-813F-EA66BD83C786}"/>
              </a:ext>
            </a:extLst>
          </p:cNvPr>
          <p:cNvPicPr>
            <a:picLocks noChangeAspect="1"/>
          </p:cNvPicPr>
          <p:nvPr userDrawn="1"/>
        </p:nvPicPr>
        <p:blipFill>
          <a:blip r:embed="rId2">
            <a:alphaModFix amt="80000"/>
            <a:extLst>
              <a:ext uri="{28A0092B-C50C-407E-A947-70E740481C1C}">
                <a14:useLocalDpi xmlns:a14="http://schemas.microsoft.com/office/drawing/2010/main" val="0"/>
              </a:ext>
            </a:extLst>
          </a:blip>
          <a:stretch>
            <a:fillRect/>
          </a:stretch>
        </p:blipFill>
        <p:spPr>
          <a:xfrm>
            <a:off x="-1276248" y="3734173"/>
            <a:ext cx="14099619" cy="5202003"/>
          </a:xfrm>
          <a:prstGeom prst="rect">
            <a:avLst/>
          </a:prstGeom>
        </p:spPr>
      </p:pic>
      <p:sp>
        <p:nvSpPr>
          <p:cNvPr id="9" name="Rechteck 8">
            <a:extLst>
              <a:ext uri="{FF2B5EF4-FFF2-40B4-BE49-F238E27FC236}">
                <a16:creationId xmlns:a16="http://schemas.microsoft.com/office/drawing/2014/main" id="{974DE5B7-9A92-4F0B-B93D-658B5D56E0FA}"/>
              </a:ext>
            </a:extLst>
          </p:cNvPr>
          <p:cNvSpPr/>
          <p:nvPr userDrawn="1"/>
        </p:nvSpPr>
        <p:spPr>
          <a:xfrm>
            <a:off x="0" y="1856100"/>
            <a:ext cx="12192000" cy="5004000"/>
          </a:xfrm>
          <a:prstGeom prst="rect">
            <a:avLst/>
          </a:prstGeom>
          <a:gradFill>
            <a:gsLst>
              <a:gs pos="0">
                <a:schemeClr val="accent2">
                  <a:lumMod val="84000"/>
                </a:schemeClr>
              </a:gs>
              <a:gs pos="100000">
                <a:schemeClr val="accent1">
                  <a:alpha val="0"/>
                </a:scheme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D7F5EA6C-7213-4164-B221-18BD32B15237}"/>
              </a:ext>
            </a:extLst>
          </p:cNvPr>
          <p:cNvSpPr>
            <a:spLocks noGrp="1"/>
          </p:cNvSpPr>
          <p:nvPr>
            <p:ph type="title" hasCustomPrompt="1"/>
          </p:nvPr>
        </p:nvSpPr>
        <p:spPr>
          <a:xfrm>
            <a:off x="1113306" y="3576691"/>
            <a:ext cx="4365947" cy="2931773"/>
          </a:xfrm>
          <a:prstGeom prst="rect">
            <a:avLst/>
          </a:prstGeom>
        </p:spPr>
        <p:txBody>
          <a:bodyPr lIns="0" tIns="0" rIns="0" bIns="0" anchor="b"/>
          <a:lstStyle>
            <a:lvl1pPr>
              <a:defRPr sz="25000" b="0">
                <a:solidFill>
                  <a:schemeClr val="bg1"/>
                </a:solidFill>
              </a:defRPr>
            </a:lvl1pPr>
          </a:lstStyle>
          <a:p>
            <a:r>
              <a:rPr lang="de-DE"/>
              <a:t>02</a:t>
            </a:r>
          </a:p>
        </p:txBody>
      </p:sp>
      <p:sp>
        <p:nvSpPr>
          <p:cNvPr id="3" name="Textplatzhalter 2">
            <a:extLst>
              <a:ext uri="{FF2B5EF4-FFF2-40B4-BE49-F238E27FC236}">
                <a16:creationId xmlns:a16="http://schemas.microsoft.com/office/drawing/2014/main" id="{E1F4B880-D9BD-4CD7-8CAE-4EF4DD999448}"/>
              </a:ext>
            </a:extLst>
          </p:cNvPr>
          <p:cNvSpPr>
            <a:spLocks noGrp="1"/>
          </p:cNvSpPr>
          <p:nvPr>
            <p:ph type="body" idx="1" hasCustomPrompt="1"/>
          </p:nvPr>
        </p:nvSpPr>
        <p:spPr>
          <a:xfrm>
            <a:off x="4813876" y="3576691"/>
            <a:ext cx="4052666" cy="1221551"/>
          </a:xfrm>
          <a:prstGeom prst="rect">
            <a:avLst/>
          </a:prstGeom>
        </p:spPr>
        <p:txBody>
          <a:bodyPr lIns="0" tIns="0" rIns="0" bIns="0"/>
          <a:lstStyle>
            <a:lvl1pPr marL="0" indent="0">
              <a:lnSpc>
                <a:spcPct val="100000"/>
              </a:lnSpc>
              <a:spcBef>
                <a:spcPts val="0"/>
              </a:spcBef>
              <a:buNone/>
              <a:defRPr sz="2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This is a chapter </a:t>
            </a:r>
          </a:p>
          <a:p>
            <a:pPr lvl="0"/>
            <a:r>
              <a:rPr lang="de-DE"/>
              <a:t>title</a:t>
            </a:r>
          </a:p>
        </p:txBody>
      </p:sp>
      <p:pic>
        <p:nvPicPr>
          <p:cNvPr id="15" name="Grafik 14">
            <a:extLst>
              <a:ext uri="{FF2B5EF4-FFF2-40B4-BE49-F238E27FC236}">
                <a16:creationId xmlns:a16="http://schemas.microsoft.com/office/drawing/2014/main" id="{B8CA4AD4-CF3C-4B32-BEEE-89F3E0186CAE}"/>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25026" y="452664"/>
            <a:ext cx="1728000" cy="963692"/>
          </a:xfrm>
          <a:prstGeom prst="rect">
            <a:avLst/>
          </a:prstGeom>
        </p:spPr>
      </p:pic>
    </p:spTree>
    <p:extLst>
      <p:ext uri="{BB962C8B-B14F-4D97-AF65-F5344CB8AC3E}">
        <p14:creationId xmlns:p14="http://schemas.microsoft.com/office/powerpoint/2010/main" val="38743914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chapter">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751ACB90-73CF-4E64-8999-95CE87B3E14A}"/>
              </a:ext>
            </a:extLst>
          </p:cNvPr>
          <p:cNvSpPr/>
          <p:nvPr userDrawn="1"/>
        </p:nvSpPr>
        <p:spPr>
          <a:xfrm>
            <a:off x="0" y="0"/>
            <a:ext cx="12192000" cy="6858000"/>
          </a:xfrm>
          <a:prstGeom prst="rect">
            <a:avLst/>
          </a:prstGeom>
          <a:gradFill>
            <a:gsLst>
              <a:gs pos="0">
                <a:srgbClr val="000094"/>
              </a:gs>
              <a:gs pos="100000">
                <a:srgbClr val="000071"/>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a:extLst>
              <a:ext uri="{FF2B5EF4-FFF2-40B4-BE49-F238E27FC236}">
                <a16:creationId xmlns:a16="http://schemas.microsoft.com/office/drawing/2014/main" id="{71058CCE-5938-4591-9F4B-A29B24E93605}"/>
              </a:ext>
            </a:extLst>
          </p:cNvPr>
          <p:cNvSpPr/>
          <p:nvPr userDrawn="1"/>
        </p:nvSpPr>
        <p:spPr>
          <a:xfrm>
            <a:off x="0" y="1856100"/>
            <a:ext cx="12204000" cy="5004000"/>
          </a:xfrm>
          <a:prstGeom prst="rect">
            <a:avLst/>
          </a:prstGeom>
          <a:gradFill>
            <a:gsLst>
              <a:gs pos="0">
                <a:schemeClr val="accent2">
                  <a:lumMod val="84000"/>
                </a:schemeClr>
              </a:gs>
              <a:gs pos="100000">
                <a:schemeClr val="accent1">
                  <a:alpha val="0"/>
                </a:scheme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0" name="Gerader Verbinder 9">
            <a:extLst>
              <a:ext uri="{FF2B5EF4-FFF2-40B4-BE49-F238E27FC236}">
                <a16:creationId xmlns:a16="http://schemas.microsoft.com/office/drawing/2014/main" id="{E3C164B8-1808-41CD-99EA-6F175049FA95}"/>
              </a:ext>
            </a:extLst>
          </p:cNvPr>
          <p:cNvCxnSpPr>
            <a:cxnSpLocks/>
          </p:cNvCxnSpPr>
          <p:nvPr userDrawn="1"/>
        </p:nvCxnSpPr>
        <p:spPr>
          <a:xfrm>
            <a:off x="4813876" y="3576691"/>
            <a:ext cx="234000" cy="0"/>
          </a:xfrm>
          <a:prstGeom prst="line">
            <a:avLst/>
          </a:prstGeom>
          <a:ln w="5715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itel 1">
            <a:extLst>
              <a:ext uri="{FF2B5EF4-FFF2-40B4-BE49-F238E27FC236}">
                <a16:creationId xmlns:a16="http://schemas.microsoft.com/office/drawing/2014/main" id="{6A8248FC-08B1-48A4-886E-7BA25F912ABD}"/>
              </a:ext>
            </a:extLst>
          </p:cNvPr>
          <p:cNvSpPr>
            <a:spLocks noGrp="1"/>
          </p:cNvSpPr>
          <p:nvPr>
            <p:ph type="title" hasCustomPrompt="1"/>
          </p:nvPr>
        </p:nvSpPr>
        <p:spPr>
          <a:xfrm>
            <a:off x="1113307" y="3576691"/>
            <a:ext cx="3795820" cy="2931773"/>
          </a:xfrm>
          <a:prstGeom prst="rect">
            <a:avLst/>
          </a:prstGeom>
        </p:spPr>
        <p:txBody>
          <a:bodyPr lIns="0" tIns="0" rIns="0" bIns="0" anchor="b"/>
          <a:lstStyle>
            <a:lvl1pPr>
              <a:defRPr sz="25000" b="0">
                <a:solidFill>
                  <a:schemeClr val="bg1"/>
                </a:solidFill>
              </a:defRPr>
            </a:lvl1pPr>
          </a:lstStyle>
          <a:p>
            <a:r>
              <a:rPr lang="de-DE"/>
              <a:t>02</a:t>
            </a:r>
          </a:p>
        </p:txBody>
      </p:sp>
      <p:sp>
        <p:nvSpPr>
          <p:cNvPr id="19" name="Textplatzhalter 2">
            <a:extLst>
              <a:ext uri="{FF2B5EF4-FFF2-40B4-BE49-F238E27FC236}">
                <a16:creationId xmlns:a16="http://schemas.microsoft.com/office/drawing/2014/main" id="{BA9B036D-1374-41FC-AE47-FA2BC92E74EB}"/>
              </a:ext>
            </a:extLst>
          </p:cNvPr>
          <p:cNvSpPr>
            <a:spLocks noGrp="1"/>
          </p:cNvSpPr>
          <p:nvPr>
            <p:ph type="body" idx="1" hasCustomPrompt="1"/>
          </p:nvPr>
        </p:nvSpPr>
        <p:spPr>
          <a:xfrm>
            <a:off x="4813876" y="3871367"/>
            <a:ext cx="4052666" cy="1221551"/>
          </a:xfrm>
          <a:prstGeom prst="rect">
            <a:avLst/>
          </a:prstGeom>
        </p:spPr>
        <p:txBody>
          <a:bodyPr lIns="0" tIns="0" rIns="0" bIns="0"/>
          <a:lstStyle>
            <a:lvl1pPr marL="0" indent="0">
              <a:lnSpc>
                <a:spcPct val="100000"/>
              </a:lnSpc>
              <a:spcBef>
                <a:spcPts val="0"/>
              </a:spcBef>
              <a:buNone/>
              <a:defRPr sz="2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This is a chapter </a:t>
            </a:r>
          </a:p>
          <a:p>
            <a:pPr lvl="0"/>
            <a:r>
              <a:rPr lang="de-DE"/>
              <a:t>title</a:t>
            </a:r>
          </a:p>
        </p:txBody>
      </p:sp>
      <p:pic>
        <p:nvPicPr>
          <p:cNvPr id="11" name="Grafik 10">
            <a:extLst>
              <a:ext uri="{FF2B5EF4-FFF2-40B4-BE49-F238E27FC236}">
                <a16:creationId xmlns:a16="http://schemas.microsoft.com/office/drawing/2014/main" id="{6DA13B34-3C8D-4C7F-B0BD-50A8DBF4D6C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25026" y="452664"/>
            <a:ext cx="1728000" cy="963692"/>
          </a:xfrm>
          <a:prstGeom prst="rect">
            <a:avLst/>
          </a:prstGeom>
        </p:spPr>
      </p:pic>
    </p:spTree>
    <p:extLst>
      <p:ext uri="{BB962C8B-B14F-4D97-AF65-F5344CB8AC3E}">
        <p14:creationId xmlns:p14="http://schemas.microsoft.com/office/powerpoint/2010/main" val="11650903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_1">
    <p:spTree>
      <p:nvGrpSpPr>
        <p:cNvPr id="1" name=""/>
        <p:cNvGrpSpPr/>
        <p:nvPr/>
      </p:nvGrpSpPr>
      <p:grpSpPr>
        <a:xfrm>
          <a:off x="0" y="0"/>
          <a:ext cx="0" cy="0"/>
          <a:chOff x="0" y="0"/>
          <a:chExt cx="0" cy="0"/>
        </a:xfrm>
      </p:grpSpPr>
      <p:sp>
        <p:nvSpPr>
          <p:cNvPr id="8" name="Textplatzhalter 3">
            <a:extLst>
              <a:ext uri="{FF2B5EF4-FFF2-40B4-BE49-F238E27FC236}">
                <a16:creationId xmlns:a16="http://schemas.microsoft.com/office/drawing/2014/main" id="{31704F4A-B312-4280-A99B-AC4E41C0F8E7}"/>
              </a:ext>
            </a:extLst>
          </p:cNvPr>
          <p:cNvSpPr>
            <a:spLocks noGrp="1"/>
          </p:cNvSpPr>
          <p:nvPr>
            <p:ph type="body" sz="half" idx="2" hasCustomPrompt="1"/>
          </p:nvPr>
        </p:nvSpPr>
        <p:spPr>
          <a:xfrm>
            <a:off x="1271093" y="1606651"/>
            <a:ext cx="6120000" cy="280693"/>
          </a:xfrm>
          <a:prstGeom prst="rect">
            <a:avLst/>
          </a:prstGeom>
        </p:spPr>
        <p:txBody>
          <a:bodyPr lIns="0" tIns="0" bIns="0"/>
          <a:lstStyle>
            <a:lvl1pPr marL="0" marR="0" indent="0" algn="l" defTabSz="914400" rtl="0" eaLnBrk="1" fontAlgn="auto" latinLnBrk="0" hangingPunct="1">
              <a:lnSpc>
                <a:spcPts val="2300"/>
              </a:lnSpc>
              <a:spcBef>
                <a:spcPts val="1000"/>
              </a:spcBef>
              <a:spcAft>
                <a:spcPts val="0"/>
              </a:spcAft>
              <a:buClrTx/>
              <a:buSzTx/>
              <a:buFont typeface="Arial" panose="020B0604020202020204" pitchFamily="34" charset="0"/>
              <a:buNone/>
              <a:tabLst/>
              <a:defRPr sz="1900" b="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9" name="Inhaltsplatzhalter 3">
            <a:extLst>
              <a:ext uri="{FF2B5EF4-FFF2-40B4-BE49-F238E27FC236}">
                <a16:creationId xmlns:a16="http://schemas.microsoft.com/office/drawing/2014/main" id="{08F03557-5B71-40A8-80D8-7C031BFDD4D5}"/>
              </a:ext>
            </a:extLst>
          </p:cNvPr>
          <p:cNvSpPr>
            <a:spLocks noGrp="1"/>
          </p:cNvSpPr>
          <p:nvPr>
            <p:ph sz="half" idx="13" hasCustomPrompt="1"/>
          </p:nvPr>
        </p:nvSpPr>
        <p:spPr>
          <a:xfrm>
            <a:off x="552450" y="1606651"/>
            <a:ext cx="473075" cy="407693"/>
          </a:xfrm>
          <a:prstGeom prst="rect">
            <a:avLst/>
          </a:prstGeom>
        </p:spPr>
        <p:txBody>
          <a:bodyPr lIns="0" tIns="0" rIns="0"/>
          <a:lstStyle>
            <a:lvl1pPr marL="0" indent="0" algn="l">
              <a:lnSpc>
                <a:spcPts val="2300"/>
              </a:lnSpc>
              <a:spcBef>
                <a:spcPts val="2000"/>
              </a:spcBef>
              <a:buNone/>
              <a:defRPr sz="25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1</a:t>
            </a:r>
          </a:p>
        </p:txBody>
      </p:sp>
      <p:sp>
        <p:nvSpPr>
          <p:cNvPr id="10" name="Textplatzhalter 3">
            <a:extLst>
              <a:ext uri="{FF2B5EF4-FFF2-40B4-BE49-F238E27FC236}">
                <a16:creationId xmlns:a16="http://schemas.microsoft.com/office/drawing/2014/main" id="{34E227F7-4BD6-4C8D-A799-5AEA9C981783}"/>
              </a:ext>
            </a:extLst>
          </p:cNvPr>
          <p:cNvSpPr>
            <a:spLocks noGrp="1"/>
          </p:cNvSpPr>
          <p:nvPr>
            <p:ph type="body" sz="half" idx="15" hasCustomPrompt="1"/>
          </p:nvPr>
        </p:nvSpPr>
        <p:spPr>
          <a:xfrm>
            <a:off x="1271093" y="2225657"/>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1" name="Inhaltsplatzhalter 3">
            <a:extLst>
              <a:ext uri="{FF2B5EF4-FFF2-40B4-BE49-F238E27FC236}">
                <a16:creationId xmlns:a16="http://schemas.microsoft.com/office/drawing/2014/main" id="{D6E35B84-E933-4E37-8C47-2C4F19F1E328}"/>
              </a:ext>
            </a:extLst>
          </p:cNvPr>
          <p:cNvSpPr>
            <a:spLocks noGrp="1"/>
          </p:cNvSpPr>
          <p:nvPr>
            <p:ph sz="half" idx="16" hasCustomPrompt="1"/>
          </p:nvPr>
        </p:nvSpPr>
        <p:spPr>
          <a:xfrm>
            <a:off x="552450" y="2232007"/>
            <a:ext cx="473075" cy="407693"/>
          </a:xfrm>
          <a:prstGeom prst="rect">
            <a:avLst/>
          </a:prstGeom>
        </p:spPr>
        <p:txBody>
          <a:bodyPr lIns="0" tIns="0" rIns="0"/>
          <a:lstStyle>
            <a:lvl1pPr marL="0" indent="0" algn="l">
              <a:lnSpc>
                <a:spcPts val="2300"/>
              </a:lnSpc>
              <a:spcBef>
                <a:spcPts val="2000"/>
              </a:spcBef>
              <a:buNone/>
              <a:defRPr sz="25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2</a:t>
            </a:r>
          </a:p>
        </p:txBody>
      </p:sp>
      <p:sp>
        <p:nvSpPr>
          <p:cNvPr id="12" name="Textplatzhalter 3">
            <a:extLst>
              <a:ext uri="{FF2B5EF4-FFF2-40B4-BE49-F238E27FC236}">
                <a16:creationId xmlns:a16="http://schemas.microsoft.com/office/drawing/2014/main" id="{39FE1244-9B38-4E13-BAB9-A0FAFAC4864E}"/>
              </a:ext>
            </a:extLst>
          </p:cNvPr>
          <p:cNvSpPr>
            <a:spLocks noGrp="1"/>
          </p:cNvSpPr>
          <p:nvPr>
            <p:ph type="body" sz="half" idx="18" hasCustomPrompt="1"/>
          </p:nvPr>
        </p:nvSpPr>
        <p:spPr>
          <a:xfrm>
            <a:off x="1271093" y="2857363"/>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3" name="Inhaltsplatzhalter 3">
            <a:extLst>
              <a:ext uri="{FF2B5EF4-FFF2-40B4-BE49-F238E27FC236}">
                <a16:creationId xmlns:a16="http://schemas.microsoft.com/office/drawing/2014/main" id="{ED115436-7B46-4A85-B13B-D414D292C9E1}"/>
              </a:ext>
            </a:extLst>
          </p:cNvPr>
          <p:cNvSpPr>
            <a:spLocks noGrp="1"/>
          </p:cNvSpPr>
          <p:nvPr>
            <p:ph sz="half" idx="19" hasCustomPrompt="1"/>
          </p:nvPr>
        </p:nvSpPr>
        <p:spPr>
          <a:xfrm>
            <a:off x="552450" y="2857363"/>
            <a:ext cx="473075" cy="407693"/>
          </a:xfrm>
          <a:prstGeom prst="rect">
            <a:avLst/>
          </a:prstGeom>
        </p:spPr>
        <p:txBody>
          <a:bodyPr lIns="0" tIns="0" rIns="0"/>
          <a:lstStyle>
            <a:lvl1pPr marL="0" indent="0" algn="l">
              <a:lnSpc>
                <a:spcPts val="2300"/>
              </a:lnSpc>
              <a:spcBef>
                <a:spcPts val="2000"/>
              </a:spcBef>
              <a:buNone/>
              <a:defRPr sz="25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3</a:t>
            </a:r>
          </a:p>
        </p:txBody>
      </p:sp>
      <p:sp>
        <p:nvSpPr>
          <p:cNvPr id="14" name="Textplatzhalter 3">
            <a:extLst>
              <a:ext uri="{FF2B5EF4-FFF2-40B4-BE49-F238E27FC236}">
                <a16:creationId xmlns:a16="http://schemas.microsoft.com/office/drawing/2014/main" id="{CD48362C-06EA-4B32-8061-61E670C28D60}"/>
              </a:ext>
            </a:extLst>
          </p:cNvPr>
          <p:cNvSpPr>
            <a:spLocks noGrp="1"/>
          </p:cNvSpPr>
          <p:nvPr>
            <p:ph type="body" sz="half" idx="21" hasCustomPrompt="1"/>
          </p:nvPr>
        </p:nvSpPr>
        <p:spPr>
          <a:xfrm>
            <a:off x="1271093" y="3482719"/>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5" name="Inhaltsplatzhalter 3">
            <a:extLst>
              <a:ext uri="{FF2B5EF4-FFF2-40B4-BE49-F238E27FC236}">
                <a16:creationId xmlns:a16="http://schemas.microsoft.com/office/drawing/2014/main" id="{A8609564-AFB3-4B1E-944F-B641CB949903}"/>
              </a:ext>
            </a:extLst>
          </p:cNvPr>
          <p:cNvSpPr>
            <a:spLocks noGrp="1"/>
          </p:cNvSpPr>
          <p:nvPr>
            <p:ph sz="half" idx="22" hasCustomPrompt="1"/>
          </p:nvPr>
        </p:nvSpPr>
        <p:spPr>
          <a:xfrm>
            <a:off x="552450" y="3482719"/>
            <a:ext cx="473075" cy="407693"/>
          </a:xfrm>
          <a:prstGeom prst="rect">
            <a:avLst/>
          </a:prstGeom>
        </p:spPr>
        <p:txBody>
          <a:bodyPr lIns="0" tIns="0" rIns="0"/>
          <a:lstStyle>
            <a:lvl1pPr marL="0" indent="0" algn="l">
              <a:lnSpc>
                <a:spcPts val="2300"/>
              </a:lnSpc>
              <a:spcBef>
                <a:spcPts val="2000"/>
              </a:spcBef>
              <a:buNone/>
              <a:defRPr sz="25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4</a:t>
            </a:r>
          </a:p>
        </p:txBody>
      </p:sp>
      <p:sp>
        <p:nvSpPr>
          <p:cNvPr id="16" name="Textplatzhalter 3">
            <a:extLst>
              <a:ext uri="{FF2B5EF4-FFF2-40B4-BE49-F238E27FC236}">
                <a16:creationId xmlns:a16="http://schemas.microsoft.com/office/drawing/2014/main" id="{D4EFD030-3884-46E3-B63E-FB3A77A93E5D}"/>
              </a:ext>
            </a:extLst>
          </p:cNvPr>
          <p:cNvSpPr>
            <a:spLocks noGrp="1"/>
          </p:cNvSpPr>
          <p:nvPr>
            <p:ph type="body" sz="half" idx="24" hasCustomPrompt="1"/>
          </p:nvPr>
        </p:nvSpPr>
        <p:spPr>
          <a:xfrm>
            <a:off x="1271093" y="4108075"/>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7" name="Inhaltsplatzhalter 3">
            <a:extLst>
              <a:ext uri="{FF2B5EF4-FFF2-40B4-BE49-F238E27FC236}">
                <a16:creationId xmlns:a16="http://schemas.microsoft.com/office/drawing/2014/main" id="{8EAF93B9-68EC-4C42-9C97-45C22CDD734A}"/>
              </a:ext>
            </a:extLst>
          </p:cNvPr>
          <p:cNvSpPr>
            <a:spLocks noGrp="1"/>
          </p:cNvSpPr>
          <p:nvPr>
            <p:ph sz="half" idx="25" hasCustomPrompt="1"/>
          </p:nvPr>
        </p:nvSpPr>
        <p:spPr>
          <a:xfrm>
            <a:off x="552450" y="4108075"/>
            <a:ext cx="473075" cy="407693"/>
          </a:xfrm>
          <a:prstGeom prst="rect">
            <a:avLst/>
          </a:prstGeom>
        </p:spPr>
        <p:txBody>
          <a:bodyPr lIns="0" tIns="0" rIns="0"/>
          <a:lstStyle>
            <a:lvl1pPr marL="0" indent="0" algn="l">
              <a:lnSpc>
                <a:spcPts val="2300"/>
              </a:lnSpc>
              <a:spcBef>
                <a:spcPts val="2000"/>
              </a:spcBef>
              <a:buNone/>
              <a:defRPr sz="25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5</a:t>
            </a:r>
          </a:p>
        </p:txBody>
      </p:sp>
      <p:sp>
        <p:nvSpPr>
          <p:cNvPr id="18" name="Textplatzhalter 3">
            <a:extLst>
              <a:ext uri="{FF2B5EF4-FFF2-40B4-BE49-F238E27FC236}">
                <a16:creationId xmlns:a16="http://schemas.microsoft.com/office/drawing/2014/main" id="{C6A805B9-155F-4325-B953-748606AD9BB7}"/>
              </a:ext>
            </a:extLst>
          </p:cNvPr>
          <p:cNvSpPr>
            <a:spLocks noGrp="1"/>
          </p:cNvSpPr>
          <p:nvPr>
            <p:ph type="body" sz="half" idx="27" hasCustomPrompt="1"/>
          </p:nvPr>
        </p:nvSpPr>
        <p:spPr>
          <a:xfrm>
            <a:off x="1254764" y="4733431"/>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9" name="Inhaltsplatzhalter 3">
            <a:extLst>
              <a:ext uri="{FF2B5EF4-FFF2-40B4-BE49-F238E27FC236}">
                <a16:creationId xmlns:a16="http://schemas.microsoft.com/office/drawing/2014/main" id="{659FD8D3-911F-4202-A648-1CAC292E4AA5}"/>
              </a:ext>
            </a:extLst>
          </p:cNvPr>
          <p:cNvSpPr>
            <a:spLocks noGrp="1"/>
          </p:cNvSpPr>
          <p:nvPr>
            <p:ph sz="half" idx="28" hasCustomPrompt="1"/>
          </p:nvPr>
        </p:nvSpPr>
        <p:spPr>
          <a:xfrm>
            <a:off x="536121" y="4733431"/>
            <a:ext cx="473075" cy="407693"/>
          </a:xfrm>
          <a:prstGeom prst="rect">
            <a:avLst/>
          </a:prstGeom>
        </p:spPr>
        <p:txBody>
          <a:bodyPr lIns="0" tIns="0" rIns="0"/>
          <a:lstStyle>
            <a:lvl1pPr marL="0" indent="0" algn="l">
              <a:lnSpc>
                <a:spcPts val="2300"/>
              </a:lnSpc>
              <a:spcBef>
                <a:spcPts val="2000"/>
              </a:spcBef>
              <a:buNone/>
              <a:defRPr sz="25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6</a:t>
            </a:r>
          </a:p>
        </p:txBody>
      </p:sp>
      <p:sp>
        <p:nvSpPr>
          <p:cNvPr id="20" name="Textplatzhalter 3">
            <a:extLst>
              <a:ext uri="{FF2B5EF4-FFF2-40B4-BE49-F238E27FC236}">
                <a16:creationId xmlns:a16="http://schemas.microsoft.com/office/drawing/2014/main" id="{C8883233-3AB4-4750-B7E4-C05E86234AFA}"/>
              </a:ext>
            </a:extLst>
          </p:cNvPr>
          <p:cNvSpPr>
            <a:spLocks noGrp="1"/>
          </p:cNvSpPr>
          <p:nvPr>
            <p:ph type="body" sz="half" idx="36" hasCustomPrompt="1"/>
          </p:nvPr>
        </p:nvSpPr>
        <p:spPr>
          <a:xfrm>
            <a:off x="1254764" y="5358790"/>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21" name="Inhaltsplatzhalter 3">
            <a:extLst>
              <a:ext uri="{FF2B5EF4-FFF2-40B4-BE49-F238E27FC236}">
                <a16:creationId xmlns:a16="http://schemas.microsoft.com/office/drawing/2014/main" id="{534F42E2-7C55-44D9-B171-D2DE36F31CCE}"/>
              </a:ext>
            </a:extLst>
          </p:cNvPr>
          <p:cNvSpPr>
            <a:spLocks noGrp="1"/>
          </p:cNvSpPr>
          <p:nvPr>
            <p:ph sz="half" idx="37" hasCustomPrompt="1"/>
          </p:nvPr>
        </p:nvSpPr>
        <p:spPr>
          <a:xfrm>
            <a:off x="536121" y="5358790"/>
            <a:ext cx="473075" cy="407693"/>
          </a:xfrm>
          <a:prstGeom prst="rect">
            <a:avLst/>
          </a:prstGeom>
        </p:spPr>
        <p:txBody>
          <a:bodyPr lIns="0" tIns="0" rIns="0"/>
          <a:lstStyle>
            <a:lvl1pPr marL="0" indent="0" algn="l">
              <a:lnSpc>
                <a:spcPts val="2300"/>
              </a:lnSpc>
              <a:spcBef>
                <a:spcPts val="2000"/>
              </a:spcBef>
              <a:buNone/>
              <a:defRPr sz="25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7</a:t>
            </a:r>
          </a:p>
        </p:txBody>
      </p:sp>
      <p:cxnSp>
        <p:nvCxnSpPr>
          <p:cNvPr id="24" name="Gerader Verbinder 23">
            <a:extLst>
              <a:ext uri="{FF2B5EF4-FFF2-40B4-BE49-F238E27FC236}">
                <a16:creationId xmlns:a16="http://schemas.microsoft.com/office/drawing/2014/main" id="{37E9692B-183E-4452-962F-5565E0366558}"/>
              </a:ext>
            </a:extLst>
          </p:cNvPr>
          <p:cNvCxnSpPr>
            <a:cxnSpLocks/>
          </p:cNvCxnSpPr>
          <p:nvPr userDrawn="1"/>
        </p:nvCxnSpPr>
        <p:spPr>
          <a:xfrm>
            <a:off x="590028" y="1363996"/>
            <a:ext cx="288000" cy="0"/>
          </a:xfrm>
          <a:prstGeom prst="line">
            <a:avLst/>
          </a:prstGeom>
          <a:ln w="444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2745757A-4D76-4D5E-AA6D-8ABC7173609F}"/>
              </a:ext>
            </a:extLst>
          </p:cNvPr>
          <p:cNvCxnSpPr>
            <a:cxnSpLocks/>
          </p:cNvCxnSpPr>
          <p:nvPr userDrawn="1"/>
        </p:nvCxnSpPr>
        <p:spPr>
          <a:xfrm>
            <a:off x="1271093" y="1363996"/>
            <a:ext cx="6120000" cy="0"/>
          </a:xfrm>
          <a:prstGeom prst="line">
            <a:avLst/>
          </a:prstGeom>
          <a:ln w="44450" cap="rnd">
            <a:gradFill>
              <a:gsLst>
                <a:gs pos="0">
                  <a:schemeClr val="accent2"/>
                </a:gs>
                <a:gs pos="74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26" name="Titel 1">
            <a:extLst>
              <a:ext uri="{FF2B5EF4-FFF2-40B4-BE49-F238E27FC236}">
                <a16:creationId xmlns:a16="http://schemas.microsoft.com/office/drawing/2014/main" id="{F7A7C660-EAC9-4188-9A7D-155F023CDF2E}"/>
              </a:ext>
            </a:extLst>
          </p:cNvPr>
          <p:cNvSpPr>
            <a:spLocks noGrp="1"/>
          </p:cNvSpPr>
          <p:nvPr>
            <p:ph type="title" hasCustomPrompt="1"/>
          </p:nvPr>
        </p:nvSpPr>
        <p:spPr>
          <a:xfrm>
            <a:off x="515938" y="453851"/>
            <a:ext cx="6875155" cy="757619"/>
          </a:xfrm>
          <a:prstGeom prst="rect">
            <a:avLst/>
          </a:prstGeom>
        </p:spPr>
        <p:txBody>
          <a:bodyPr lIns="0" tIns="0" rIns="0"/>
          <a:lstStyle>
            <a:lvl1pPr>
              <a:defRPr sz="3300" b="0">
                <a:solidFill>
                  <a:schemeClr val="tx2"/>
                </a:solidFill>
              </a:defRPr>
            </a:lvl1pPr>
          </a:lstStyle>
          <a:p>
            <a:r>
              <a:rPr lang="de-DE"/>
              <a:t>Agenda</a:t>
            </a:r>
          </a:p>
        </p:txBody>
      </p:sp>
      <p:pic>
        <p:nvPicPr>
          <p:cNvPr id="28" name="Grafik 27">
            <a:extLst>
              <a:ext uri="{FF2B5EF4-FFF2-40B4-BE49-F238E27FC236}">
                <a16:creationId xmlns:a16="http://schemas.microsoft.com/office/drawing/2014/main" id="{6D2A9481-B982-4E95-A91A-DE5DB01D6B9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77604" y="368300"/>
            <a:ext cx="1184400" cy="660531"/>
          </a:xfrm>
          <a:prstGeom prst="rect">
            <a:avLst/>
          </a:prstGeom>
        </p:spPr>
      </p:pic>
      <p:sp>
        <p:nvSpPr>
          <p:cNvPr id="23" name="Datumsplatzhalter 3">
            <a:extLst>
              <a:ext uri="{FF2B5EF4-FFF2-40B4-BE49-F238E27FC236}">
                <a16:creationId xmlns:a16="http://schemas.microsoft.com/office/drawing/2014/main" id="{55100564-019C-4399-8718-729CFA19FD96}"/>
              </a:ext>
            </a:extLst>
          </p:cNvPr>
          <p:cNvSpPr>
            <a:spLocks noGrp="1"/>
          </p:cNvSpPr>
          <p:nvPr>
            <p:ph type="dt" sz="half" idx="10"/>
          </p:nvPr>
        </p:nvSpPr>
        <p:spPr>
          <a:xfrm>
            <a:off x="10237727" y="6483875"/>
            <a:ext cx="849775" cy="365125"/>
          </a:xfrm>
        </p:spPr>
        <p:txBody>
          <a:bodyPr/>
          <a:lstStyle/>
          <a:p>
            <a:fld id="{59F952BA-BE6F-467A-A11B-1D699BF01035}" type="datetime1">
              <a:rPr lang="en-US" smtClean="0"/>
              <a:t>11/29/2021</a:t>
            </a:fld>
            <a:endParaRPr lang="de-DE"/>
          </a:p>
        </p:txBody>
      </p:sp>
      <p:sp>
        <p:nvSpPr>
          <p:cNvPr id="27" name="Fußzeilenplatzhalter 4">
            <a:extLst>
              <a:ext uri="{FF2B5EF4-FFF2-40B4-BE49-F238E27FC236}">
                <a16:creationId xmlns:a16="http://schemas.microsoft.com/office/drawing/2014/main" id="{4B305BA5-98B8-44D3-9130-DFBC2A807B29}"/>
              </a:ext>
            </a:extLst>
          </p:cNvPr>
          <p:cNvSpPr>
            <a:spLocks noGrp="1"/>
          </p:cNvSpPr>
          <p:nvPr>
            <p:ph type="ftr" sz="quarter" idx="11"/>
          </p:nvPr>
        </p:nvSpPr>
        <p:spPr>
          <a:xfrm>
            <a:off x="304800" y="6433286"/>
            <a:ext cx="4114800" cy="365125"/>
          </a:xfrm>
        </p:spPr>
        <p:txBody>
          <a:bodyPr/>
          <a:lstStyle/>
          <a:p>
            <a:endParaRPr lang="de-DE" dirty="0"/>
          </a:p>
        </p:txBody>
      </p:sp>
      <p:sp>
        <p:nvSpPr>
          <p:cNvPr id="29" name="Foliennummernplatzhalter 5">
            <a:extLst>
              <a:ext uri="{FF2B5EF4-FFF2-40B4-BE49-F238E27FC236}">
                <a16:creationId xmlns:a16="http://schemas.microsoft.com/office/drawing/2014/main" id="{C494F2B9-311D-4A53-AFEC-32102E3C3AF7}"/>
              </a:ext>
            </a:extLst>
          </p:cNvPr>
          <p:cNvSpPr>
            <a:spLocks noGrp="1"/>
          </p:cNvSpPr>
          <p:nvPr>
            <p:ph type="sldNum" sz="quarter" idx="12"/>
          </p:nvPr>
        </p:nvSpPr>
        <p:spPr>
          <a:xfrm>
            <a:off x="11157818" y="6483875"/>
            <a:ext cx="510070" cy="365125"/>
          </a:xfrm>
        </p:spPr>
        <p:txBody>
          <a:bodyPr/>
          <a:lstStyle/>
          <a:p>
            <a:fld id="{46735E09-D06A-4765-B4D1-A70A5B2E5B6E}" type="slidenum">
              <a:rPr lang="de-DE" smtClean="0"/>
              <a:t>‹N°›</a:t>
            </a:fld>
            <a:endParaRPr lang="de-DE"/>
          </a:p>
        </p:txBody>
      </p:sp>
    </p:spTree>
    <p:extLst>
      <p:ext uri="{BB962C8B-B14F-4D97-AF65-F5344CB8AC3E}">
        <p14:creationId xmlns:p14="http://schemas.microsoft.com/office/powerpoint/2010/main" val="1593484360"/>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content">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603EB85B-3EA8-4814-B5ED-06F4F7B8D42A}"/>
              </a:ext>
            </a:extLst>
          </p:cNvPr>
          <p:cNvSpPr>
            <a:spLocks noGrp="1"/>
          </p:cNvSpPr>
          <p:nvPr>
            <p:ph idx="1" hasCustomPrompt="1"/>
          </p:nvPr>
        </p:nvSpPr>
        <p:spPr>
          <a:xfrm>
            <a:off x="515938" y="1461927"/>
            <a:ext cx="8395833" cy="4775361"/>
          </a:xfrm>
          <a:prstGeom prst="rect">
            <a:avLst/>
          </a:prstGeom>
        </p:spPr>
        <p:txBody>
          <a:bodyPr lIns="0" tIns="0"/>
          <a:lstStyle>
            <a:lvl1pPr marL="324000" indent="-324000">
              <a:lnSpc>
                <a:spcPct val="100000"/>
              </a:lnSpc>
              <a:spcBef>
                <a:spcPts val="800"/>
              </a:spcBef>
              <a:buFontTx/>
              <a:buBlip>
                <a:blip r:embed="rId2"/>
              </a:buBlip>
              <a:defRPr sz="1800">
                <a:solidFill>
                  <a:schemeClr val="accent6">
                    <a:lumMod val="50000"/>
                  </a:schemeClr>
                </a:solidFill>
              </a:defRPr>
            </a:lvl1pPr>
            <a:lvl2pPr marL="611188" indent="-323850">
              <a:lnSpc>
                <a:spcPct val="100000"/>
              </a:lnSpc>
              <a:spcBef>
                <a:spcPts val="800"/>
              </a:spcBef>
              <a:buFontTx/>
              <a:buBlip>
                <a:blip r:embed="rId3"/>
              </a:buBlip>
              <a:defRPr sz="1800">
                <a:solidFill>
                  <a:schemeClr val="accent6">
                    <a:lumMod val="50000"/>
                  </a:schemeClr>
                </a:solidFill>
              </a:defRPr>
            </a:lvl2pPr>
            <a:lvl3pPr marL="863600" indent="-287338">
              <a:lnSpc>
                <a:spcPct val="100000"/>
              </a:lnSpc>
              <a:spcBef>
                <a:spcPts val="800"/>
              </a:spcBef>
              <a:buFontTx/>
              <a:buBlip>
                <a:blip r:embed="rId4"/>
              </a:buBlip>
              <a:defRPr sz="1800">
                <a:solidFill>
                  <a:schemeClr val="accent6">
                    <a:lumMod val="50000"/>
                  </a:schemeClr>
                </a:solidFill>
              </a:defRPr>
            </a:lvl3pPr>
            <a:lvl4pPr marL="1116000" indent="-288000">
              <a:lnSpc>
                <a:spcPct val="100000"/>
              </a:lnSpc>
              <a:spcBef>
                <a:spcPts val="800"/>
              </a:spcBef>
              <a:buFontTx/>
              <a:buBlip>
                <a:blip r:embed="rId5"/>
              </a:buBlip>
              <a:defRPr sz="1800">
                <a:solidFill>
                  <a:schemeClr val="accent6">
                    <a:lumMod val="50000"/>
                  </a:schemeClr>
                </a:solidFill>
              </a:defRPr>
            </a:lvl4pPr>
            <a:lvl5pPr marL="1368000" marR="0" indent="-288000" algn="l" defTabSz="914400" rtl="0" eaLnBrk="1" fontAlgn="auto" latinLnBrk="0" hangingPunct="1">
              <a:lnSpc>
                <a:spcPct val="100000"/>
              </a:lnSpc>
              <a:spcBef>
                <a:spcPts val="800"/>
              </a:spcBef>
              <a:spcAft>
                <a:spcPts val="0"/>
              </a:spcAft>
              <a:buClrTx/>
              <a:buSzTx/>
              <a:buFontTx/>
              <a:buBlip>
                <a:blip r:embed="rId5"/>
              </a:buBlip>
              <a:tabLst/>
              <a:defRPr sz="1800">
                <a:solidFill>
                  <a:schemeClr val="accent6">
                    <a:lumMod val="50000"/>
                  </a:schemeClr>
                </a:solidFill>
              </a:defRPr>
            </a:lvl5pPr>
            <a:lvl6pPr marL="2514600" indent="-228600">
              <a:buNone/>
              <a:defRPr/>
            </a:lvl6pPr>
          </a:lstStyle>
          <a:p>
            <a:pPr lvl="0"/>
            <a:r>
              <a:rPr lang="de-DE"/>
              <a:t>This is a bullet point</a:t>
            </a:r>
          </a:p>
          <a:p>
            <a:pPr lvl="1"/>
            <a:r>
              <a:rPr lang="de-DE"/>
              <a:t>This is a bullet point level 2</a:t>
            </a:r>
          </a:p>
          <a:p>
            <a:pPr lvl="2"/>
            <a:r>
              <a:rPr lang="de-DE"/>
              <a:t>This is a bullet point level 3</a:t>
            </a:r>
          </a:p>
          <a:p>
            <a:pPr lvl="3"/>
            <a:r>
              <a:rPr lang="de-DE"/>
              <a:t>Level 4</a:t>
            </a:r>
          </a:p>
          <a:p>
            <a:pPr lvl="4"/>
            <a:r>
              <a:rPr lang="de-DE"/>
              <a:t>Level 5</a:t>
            </a:r>
          </a:p>
          <a:p>
            <a:pPr lvl="4"/>
            <a:endParaRPr lang="de-DE"/>
          </a:p>
        </p:txBody>
      </p:sp>
      <p:sp>
        <p:nvSpPr>
          <p:cNvPr id="10" name="Titel 1">
            <a:extLst>
              <a:ext uri="{FF2B5EF4-FFF2-40B4-BE49-F238E27FC236}">
                <a16:creationId xmlns:a16="http://schemas.microsoft.com/office/drawing/2014/main" id="{3A814B79-7DD9-4587-A8FC-4C56C805E79B}"/>
              </a:ext>
            </a:extLst>
          </p:cNvPr>
          <p:cNvSpPr>
            <a:spLocks noGrp="1"/>
          </p:cNvSpPr>
          <p:nvPr>
            <p:ph type="title" hasCustomPrompt="1"/>
          </p:nvPr>
        </p:nvSpPr>
        <p:spPr>
          <a:xfrm>
            <a:off x="515938" y="453851"/>
            <a:ext cx="6875155" cy="757619"/>
          </a:xfrm>
          <a:prstGeom prst="rect">
            <a:avLst/>
          </a:prstGeom>
        </p:spPr>
        <p:txBody>
          <a:bodyPr lIns="0" tIns="0" rIns="0"/>
          <a:lstStyle>
            <a:lvl1pPr>
              <a:defRPr sz="2900" b="0">
                <a:solidFill>
                  <a:schemeClr val="tx2"/>
                </a:solidFill>
              </a:defRPr>
            </a:lvl1pPr>
          </a:lstStyle>
          <a:p>
            <a:r>
              <a:rPr lang="de-DE"/>
              <a:t>This is a headline</a:t>
            </a:r>
          </a:p>
        </p:txBody>
      </p:sp>
      <p:pic>
        <p:nvPicPr>
          <p:cNvPr id="8" name="Grafik 7">
            <a:extLst>
              <a:ext uri="{FF2B5EF4-FFF2-40B4-BE49-F238E27FC236}">
                <a16:creationId xmlns:a16="http://schemas.microsoft.com/office/drawing/2014/main" id="{41092445-41F2-46BF-BE49-6895916C6EE2}"/>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477604" y="368300"/>
            <a:ext cx="1184400" cy="660531"/>
          </a:xfrm>
          <a:prstGeom prst="rect">
            <a:avLst/>
          </a:prstGeom>
        </p:spPr>
      </p:pic>
      <p:sp>
        <p:nvSpPr>
          <p:cNvPr id="9" name="Datumsplatzhalter 3">
            <a:extLst>
              <a:ext uri="{FF2B5EF4-FFF2-40B4-BE49-F238E27FC236}">
                <a16:creationId xmlns:a16="http://schemas.microsoft.com/office/drawing/2014/main" id="{11513049-8095-4C18-B9C6-39D76BDB54C5}"/>
              </a:ext>
            </a:extLst>
          </p:cNvPr>
          <p:cNvSpPr>
            <a:spLocks noGrp="1"/>
          </p:cNvSpPr>
          <p:nvPr>
            <p:ph type="dt" sz="half" idx="10"/>
          </p:nvPr>
        </p:nvSpPr>
        <p:spPr>
          <a:xfrm>
            <a:off x="10237727" y="6483875"/>
            <a:ext cx="849775" cy="365125"/>
          </a:xfrm>
        </p:spPr>
        <p:txBody>
          <a:bodyPr/>
          <a:lstStyle/>
          <a:p>
            <a:fld id="{697E286E-DE97-4994-92C7-8DB00E82B47D}" type="datetime1">
              <a:rPr lang="en-US" smtClean="0"/>
              <a:t>11/29/2021</a:t>
            </a:fld>
            <a:endParaRPr lang="de-DE"/>
          </a:p>
        </p:txBody>
      </p:sp>
      <p:sp>
        <p:nvSpPr>
          <p:cNvPr id="11" name="Fußzeilenplatzhalter 4">
            <a:extLst>
              <a:ext uri="{FF2B5EF4-FFF2-40B4-BE49-F238E27FC236}">
                <a16:creationId xmlns:a16="http://schemas.microsoft.com/office/drawing/2014/main" id="{091B939B-D988-4B54-A719-46E42BAC41FA}"/>
              </a:ext>
            </a:extLst>
          </p:cNvPr>
          <p:cNvSpPr>
            <a:spLocks noGrp="1"/>
          </p:cNvSpPr>
          <p:nvPr>
            <p:ph type="ftr" sz="quarter" idx="11"/>
          </p:nvPr>
        </p:nvSpPr>
        <p:spPr>
          <a:xfrm>
            <a:off x="336000" y="6483875"/>
            <a:ext cx="4114800" cy="365125"/>
          </a:xfrm>
        </p:spPr>
        <p:txBody>
          <a:bodyPr/>
          <a:lstStyle/>
          <a:p>
            <a:endParaRPr lang="de-DE"/>
          </a:p>
        </p:txBody>
      </p:sp>
      <p:sp>
        <p:nvSpPr>
          <p:cNvPr id="12" name="Foliennummernplatzhalter 5">
            <a:extLst>
              <a:ext uri="{FF2B5EF4-FFF2-40B4-BE49-F238E27FC236}">
                <a16:creationId xmlns:a16="http://schemas.microsoft.com/office/drawing/2014/main" id="{43952CBC-AEE5-4430-B63D-5772A3B67D94}"/>
              </a:ext>
            </a:extLst>
          </p:cNvPr>
          <p:cNvSpPr>
            <a:spLocks noGrp="1"/>
          </p:cNvSpPr>
          <p:nvPr>
            <p:ph type="sldNum" sz="quarter" idx="12"/>
          </p:nvPr>
        </p:nvSpPr>
        <p:spPr>
          <a:xfrm>
            <a:off x="11157818" y="6483875"/>
            <a:ext cx="510070" cy="365125"/>
          </a:xfrm>
        </p:spPr>
        <p:txBody>
          <a:bodyPr/>
          <a:lstStyle/>
          <a:p>
            <a:fld id="{46735E09-D06A-4765-B4D1-A70A5B2E5B6E}" type="slidenum">
              <a:rPr lang="de-DE" smtClean="0"/>
              <a:t>‹N°›</a:t>
            </a:fld>
            <a:endParaRPr lang="de-DE"/>
          </a:p>
        </p:txBody>
      </p:sp>
    </p:spTree>
    <p:extLst>
      <p:ext uri="{BB962C8B-B14F-4D97-AF65-F5344CB8AC3E}">
        <p14:creationId xmlns:p14="http://schemas.microsoft.com/office/powerpoint/2010/main" val="20302611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6_content">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603EB85B-3EA8-4814-B5ED-06F4F7B8D42A}"/>
              </a:ext>
            </a:extLst>
          </p:cNvPr>
          <p:cNvSpPr>
            <a:spLocks noGrp="1"/>
          </p:cNvSpPr>
          <p:nvPr>
            <p:ph idx="1" hasCustomPrompt="1"/>
          </p:nvPr>
        </p:nvSpPr>
        <p:spPr>
          <a:xfrm>
            <a:off x="515939" y="1461927"/>
            <a:ext cx="7298882" cy="4775361"/>
          </a:xfrm>
          <a:prstGeom prst="rect">
            <a:avLst/>
          </a:prstGeom>
        </p:spPr>
        <p:txBody>
          <a:bodyPr lIns="0" tIns="0"/>
          <a:lstStyle>
            <a:lvl1pPr marL="324000" indent="-324000">
              <a:lnSpc>
                <a:spcPct val="100000"/>
              </a:lnSpc>
              <a:spcBef>
                <a:spcPts val="800"/>
              </a:spcBef>
              <a:buFontTx/>
              <a:buBlip>
                <a:blip r:embed="rId2"/>
              </a:buBlip>
              <a:defRPr sz="1800">
                <a:solidFill>
                  <a:schemeClr val="accent6">
                    <a:lumMod val="50000"/>
                  </a:schemeClr>
                </a:solidFill>
              </a:defRPr>
            </a:lvl1pPr>
            <a:lvl2pPr marL="611188" indent="-323850">
              <a:lnSpc>
                <a:spcPct val="100000"/>
              </a:lnSpc>
              <a:spcBef>
                <a:spcPts val="800"/>
              </a:spcBef>
              <a:buFontTx/>
              <a:buBlip>
                <a:blip r:embed="rId3"/>
              </a:buBlip>
              <a:defRPr sz="1800">
                <a:solidFill>
                  <a:schemeClr val="accent6">
                    <a:lumMod val="50000"/>
                  </a:schemeClr>
                </a:solidFill>
              </a:defRPr>
            </a:lvl2pPr>
            <a:lvl3pPr marL="863600" indent="-287338">
              <a:lnSpc>
                <a:spcPct val="100000"/>
              </a:lnSpc>
              <a:spcBef>
                <a:spcPts val="800"/>
              </a:spcBef>
              <a:buFontTx/>
              <a:buBlip>
                <a:blip r:embed="rId4"/>
              </a:buBlip>
              <a:defRPr sz="1800">
                <a:solidFill>
                  <a:schemeClr val="accent6">
                    <a:lumMod val="50000"/>
                  </a:schemeClr>
                </a:solidFill>
              </a:defRPr>
            </a:lvl3pPr>
            <a:lvl4pPr marL="1116000" indent="-288000">
              <a:lnSpc>
                <a:spcPct val="100000"/>
              </a:lnSpc>
              <a:spcBef>
                <a:spcPts val="800"/>
              </a:spcBef>
              <a:buFontTx/>
              <a:buBlip>
                <a:blip r:embed="rId5"/>
              </a:buBlip>
              <a:defRPr sz="1800">
                <a:solidFill>
                  <a:schemeClr val="accent6">
                    <a:lumMod val="50000"/>
                  </a:schemeClr>
                </a:solidFill>
              </a:defRPr>
            </a:lvl4pPr>
            <a:lvl5pPr marL="0" marR="0" indent="0" algn="l" defTabSz="914400" rtl="0" eaLnBrk="1" fontAlgn="auto" latinLnBrk="0" hangingPunct="1">
              <a:lnSpc>
                <a:spcPct val="100000"/>
              </a:lnSpc>
              <a:spcBef>
                <a:spcPts val="800"/>
              </a:spcBef>
              <a:spcAft>
                <a:spcPts val="0"/>
              </a:spcAft>
              <a:buClrTx/>
              <a:buSzTx/>
              <a:buFont typeface="Arial" panose="020B0604020202020204" pitchFamily="34" charset="0"/>
              <a:buNone/>
              <a:tabLst/>
              <a:defRPr sz="1800" b="0">
                <a:solidFill>
                  <a:schemeClr val="accent6">
                    <a:lumMod val="50000"/>
                  </a:schemeClr>
                </a:solidFill>
              </a:defRPr>
            </a:lvl5pPr>
            <a:lvl6pPr marL="2514600" indent="-228600">
              <a:buNone/>
              <a:defRPr/>
            </a:lvl6pPr>
          </a:lstStyle>
          <a:p>
            <a:pPr lvl="4"/>
            <a:r>
              <a:rPr lang="de-DE"/>
              <a:t>Lorem ipsum dolor sit amet, consetetur sadipscing elitr, sed diam nonumy eirmod tempor invidunt ut labore et dolore magna aliquyam erat, sed diam voluptua. At vero eos et accusam et justo duo dolores et ea rebum. Stet clita kasd gubergren, no sea takimata sanctus est Lorem ipsum dolor sit amet. </a:t>
            </a:r>
          </a:p>
        </p:txBody>
      </p:sp>
      <p:sp>
        <p:nvSpPr>
          <p:cNvPr id="10" name="Titel 1">
            <a:extLst>
              <a:ext uri="{FF2B5EF4-FFF2-40B4-BE49-F238E27FC236}">
                <a16:creationId xmlns:a16="http://schemas.microsoft.com/office/drawing/2014/main" id="{3A814B79-7DD9-4587-A8FC-4C56C805E79B}"/>
              </a:ext>
            </a:extLst>
          </p:cNvPr>
          <p:cNvSpPr>
            <a:spLocks noGrp="1"/>
          </p:cNvSpPr>
          <p:nvPr>
            <p:ph type="title" hasCustomPrompt="1"/>
          </p:nvPr>
        </p:nvSpPr>
        <p:spPr>
          <a:xfrm>
            <a:off x="515938" y="453851"/>
            <a:ext cx="6875155" cy="757619"/>
          </a:xfrm>
          <a:prstGeom prst="rect">
            <a:avLst/>
          </a:prstGeom>
        </p:spPr>
        <p:txBody>
          <a:bodyPr lIns="0" tIns="0" rIns="0"/>
          <a:lstStyle>
            <a:lvl1pPr>
              <a:defRPr sz="2900" b="0">
                <a:solidFill>
                  <a:schemeClr val="tx2"/>
                </a:solidFill>
              </a:defRPr>
            </a:lvl1pPr>
          </a:lstStyle>
          <a:p>
            <a:r>
              <a:rPr lang="de-DE"/>
              <a:t>This is a headline</a:t>
            </a:r>
          </a:p>
        </p:txBody>
      </p:sp>
      <p:pic>
        <p:nvPicPr>
          <p:cNvPr id="8" name="Grafik 7">
            <a:extLst>
              <a:ext uri="{FF2B5EF4-FFF2-40B4-BE49-F238E27FC236}">
                <a16:creationId xmlns:a16="http://schemas.microsoft.com/office/drawing/2014/main" id="{41092445-41F2-46BF-BE49-6895916C6EE2}"/>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477604" y="368300"/>
            <a:ext cx="1184400" cy="660531"/>
          </a:xfrm>
          <a:prstGeom prst="rect">
            <a:avLst/>
          </a:prstGeom>
        </p:spPr>
      </p:pic>
      <p:sp>
        <p:nvSpPr>
          <p:cNvPr id="9" name="Datumsplatzhalter 3">
            <a:extLst>
              <a:ext uri="{FF2B5EF4-FFF2-40B4-BE49-F238E27FC236}">
                <a16:creationId xmlns:a16="http://schemas.microsoft.com/office/drawing/2014/main" id="{5B0D7193-EEB0-4133-86AE-A3C20EC8C38D}"/>
              </a:ext>
            </a:extLst>
          </p:cNvPr>
          <p:cNvSpPr>
            <a:spLocks noGrp="1"/>
          </p:cNvSpPr>
          <p:nvPr>
            <p:ph type="dt" sz="half" idx="10"/>
          </p:nvPr>
        </p:nvSpPr>
        <p:spPr>
          <a:xfrm>
            <a:off x="10237727" y="6483875"/>
            <a:ext cx="849775" cy="365125"/>
          </a:xfrm>
        </p:spPr>
        <p:txBody>
          <a:bodyPr/>
          <a:lstStyle/>
          <a:p>
            <a:fld id="{AA54316A-A893-4A0A-8C72-78727D058987}" type="datetime1">
              <a:rPr lang="en-US" smtClean="0"/>
              <a:t>11/29/2021</a:t>
            </a:fld>
            <a:endParaRPr lang="de-DE"/>
          </a:p>
        </p:txBody>
      </p:sp>
      <p:sp>
        <p:nvSpPr>
          <p:cNvPr id="11" name="Fußzeilenplatzhalter 4">
            <a:extLst>
              <a:ext uri="{FF2B5EF4-FFF2-40B4-BE49-F238E27FC236}">
                <a16:creationId xmlns:a16="http://schemas.microsoft.com/office/drawing/2014/main" id="{EB5BE01F-5C82-44B6-AEBB-A5B4140DE86B}"/>
              </a:ext>
            </a:extLst>
          </p:cNvPr>
          <p:cNvSpPr>
            <a:spLocks noGrp="1"/>
          </p:cNvSpPr>
          <p:nvPr>
            <p:ph type="ftr" sz="quarter" idx="11"/>
          </p:nvPr>
        </p:nvSpPr>
        <p:spPr>
          <a:xfrm>
            <a:off x="336000" y="6483875"/>
            <a:ext cx="4114800" cy="365125"/>
          </a:xfrm>
        </p:spPr>
        <p:txBody>
          <a:bodyPr/>
          <a:lstStyle/>
          <a:p>
            <a:endParaRPr lang="de-DE"/>
          </a:p>
        </p:txBody>
      </p:sp>
      <p:sp>
        <p:nvSpPr>
          <p:cNvPr id="12" name="Foliennummernplatzhalter 5">
            <a:extLst>
              <a:ext uri="{FF2B5EF4-FFF2-40B4-BE49-F238E27FC236}">
                <a16:creationId xmlns:a16="http://schemas.microsoft.com/office/drawing/2014/main" id="{969D0A23-9196-41C1-A694-2B04DAA840A0}"/>
              </a:ext>
            </a:extLst>
          </p:cNvPr>
          <p:cNvSpPr>
            <a:spLocks noGrp="1"/>
          </p:cNvSpPr>
          <p:nvPr>
            <p:ph type="sldNum" sz="quarter" idx="12"/>
          </p:nvPr>
        </p:nvSpPr>
        <p:spPr>
          <a:xfrm>
            <a:off x="11157818" y="6483875"/>
            <a:ext cx="510070" cy="365125"/>
          </a:xfrm>
        </p:spPr>
        <p:txBody>
          <a:bodyPr/>
          <a:lstStyle/>
          <a:p>
            <a:fld id="{46735E09-D06A-4765-B4D1-A70A5B2E5B6E}" type="slidenum">
              <a:rPr lang="de-DE" smtClean="0"/>
              <a:t>‹N°›</a:t>
            </a:fld>
            <a:endParaRPr lang="de-DE"/>
          </a:p>
        </p:txBody>
      </p:sp>
    </p:spTree>
    <p:extLst>
      <p:ext uri="{BB962C8B-B14F-4D97-AF65-F5344CB8AC3E}">
        <p14:creationId xmlns:p14="http://schemas.microsoft.com/office/powerpoint/2010/main" val="30648141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86D06D6B-615D-40EC-A313-093EE9F223C1}"/>
              </a:ext>
            </a:extLst>
          </p:cNvPr>
          <p:cNvSpPr>
            <a:spLocks noGrp="1"/>
          </p:cNvSpPr>
          <p:nvPr>
            <p:ph type="dt" sz="half" idx="2"/>
          </p:nvPr>
        </p:nvSpPr>
        <p:spPr>
          <a:xfrm>
            <a:off x="10237727" y="6377125"/>
            <a:ext cx="849775" cy="365125"/>
          </a:xfrm>
          <a:prstGeom prst="rect">
            <a:avLst/>
          </a:prstGeom>
        </p:spPr>
        <p:txBody>
          <a:bodyPr vert="horz" lIns="0" tIns="0" rIns="0" bIns="45720" rtlCol="0" anchor="ctr"/>
          <a:lstStyle>
            <a:lvl1pPr algn="r">
              <a:defRPr sz="1100">
                <a:solidFill>
                  <a:schemeClr val="tx1">
                    <a:tint val="75000"/>
                  </a:schemeClr>
                </a:solidFill>
              </a:defRPr>
            </a:lvl1pPr>
          </a:lstStyle>
          <a:p>
            <a:fld id="{BCF98A50-6C25-4DED-8850-45193B22650B}" type="datetime1">
              <a:rPr lang="en-US" smtClean="0"/>
              <a:t>11/29/2021</a:t>
            </a:fld>
            <a:endParaRPr lang="de-DE"/>
          </a:p>
        </p:txBody>
      </p:sp>
      <p:sp>
        <p:nvSpPr>
          <p:cNvPr id="5" name="Fußzeilenplatzhalter 4">
            <a:extLst>
              <a:ext uri="{FF2B5EF4-FFF2-40B4-BE49-F238E27FC236}">
                <a16:creationId xmlns:a16="http://schemas.microsoft.com/office/drawing/2014/main" id="{8F3FE9F4-3C2C-415D-80B5-C9D4E709E79F}"/>
              </a:ext>
            </a:extLst>
          </p:cNvPr>
          <p:cNvSpPr>
            <a:spLocks noGrp="1"/>
          </p:cNvSpPr>
          <p:nvPr>
            <p:ph type="ftr" sz="quarter" idx="3"/>
          </p:nvPr>
        </p:nvSpPr>
        <p:spPr>
          <a:xfrm>
            <a:off x="515938" y="6377125"/>
            <a:ext cx="4114800" cy="365125"/>
          </a:xfrm>
          <a:prstGeom prst="rect">
            <a:avLst/>
          </a:prstGeom>
        </p:spPr>
        <p:txBody>
          <a:bodyPr vert="horz" lIns="0" tIns="0" rIns="91440" bIns="45720" rtlCol="0" anchor="ctr"/>
          <a:lstStyle>
            <a:lvl1pPr algn="l">
              <a:defRPr sz="1100">
                <a:solidFill>
                  <a:schemeClr val="tx1">
                    <a:tint val="75000"/>
                  </a:schemeClr>
                </a:solidFill>
              </a:defRPr>
            </a:lvl1pPr>
          </a:lstStyle>
          <a:p>
            <a:endParaRPr lang="de-DE"/>
          </a:p>
        </p:txBody>
      </p:sp>
      <p:sp>
        <p:nvSpPr>
          <p:cNvPr id="6" name="Foliennummernplatzhalter 5">
            <a:extLst>
              <a:ext uri="{FF2B5EF4-FFF2-40B4-BE49-F238E27FC236}">
                <a16:creationId xmlns:a16="http://schemas.microsoft.com/office/drawing/2014/main" id="{EC0263FF-4A53-40DC-8D53-CCA50EB96FC1}"/>
              </a:ext>
            </a:extLst>
          </p:cNvPr>
          <p:cNvSpPr>
            <a:spLocks noGrp="1"/>
          </p:cNvSpPr>
          <p:nvPr>
            <p:ph type="sldNum" sz="quarter" idx="4"/>
          </p:nvPr>
        </p:nvSpPr>
        <p:spPr>
          <a:xfrm>
            <a:off x="11157818" y="6377125"/>
            <a:ext cx="510070" cy="365125"/>
          </a:xfrm>
          <a:prstGeom prst="rect">
            <a:avLst/>
          </a:prstGeom>
        </p:spPr>
        <p:txBody>
          <a:bodyPr vert="horz" lIns="0" tIns="0" rIns="0" bIns="45720" rtlCol="0" anchor="ctr"/>
          <a:lstStyle>
            <a:lvl1pPr algn="r">
              <a:defRPr sz="1100">
                <a:solidFill>
                  <a:schemeClr val="tx1">
                    <a:tint val="75000"/>
                  </a:schemeClr>
                </a:solidFill>
              </a:defRPr>
            </a:lvl1pPr>
          </a:lstStyle>
          <a:p>
            <a:fld id="{46735E09-D06A-4765-B4D1-A70A5B2E5B6E}" type="slidenum">
              <a:rPr lang="de-DE" smtClean="0"/>
              <a:pPr/>
              <a:t>‹N°›</a:t>
            </a:fld>
            <a:endParaRPr lang="de-DE"/>
          </a:p>
        </p:txBody>
      </p:sp>
    </p:spTree>
    <p:extLst>
      <p:ext uri="{BB962C8B-B14F-4D97-AF65-F5344CB8AC3E}">
        <p14:creationId xmlns:p14="http://schemas.microsoft.com/office/powerpoint/2010/main" val="283335592"/>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 id="2147483745" r:id="rId18"/>
    <p:sldLayoutId id="2147483746" r:id="rId19"/>
    <p:sldLayoutId id="2147483747" r:id="rId20"/>
    <p:sldLayoutId id="2147483748" r:id="rId21"/>
    <p:sldLayoutId id="2147483749" r:id="rId22"/>
    <p:sldLayoutId id="2147483750" r:id="rId23"/>
    <p:sldLayoutId id="2147483751" r:id="rId24"/>
    <p:sldLayoutId id="2147483752" r:id="rId25"/>
    <p:sldLayoutId id="2147483753" r:id="rId26"/>
    <p:sldLayoutId id="2147483754" r:id="rId27"/>
    <p:sldLayoutId id="2147483755" r:id="rId28"/>
    <p:sldLayoutId id="2147483756" r:id="rId29"/>
    <p:sldLayoutId id="2147483757" r:id="rId30"/>
    <p:sldLayoutId id="2147483758" r:id="rId31"/>
    <p:sldLayoutId id="2147483759" r:id="rId32"/>
    <p:sldLayoutId id="2147483760" r:id="rId33"/>
    <p:sldLayoutId id="2147483790" r:id="rId34"/>
    <p:sldLayoutId id="2147483791" r:id="rId35"/>
    <p:sldLayoutId id="2147483792" r:id="rId36"/>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25">
          <p15:clr>
            <a:srgbClr val="F26B43"/>
          </p15:clr>
        </p15:guide>
        <p15:guide id="2" orient="horz" pos="278">
          <p15:clr>
            <a:srgbClr val="F26B43"/>
          </p15:clr>
        </p15:guide>
        <p15:guide id="3" pos="7355">
          <p15:clr>
            <a:srgbClr val="F26B43"/>
          </p15:clr>
        </p15:guide>
        <p15:guide id="4" orient="horz" pos="3929">
          <p15:clr>
            <a:srgbClr val="F26B43"/>
          </p15:clr>
        </p15:guide>
        <p15:guide id="5" orient="horz" pos="913">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5.xml"/></Relationships>
</file>

<file path=ppt/slides/_rels/slide5.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26" Type="http://schemas.openxmlformats.org/officeDocument/2006/relationships/tags" Target="../tags/tag27.xml"/><Relationship Id="rId3" Type="http://schemas.openxmlformats.org/officeDocument/2006/relationships/tags" Target="../tags/tag4.xml"/><Relationship Id="rId21" Type="http://schemas.openxmlformats.org/officeDocument/2006/relationships/tags" Target="../tags/tag22.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tags" Target="../tags/tag26.xml"/><Relationship Id="rId33" Type="http://schemas.openxmlformats.org/officeDocument/2006/relationships/slideLayout" Target="../slideLayouts/slideLayout11.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29" Type="http://schemas.openxmlformats.org/officeDocument/2006/relationships/tags" Target="../tags/tag30.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tags" Target="../tags/tag25.xml"/><Relationship Id="rId32" Type="http://schemas.openxmlformats.org/officeDocument/2006/relationships/tags" Target="../tags/tag33.xml"/><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tags" Target="../tags/tag24.xml"/><Relationship Id="rId28" Type="http://schemas.openxmlformats.org/officeDocument/2006/relationships/tags" Target="../tags/tag29.xml"/><Relationship Id="rId10" Type="http://schemas.openxmlformats.org/officeDocument/2006/relationships/tags" Target="../tags/tag11.xml"/><Relationship Id="rId19" Type="http://schemas.openxmlformats.org/officeDocument/2006/relationships/tags" Target="../tags/tag20.xml"/><Relationship Id="rId31" Type="http://schemas.openxmlformats.org/officeDocument/2006/relationships/tags" Target="../tags/tag32.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tags" Target="../tags/tag23.xml"/><Relationship Id="rId27" Type="http://schemas.openxmlformats.org/officeDocument/2006/relationships/tags" Target="../tags/tag28.xml"/><Relationship Id="rId30" Type="http://schemas.openxmlformats.org/officeDocument/2006/relationships/tags" Target="../tags/tag3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 name="TextShape 1"/>
          <p:cNvSpPr txBox="1"/>
          <p:nvPr/>
        </p:nvSpPr>
        <p:spPr>
          <a:xfrm>
            <a:off x="1005840" y="2610720"/>
            <a:ext cx="6489000" cy="2022120"/>
          </a:xfrm>
          <a:prstGeom prst="rect">
            <a:avLst/>
          </a:prstGeom>
          <a:noFill/>
          <a:ln>
            <a:noFill/>
          </a:ln>
        </p:spPr>
        <p:txBody>
          <a:bodyPr lIns="0" tIns="0" rIns="90000" bIns="0" anchor="b">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de-DE" sz="5500" b="0" i="0" u="none" strike="noStrike" kern="1200" cap="none" spc="-1" normalizeH="0" baseline="0" noProof="0" dirty="0">
                <a:ln>
                  <a:noFill/>
                </a:ln>
                <a:solidFill>
                  <a:srgbClr val="FFFFFF"/>
                </a:solidFill>
                <a:effectLst/>
                <a:uLnTx/>
                <a:uFillTx/>
                <a:latin typeface="Calibri"/>
              </a:rPr>
              <a:t>GAIA-X | Data Space Business Committee</a:t>
            </a:r>
            <a:endParaRPr kumimoji="0" lang="de-DE" sz="5500" b="0" i="0" u="none" strike="noStrike" kern="1200" cap="none" spc="-1" normalizeH="0" baseline="0" noProof="0" dirty="0">
              <a:ln>
                <a:noFill/>
              </a:ln>
              <a:solidFill>
                <a:srgbClr val="000000"/>
              </a:solidFill>
              <a:effectLst/>
              <a:uLnTx/>
              <a:uFillTx/>
              <a:latin typeface="Calibri"/>
            </a:endParaRPr>
          </a:p>
        </p:txBody>
      </p:sp>
      <p:sp>
        <p:nvSpPr>
          <p:cNvPr id="401" name="TextShape 3"/>
          <p:cNvSpPr txBox="1"/>
          <p:nvPr/>
        </p:nvSpPr>
        <p:spPr>
          <a:xfrm>
            <a:off x="1005840" y="6003000"/>
            <a:ext cx="1051560" cy="364680"/>
          </a:xfrm>
          <a:prstGeom prst="rect">
            <a:avLst/>
          </a:prstGeom>
          <a:noFill/>
          <a:ln>
            <a:noFill/>
          </a:ln>
        </p:spPr>
        <p:txBody>
          <a:bodyPr lIns="0" tIns="0" r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 dirty="0">
                <a:solidFill>
                  <a:srgbClr val="FFFFFF"/>
                </a:solidFill>
                <a:latin typeface="Calibri"/>
              </a:rPr>
              <a:t>02</a:t>
            </a:r>
            <a:r>
              <a:rPr kumimoji="0" lang="de-DE" sz="1600" b="0" i="0" u="none" strike="noStrike" kern="1200" cap="none" spc="-1" normalizeH="0" baseline="0" noProof="0" dirty="0">
                <a:ln>
                  <a:noFill/>
                </a:ln>
                <a:solidFill>
                  <a:srgbClr val="FFFFFF"/>
                </a:solidFill>
                <a:effectLst/>
                <a:uLnTx/>
                <a:uFillTx/>
                <a:latin typeface="Calibri"/>
              </a:rPr>
              <a:t>.12.21</a:t>
            </a:r>
            <a:endParaRPr kumimoji="0" lang="de-DE" sz="1600" b="0" i="0" u="none" strike="noStrike" kern="1200" cap="none" spc="-1" normalizeH="0" baseline="0" noProof="0" dirty="0">
              <a:ln>
                <a:noFill/>
              </a:ln>
              <a:solidFill>
                <a:prstClr val="black"/>
              </a:solidFill>
              <a:effectLst/>
              <a:uLnTx/>
              <a:uFillTx/>
              <a:latin typeface="Calibri"/>
            </a:endParaRPr>
          </a:p>
        </p:txBody>
      </p:sp>
      <p:sp>
        <p:nvSpPr>
          <p:cNvPr id="2" name="ZoneTexte 1">
            <a:extLst>
              <a:ext uri="{FF2B5EF4-FFF2-40B4-BE49-F238E27FC236}">
                <a16:creationId xmlns:a16="http://schemas.microsoft.com/office/drawing/2014/main" id="{4C08FC92-C527-4A64-9BF7-4B2113C2A38E}"/>
              </a:ext>
            </a:extLst>
          </p:cNvPr>
          <p:cNvSpPr txBox="1"/>
          <p:nvPr/>
        </p:nvSpPr>
        <p:spPr>
          <a:xfrm>
            <a:off x="1005840" y="5029200"/>
            <a:ext cx="10142457" cy="769441"/>
          </a:xfrm>
          <a:prstGeom prst="rect">
            <a:avLst/>
          </a:prstGeom>
          <a:noFill/>
        </p:spPr>
        <p:txBody>
          <a:bodyPr wrap="none" rtlCol="0">
            <a:spAutoFit/>
          </a:bodyPr>
          <a:lstStyle/>
          <a:p>
            <a:r>
              <a:rPr lang="en-US" sz="4400" dirty="0">
                <a:solidFill>
                  <a:schemeClr val="bg1"/>
                </a:solidFill>
              </a:rPr>
              <a:t>Education &amp; Skill vertical ecosystem session</a:t>
            </a:r>
            <a:endParaRPr lang="en-GB" sz="4400" dirty="0">
              <a:solidFill>
                <a:schemeClr val="bg1"/>
              </a:solidFill>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1" name="TextShape 1"/>
          <p:cNvSpPr txBox="1"/>
          <p:nvPr/>
        </p:nvSpPr>
        <p:spPr>
          <a:xfrm>
            <a:off x="1271160" y="1606680"/>
            <a:ext cx="6119640" cy="280440"/>
          </a:xfrm>
          <a:prstGeom prst="rect">
            <a:avLst/>
          </a:prstGeom>
          <a:noFill/>
          <a:ln>
            <a:noFill/>
          </a:ln>
        </p:spPr>
        <p:txBody>
          <a:bodyPr lIns="0" tIns="0" rIns="90000" bIns="0">
            <a:noAutofit/>
          </a:bodyPr>
          <a:lstStyle/>
          <a:p>
            <a:r>
              <a:rPr lang="en-US" sz="2000" dirty="0"/>
              <a:t>DSBC </a:t>
            </a:r>
            <a:r>
              <a:rPr lang="en-US" sz="2000" spc="-1" dirty="0">
                <a:solidFill>
                  <a:srgbClr val="404040"/>
                </a:solidFill>
              </a:rPr>
              <a:t>within the </a:t>
            </a:r>
            <a:r>
              <a:rPr lang="en-US" sz="2000" spc="-1" dirty="0">
                <a:solidFill>
                  <a:srgbClr val="404040"/>
                </a:solidFill>
                <a:latin typeface="Calibri"/>
              </a:rPr>
              <a:t>Gaia-X AISBL</a:t>
            </a:r>
          </a:p>
          <a:p>
            <a:pPr>
              <a:lnSpc>
                <a:spcPts val="2299"/>
              </a:lnSpc>
              <a:spcBef>
                <a:spcPts val="1001"/>
              </a:spcBef>
              <a:tabLst>
                <a:tab pos="0" algn="l"/>
              </a:tabLst>
            </a:pPr>
            <a:r>
              <a:rPr lang="de-DE" sz="1900" b="0" strike="noStrike" spc="-1" dirty="0">
                <a:solidFill>
                  <a:srgbClr val="000000"/>
                </a:solidFill>
                <a:latin typeface="Calibri"/>
              </a:rPr>
              <a:t> </a:t>
            </a:r>
          </a:p>
        </p:txBody>
      </p:sp>
      <p:sp>
        <p:nvSpPr>
          <p:cNvPr id="552" name="TextShape 2"/>
          <p:cNvSpPr txBox="1"/>
          <p:nvPr/>
        </p:nvSpPr>
        <p:spPr>
          <a:xfrm>
            <a:off x="552600" y="1606680"/>
            <a:ext cx="472680" cy="407160"/>
          </a:xfrm>
          <a:prstGeom prst="rect">
            <a:avLst/>
          </a:prstGeom>
          <a:noFill/>
          <a:ln>
            <a:noFill/>
          </a:ln>
        </p:spPr>
        <p:txBody>
          <a:bodyPr lIns="0" tIns="0" rIns="0" bIns="45000">
            <a:noAutofit/>
          </a:bodyPr>
          <a:lstStyle/>
          <a:p>
            <a:pPr>
              <a:lnSpc>
                <a:spcPts val="2299"/>
              </a:lnSpc>
              <a:spcBef>
                <a:spcPts val="2001"/>
              </a:spcBef>
              <a:tabLst>
                <a:tab pos="0" algn="l"/>
              </a:tabLst>
            </a:pPr>
            <a:r>
              <a:rPr lang="en-GB" sz="2500" b="1" strike="noStrike" spc="-1" dirty="0">
                <a:solidFill>
                  <a:srgbClr val="000094"/>
                </a:solidFill>
                <a:latin typeface="Calibri"/>
              </a:rPr>
              <a:t>01</a:t>
            </a:r>
            <a:endParaRPr lang="de-DE" sz="2500" b="0" strike="noStrike" spc="-1" dirty="0">
              <a:solidFill>
                <a:srgbClr val="000000"/>
              </a:solidFill>
              <a:latin typeface="Calibri"/>
            </a:endParaRPr>
          </a:p>
        </p:txBody>
      </p:sp>
      <p:sp>
        <p:nvSpPr>
          <p:cNvPr id="553" name="TextShape 3"/>
          <p:cNvSpPr txBox="1"/>
          <p:nvPr/>
        </p:nvSpPr>
        <p:spPr>
          <a:xfrm>
            <a:off x="1271160" y="2667000"/>
            <a:ext cx="6119640" cy="280440"/>
          </a:xfrm>
          <a:prstGeom prst="rect">
            <a:avLst/>
          </a:prstGeom>
          <a:noFill/>
          <a:ln>
            <a:noFill/>
          </a:ln>
        </p:spPr>
        <p:txBody>
          <a:bodyPr lIns="0" tIns="0" rIns="90000" bIns="0">
            <a:noAutofit/>
          </a:bodyPr>
          <a:lstStyle/>
          <a:p>
            <a:pPr>
              <a:lnSpc>
                <a:spcPct val="100000"/>
              </a:lnSpc>
              <a:spcBef>
                <a:spcPts val="1001"/>
              </a:spcBef>
              <a:tabLst>
                <a:tab pos="0" algn="l"/>
              </a:tabLst>
            </a:pPr>
            <a:r>
              <a:rPr lang="de-DE" sz="1900" b="0" strike="noStrike" spc="-1" dirty="0">
                <a:solidFill>
                  <a:srgbClr val="000000"/>
                </a:solidFill>
                <a:latin typeface="Calibri"/>
              </a:rPr>
              <a:t>Education &amp; </a:t>
            </a:r>
            <a:r>
              <a:rPr lang="de-DE" sz="1900" b="0" strike="noStrike" spc="-1" dirty="0" err="1">
                <a:solidFill>
                  <a:srgbClr val="000000"/>
                </a:solidFill>
                <a:latin typeface="Calibri"/>
              </a:rPr>
              <a:t>Skill</a:t>
            </a:r>
            <a:r>
              <a:rPr lang="de-DE" sz="1900" b="0" strike="noStrike" spc="-1" dirty="0">
                <a:solidFill>
                  <a:srgbClr val="000000"/>
                </a:solidFill>
                <a:latin typeface="Calibri"/>
              </a:rPr>
              <a:t> </a:t>
            </a:r>
            <a:r>
              <a:rPr lang="de-DE" sz="1900" b="0" strike="noStrike" spc="-1" dirty="0" err="1">
                <a:solidFill>
                  <a:srgbClr val="000000"/>
                </a:solidFill>
                <a:latin typeface="Calibri"/>
              </a:rPr>
              <a:t>vertical</a:t>
            </a:r>
            <a:r>
              <a:rPr lang="de-DE" sz="1900" b="0" strike="noStrike" spc="-1" dirty="0">
                <a:solidFill>
                  <a:srgbClr val="000000"/>
                </a:solidFill>
                <a:latin typeface="Calibri"/>
              </a:rPr>
              <a:t> </a:t>
            </a:r>
            <a:r>
              <a:rPr lang="de-DE" sz="1900" b="0" strike="noStrike" spc="-1" dirty="0" err="1">
                <a:solidFill>
                  <a:srgbClr val="000000"/>
                </a:solidFill>
                <a:latin typeface="Calibri"/>
              </a:rPr>
              <a:t>ecosystem</a:t>
            </a:r>
            <a:endParaRPr lang="de-DE" sz="1900" b="0" strike="noStrike" spc="-1" dirty="0">
              <a:solidFill>
                <a:srgbClr val="000000"/>
              </a:solidFill>
              <a:latin typeface="Calibri"/>
            </a:endParaRPr>
          </a:p>
        </p:txBody>
      </p:sp>
      <p:sp>
        <p:nvSpPr>
          <p:cNvPr id="554" name="TextShape 4"/>
          <p:cNvSpPr txBox="1"/>
          <p:nvPr/>
        </p:nvSpPr>
        <p:spPr>
          <a:xfrm>
            <a:off x="552600" y="2673480"/>
            <a:ext cx="472680" cy="407160"/>
          </a:xfrm>
          <a:prstGeom prst="rect">
            <a:avLst/>
          </a:prstGeom>
          <a:noFill/>
          <a:ln>
            <a:noFill/>
          </a:ln>
        </p:spPr>
        <p:txBody>
          <a:bodyPr lIns="0" tIns="0" rIns="0" bIns="45000">
            <a:noAutofit/>
          </a:bodyPr>
          <a:lstStyle/>
          <a:p>
            <a:pPr>
              <a:lnSpc>
                <a:spcPts val="2299"/>
              </a:lnSpc>
              <a:spcBef>
                <a:spcPts val="2001"/>
              </a:spcBef>
              <a:tabLst>
                <a:tab pos="0" algn="l"/>
              </a:tabLst>
            </a:pPr>
            <a:r>
              <a:rPr lang="en-GB" sz="2500" b="1" strike="noStrike" spc="-1" dirty="0">
                <a:solidFill>
                  <a:srgbClr val="000094"/>
                </a:solidFill>
                <a:latin typeface="Calibri"/>
              </a:rPr>
              <a:t>02</a:t>
            </a:r>
            <a:endParaRPr lang="de-DE" sz="2500" b="0" strike="noStrike" spc="-1" dirty="0">
              <a:solidFill>
                <a:srgbClr val="000000"/>
              </a:solidFill>
              <a:latin typeface="Calibri"/>
            </a:endParaRPr>
          </a:p>
        </p:txBody>
      </p:sp>
      <p:sp>
        <p:nvSpPr>
          <p:cNvPr id="555" name="TextShape 5"/>
          <p:cNvSpPr txBox="1"/>
          <p:nvPr/>
        </p:nvSpPr>
        <p:spPr>
          <a:xfrm>
            <a:off x="1271160" y="3631440"/>
            <a:ext cx="6119640" cy="280440"/>
          </a:xfrm>
          <a:prstGeom prst="rect">
            <a:avLst/>
          </a:prstGeom>
          <a:noFill/>
          <a:ln>
            <a:noFill/>
          </a:ln>
        </p:spPr>
        <p:txBody>
          <a:bodyPr lIns="0" tIns="0" rIns="90000" bIns="0">
            <a:noAutofit/>
          </a:bodyPr>
          <a:lstStyle/>
          <a:p>
            <a:pPr>
              <a:lnSpc>
                <a:spcPct val="100000"/>
              </a:lnSpc>
              <a:spcBef>
                <a:spcPts val="1001"/>
              </a:spcBef>
              <a:tabLst>
                <a:tab pos="0" algn="l"/>
              </a:tabLst>
            </a:pPr>
            <a:r>
              <a:rPr lang="de-DE" sz="1900" b="0" strike="noStrike" spc="-1" dirty="0" err="1">
                <a:solidFill>
                  <a:srgbClr val="000000"/>
                </a:solidFill>
                <a:latin typeface="Calibri"/>
              </a:rPr>
              <a:t>Presentation</a:t>
            </a:r>
            <a:r>
              <a:rPr lang="de-DE" sz="1900" b="0" strike="noStrike" spc="-1" dirty="0">
                <a:solidFill>
                  <a:srgbClr val="000000"/>
                </a:solidFill>
                <a:latin typeface="Calibri"/>
              </a:rPr>
              <a:t> </a:t>
            </a:r>
            <a:r>
              <a:rPr lang="de-DE" sz="1900" b="0" strike="noStrike" spc="-1" dirty="0" err="1">
                <a:solidFill>
                  <a:srgbClr val="000000"/>
                </a:solidFill>
                <a:latin typeface="Calibri"/>
              </a:rPr>
              <a:t>of</a:t>
            </a:r>
            <a:r>
              <a:rPr lang="de-DE" sz="1900" b="0" strike="noStrike" spc="-1" dirty="0">
                <a:solidFill>
                  <a:srgbClr val="000000"/>
                </a:solidFill>
                <a:latin typeface="Calibri"/>
              </a:rPr>
              <a:t> </a:t>
            </a:r>
            <a:r>
              <a:rPr lang="de-DE" sz="1900" b="0" strike="noStrike" spc="-1" dirty="0" err="1">
                <a:solidFill>
                  <a:srgbClr val="000000"/>
                </a:solidFill>
                <a:latin typeface="Calibri"/>
              </a:rPr>
              <a:t>the</a:t>
            </a:r>
            <a:r>
              <a:rPr lang="de-DE" sz="1900" b="0" strike="noStrike" spc="-1" dirty="0">
                <a:solidFill>
                  <a:srgbClr val="000000"/>
                </a:solidFill>
                <a:latin typeface="Calibri"/>
              </a:rPr>
              <a:t> French </a:t>
            </a:r>
            <a:r>
              <a:rPr lang="de-DE" sz="1900" b="0" strike="noStrike" spc="-1" dirty="0" err="1">
                <a:solidFill>
                  <a:srgbClr val="000000"/>
                </a:solidFill>
                <a:latin typeface="Calibri"/>
              </a:rPr>
              <a:t>working</a:t>
            </a:r>
            <a:r>
              <a:rPr lang="de-DE" sz="1900" b="0" strike="noStrike" spc="-1" dirty="0">
                <a:solidFill>
                  <a:srgbClr val="000000"/>
                </a:solidFill>
                <a:latin typeface="Calibri"/>
              </a:rPr>
              <a:t> </a:t>
            </a:r>
            <a:r>
              <a:rPr lang="de-DE" sz="1900" b="0" strike="noStrike" spc="-1" dirty="0" err="1">
                <a:solidFill>
                  <a:srgbClr val="000000"/>
                </a:solidFill>
                <a:latin typeface="Calibri"/>
              </a:rPr>
              <a:t>group</a:t>
            </a:r>
            <a:endParaRPr lang="de-DE" sz="1900" b="0" strike="noStrike" spc="-1" dirty="0">
              <a:solidFill>
                <a:srgbClr val="000000"/>
              </a:solidFill>
              <a:latin typeface="Calibri"/>
            </a:endParaRPr>
          </a:p>
        </p:txBody>
      </p:sp>
      <p:sp>
        <p:nvSpPr>
          <p:cNvPr id="556" name="TextShape 6"/>
          <p:cNvSpPr txBox="1"/>
          <p:nvPr/>
        </p:nvSpPr>
        <p:spPr>
          <a:xfrm>
            <a:off x="552600" y="3631440"/>
            <a:ext cx="472680" cy="407160"/>
          </a:xfrm>
          <a:prstGeom prst="rect">
            <a:avLst/>
          </a:prstGeom>
          <a:noFill/>
          <a:ln>
            <a:noFill/>
          </a:ln>
        </p:spPr>
        <p:txBody>
          <a:bodyPr lIns="0" tIns="0" rIns="0" bIns="45000">
            <a:noAutofit/>
          </a:bodyPr>
          <a:lstStyle/>
          <a:p>
            <a:pPr>
              <a:lnSpc>
                <a:spcPts val="2299"/>
              </a:lnSpc>
              <a:spcBef>
                <a:spcPts val="2001"/>
              </a:spcBef>
              <a:tabLst>
                <a:tab pos="0" algn="l"/>
              </a:tabLst>
            </a:pPr>
            <a:r>
              <a:rPr lang="en-GB" sz="2500" b="1" strike="noStrike" spc="-1" dirty="0">
                <a:solidFill>
                  <a:srgbClr val="000094"/>
                </a:solidFill>
                <a:latin typeface="Calibri"/>
              </a:rPr>
              <a:t>03</a:t>
            </a:r>
            <a:endParaRPr lang="de-DE" sz="2500" b="0" strike="noStrike" spc="-1" dirty="0">
              <a:solidFill>
                <a:srgbClr val="000000"/>
              </a:solidFill>
              <a:latin typeface="Calibri"/>
            </a:endParaRPr>
          </a:p>
        </p:txBody>
      </p:sp>
      <p:sp>
        <p:nvSpPr>
          <p:cNvPr id="565" name="TextShape 15"/>
          <p:cNvSpPr txBox="1"/>
          <p:nvPr/>
        </p:nvSpPr>
        <p:spPr>
          <a:xfrm>
            <a:off x="515880" y="398875"/>
            <a:ext cx="6874920" cy="757080"/>
          </a:xfrm>
          <a:prstGeom prst="rect">
            <a:avLst/>
          </a:prstGeom>
          <a:noFill/>
          <a:ln>
            <a:noFill/>
          </a:ln>
        </p:spPr>
        <p:txBody>
          <a:bodyPr lIns="0" tIns="0" rIns="0" bIns="45000">
            <a:noAutofit/>
          </a:bodyPr>
          <a:lstStyle/>
          <a:p>
            <a:pPr>
              <a:lnSpc>
                <a:spcPct val="90000"/>
              </a:lnSpc>
            </a:pPr>
            <a:r>
              <a:rPr lang="en-GB" sz="3300" b="0" strike="noStrike" spc="-1" dirty="0">
                <a:solidFill>
                  <a:srgbClr val="000094"/>
                </a:solidFill>
                <a:latin typeface="Calibri"/>
              </a:rPr>
              <a:t>Agenda</a:t>
            </a:r>
            <a:endParaRPr lang="de-DE" sz="3300" b="0" strike="noStrike" spc="-1" dirty="0">
              <a:solidFill>
                <a:srgbClr val="000000"/>
              </a:solidFill>
              <a:latin typeface="Calibri"/>
            </a:endParaRPr>
          </a:p>
        </p:txBody>
      </p:sp>
      <p:sp>
        <p:nvSpPr>
          <p:cNvPr id="566" name="TextShape 16"/>
          <p:cNvSpPr txBox="1"/>
          <p:nvPr/>
        </p:nvSpPr>
        <p:spPr>
          <a:xfrm>
            <a:off x="10237680" y="6377040"/>
            <a:ext cx="849240" cy="364680"/>
          </a:xfrm>
          <a:prstGeom prst="rect">
            <a:avLst/>
          </a:prstGeom>
          <a:noFill/>
          <a:ln>
            <a:noFill/>
          </a:ln>
        </p:spPr>
        <p:txBody>
          <a:bodyPr lIns="0" tIns="0" rIns="0" anchor="ctr">
            <a:noAutofit/>
          </a:bodyPr>
          <a:lstStyle/>
          <a:p>
            <a:pPr algn="r">
              <a:lnSpc>
                <a:spcPct val="100000"/>
              </a:lnSpc>
            </a:pPr>
            <a:r>
              <a:rPr lang="de-DE" sz="1100" spc="-1" dirty="0">
                <a:solidFill>
                  <a:schemeClr val="accent6"/>
                </a:solidFill>
              </a:rPr>
              <a:t>02.12.21</a:t>
            </a:r>
            <a:endParaRPr lang="en-US" sz="1100" b="0" strike="noStrike" spc="-1" dirty="0">
              <a:solidFill>
                <a:schemeClr val="accent6"/>
              </a:solidFill>
              <a:latin typeface="Calibri"/>
            </a:endParaRPr>
          </a:p>
        </p:txBody>
      </p:sp>
      <p:sp>
        <p:nvSpPr>
          <p:cNvPr id="567" name="TextShape 17"/>
          <p:cNvSpPr txBox="1"/>
          <p:nvPr/>
        </p:nvSpPr>
        <p:spPr>
          <a:xfrm>
            <a:off x="515880" y="6377040"/>
            <a:ext cx="4114440" cy="364680"/>
          </a:xfrm>
          <a:prstGeom prst="rect">
            <a:avLst/>
          </a:prstGeom>
          <a:noFill/>
          <a:ln>
            <a:noFill/>
          </a:ln>
        </p:spPr>
        <p:txBody>
          <a:bodyPr lIns="0" tIns="0" anchor="ctr">
            <a:noAutofit/>
          </a:bodyPr>
          <a:lstStyle/>
          <a:p>
            <a:pPr>
              <a:lnSpc>
                <a:spcPct val="100000"/>
              </a:lnSpc>
            </a:pPr>
            <a:r>
              <a:rPr lang="de-DE" sz="1100" b="0" strike="noStrike" spc="-1" dirty="0">
                <a:solidFill>
                  <a:schemeClr val="accent6"/>
                </a:solidFill>
                <a:latin typeface="Calibri"/>
              </a:rPr>
              <a:t>Gaia-X Data Space Committee</a:t>
            </a:r>
            <a:endParaRPr lang="en-US" sz="1100" b="0" strike="noStrike" spc="-1" dirty="0">
              <a:solidFill>
                <a:schemeClr val="accent6"/>
              </a:solidFill>
              <a:latin typeface="Calibri"/>
            </a:endParaRPr>
          </a:p>
        </p:txBody>
      </p:sp>
      <p:sp>
        <p:nvSpPr>
          <p:cNvPr id="568" name="TextShape 18"/>
          <p:cNvSpPr txBox="1"/>
          <p:nvPr/>
        </p:nvSpPr>
        <p:spPr>
          <a:xfrm>
            <a:off x="11157840" y="6377040"/>
            <a:ext cx="509760" cy="364680"/>
          </a:xfrm>
          <a:prstGeom prst="rect">
            <a:avLst/>
          </a:prstGeom>
          <a:noFill/>
          <a:ln>
            <a:noFill/>
          </a:ln>
        </p:spPr>
        <p:txBody>
          <a:bodyPr lIns="0" tIns="0" rIns="0" anchor="ctr">
            <a:noAutofit/>
          </a:bodyPr>
          <a:lstStyle/>
          <a:p>
            <a:pPr algn="r">
              <a:lnSpc>
                <a:spcPct val="100000"/>
              </a:lnSpc>
            </a:pPr>
            <a:fld id="{AA929E3E-2FF6-4316-88AA-CA774BAFE042}" type="slidenum">
              <a:rPr lang="de-DE" sz="1100" b="0" strike="noStrike" spc="-1">
                <a:solidFill>
                  <a:srgbClr val="8B8B8B"/>
                </a:solidFill>
                <a:latin typeface="Calibri"/>
              </a:rPr>
              <a:t>2</a:t>
            </a:fld>
            <a:endParaRPr lang="en-US" sz="1100" b="0" strike="noStrike" spc="-1" dirty="0">
              <a:latin typeface="Calibri"/>
            </a:endParaRPr>
          </a:p>
        </p:txBody>
      </p:sp>
      <p:sp>
        <p:nvSpPr>
          <p:cNvPr id="13" name="TextShape 6">
            <a:extLst>
              <a:ext uri="{FF2B5EF4-FFF2-40B4-BE49-F238E27FC236}">
                <a16:creationId xmlns:a16="http://schemas.microsoft.com/office/drawing/2014/main" id="{3667C1D6-6A54-4B79-820C-30FC02CCCD8B}"/>
              </a:ext>
            </a:extLst>
          </p:cNvPr>
          <p:cNvSpPr txBox="1"/>
          <p:nvPr/>
        </p:nvSpPr>
        <p:spPr>
          <a:xfrm>
            <a:off x="561744" y="4525260"/>
            <a:ext cx="472680" cy="407160"/>
          </a:xfrm>
          <a:prstGeom prst="rect">
            <a:avLst/>
          </a:prstGeom>
          <a:noFill/>
          <a:ln>
            <a:noFill/>
          </a:ln>
        </p:spPr>
        <p:txBody>
          <a:bodyPr lIns="0" tIns="0" rIns="0" bIns="45000">
            <a:noAutofit/>
          </a:bodyPr>
          <a:lstStyle/>
          <a:p>
            <a:pPr>
              <a:lnSpc>
                <a:spcPts val="2299"/>
              </a:lnSpc>
              <a:spcBef>
                <a:spcPts val="2001"/>
              </a:spcBef>
              <a:tabLst>
                <a:tab pos="0" algn="l"/>
              </a:tabLst>
            </a:pPr>
            <a:r>
              <a:rPr lang="en-GB" sz="2500" b="1" strike="noStrike" spc="-1" dirty="0">
                <a:solidFill>
                  <a:srgbClr val="000094"/>
                </a:solidFill>
                <a:latin typeface="Calibri"/>
              </a:rPr>
              <a:t>04</a:t>
            </a:r>
            <a:endParaRPr lang="de-DE" sz="2500" b="0" strike="noStrike" spc="-1" dirty="0">
              <a:solidFill>
                <a:srgbClr val="000000"/>
              </a:solidFill>
              <a:latin typeface="Calibri"/>
            </a:endParaRPr>
          </a:p>
        </p:txBody>
      </p:sp>
      <p:sp>
        <p:nvSpPr>
          <p:cNvPr id="15" name="TextShape 5">
            <a:extLst>
              <a:ext uri="{FF2B5EF4-FFF2-40B4-BE49-F238E27FC236}">
                <a16:creationId xmlns:a16="http://schemas.microsoft.com/office/drawing/2014/main" id="{B7AC1D46-B132-47CA-8208-435C6D4A8A86}"/>
              </a:ext>
            </a:extLst>
          </p:cNvPr>
          <p:cNvSpPr txBox="1"/>
          <p:nvPr/>
        </p:nvSpPr>
        <p:spPr>
          <a:xfrm>
            <a:off x="1271160" y="4522020"/>
            <a:ext cx="7187040" cy="280440"/>
          </a:xfrm>
          <a:prstGeom prst="rect">
            <a:avLst/>
          </a:prstGeom>
          <a:noFill/>
          <a:ln>
            <a:noFill/>
          </a:ln>
        </p:spPr>
        <p:txBody>
          <a:bodyPr lIns="0" tIns="0" rIns="90000" bIns="0">
            <a:noAutofit/>
          </a:bodyPr>
          <a:lstStyle/>
          <a:p>
            <a:pPr>
              <a:lnSpc>
                <a:spcPct val="100000"/>
              </a:lnSpc>
              <a:spcBef>
                <a:spcPts val="1001"/>
              </a:spcBef>
              <a:tabLst>
                <a:tab pos="0" algn="l"/>
              </a:tabLst>
            </a:pPr>
            <a:r>
              <a:rPr lang="de-DE" sz="1900" spc="-1" dirty="0">
                <a:solidFill>
                  <a:srgbClr val="000000"/>
                </a:solidFill>
                <a:latin typeface="Calibri"/>
              </a:rPr>
              <a:t>Exchange on </a:t>
            </a:r>
            <a:r>
              <a:rPr lang="de-DE" sz="1900" spc="-1" dirty="0" err="1">
                <a:solidFill>
                  <a:srgbClr val="000000"/>
                </a:solidFill>
                <a:latin typeface="Calibri"/>
              </a:rPr>
              <a:t>differents</a:t>
            </a:r>
            <a:r>
              <a:rPr lang="de-DE" sz="1900" spc="-1" dirty="0">
                <a:solidFill>
                  <a:srgbClr val="000000"/>
                </a:solidFill>
                <a:latin typeface="Calibri"/>
              </a:rPr>
              <a:t> </a:t>
            </a:r>
            <a:r>
              <a:rPr lang="de-DE" sz="1900" spc="-1" dirty="0" err="1">
                <a:solidFill>
                  <a:srgbClr val="000000"/>
                </a:solidFill>
                <a:latin typeface="Calibri"/>
              </a:rPr>
              <a:t>internationals</a:t>
            </a:r>
            <a:r>
              <a:rPr lang="de-DE" sz="1900" spc="-1" dirty="0">
                <a:solidFill>
                  <a:srgbClr val="000000"/>
                </a:solidFill>
                <a:latin typeface="Calibri"/>
              </a:rPr>
              <a:t> initiatives </a:t>
            </a:r>
            <a:r>
              <a:rPr lang="de-DE" sz="1900" spc="-1" dirty="0" err="1">
                <a:solidFill>
                  <a:srgbClr val="000000"/>
                </a:solidFill>
                <a:latin typeface="Calibri"/>
              </a:rPr>
              <a:t>interests</a:t>
            </a:r>
            <a:r>
              <a:rPr lang="de-DE" sz="1900" spc="-1" dirty="0">
                <a:solidFill>
                  <a:srgbClr val="000000"/>
                </a:solidFill>
                <a:latin typeface="Calibri"/>
              </a:rPr>
              <a:t> </a:t>
            </a:r>
            <a:r>
              <a:rPr lang="de-DE" sz="1900" spc="-1" dirty="0" err="1">
                <a:solidFill>
                  <a:srgbClr val="000000"/>
                </a:solidFill>
                <a:latin typeface="Calibri"/>
              </a:rPr>
              <a:t>ambitions</a:t>
            </a:r>
            <a:endParaRPr lang="de-DE" sz="1900" b="0" strike="noStrike" spc="-1" dirty="0">
              <a:solidFill>
                <a:srgbClr val="000000"/>
              </a:solidFill>
              <a:latin typeface="Calibri"/>
            </a:endParaRPr>
          </a:p>
        </p:txBody>
      </p:sp>
      <p:sp>
        <p:nvSpPr>
          <p:cNvPr id="16" name="TextShape 6">
            <a:extLst>
              <a:ext uri="{FF2B5EF4-FFF2-40B4-BE49-F238E27FC236}">
                <a16:creationId xmlns:a16="http://schemas.microsoft.com/office/drawing/2014/main" id="{74A8739F-C866-4ADC-8525-E4CC69CD4A3B}"/>
              </a:ext>
            </a:extLst>
          </p:cNvPr>
          <p:cNvSpPr txBox="1"/>
          <p:nvPr/>
        </p:nvSpPr>
        <p:spPr>
          <a:xfrm>
            <a:off x="561744" y="5310240"/>
            <a:ext cx="472680" cy="407160"/>
          </a:xfrm>
          <a:prstGeom prst="rect">
            <a:avLst/>
          </a:prstGeom>
          <a:noFill/>
          <a:ln>
            <a:noFill/>
          </a:ln>
        </p:spPr>
        <p:txBody>
          <a:bodyPr lIns="0" tIns="0" rIns="0" bIns="45000">
            <a:noAutofit/>
          </a:bodyPr>
          <a:lstStyle/>
          <a:p>
            <a:pPr>
              <a:lnSpc>
                <a:spcPts val="2299"/>
              </a:lnSpc>
              <a:spcBef>
                <a:spcPts val="2001"/>
              </a:spcBef>
              <a:tabLst>
                <a:tab pos="0" algn="l"/>
              </a:tabLst>
            </a:pPr>
            <a:r>
              <a:rPr lang="en-GB" sz="2500" b="1" strike="noStrike" spc="-1" dirty="0">
                <a:solidFill>
                  <a:srgbClr val="000094"/>
                </a:solidFill>
                <a:latin typeface="Calibri"/>
              </a:rPr>
              <a:t>05</a:t>
            </a:r>
            <a:endParaRPr lang="de-DE" sz="2500" b="0" strike="noStrike" spc="-1" dirty="0">
              <a:solidFill>
                <a:srgbClr val="000000"/>
              </a:solidFill>
              <a:latin typeface="Calibri"/>
            </a:endParaRPr>
          </a:p>
        </p:txBody>
      </p:sp>
      <p:sp>
        <p:nvSpPr>
          <p:cNvPr id="17" name="TextShape 5">
            <a:extLst>
              <a:ext uri="{FF2B5EF4-FFF2-40B4-BE49-F238E27FC236}">
                <a16:creationId xmlns:a16="http://schemas.microsoft.com/office/drawing/2014/main" id="{BCCFB261-92F4-42AD-AF9F-478C3A6DD31B}"/>
              </a:ext>
            </a:extLst>
          </p:cNvPr>
          <p:cNvSpPr txBox="1"/>
          <p:nvPr/>
        </p:nvSpPr>
        <p:spPr>
          <a:xfrm>
            <a:off x="1271160" y="5285880"/>
            <a:ext cx="7187040" cy="280440"/>
          </a:xfrm>
          <a:prstGeom prst="rect">
            <a:avLst/>
          </a:prstGeom>
          <a:noFill/>
          <a:ln>
            <a:noFill/>
          </a:ln>
        </p:spPr>
        <p:txBody>
          <a:bodyPr lIns="0" tIns="0" rIns="90000" bIns="0">
            <a:noAutofit/>
          </a:bodyPr>
          <a:lstStyle/>
          <a:p>
            <a:pPr>
              <a:lnSpc>
                <a:spcPct val="100000"/>
              </a:lnSpc>
              <a:spcBef>
                <a:spcPts val="1001"/>
              </a:spcBef>
              <a:tabLst>
                <a:tab pos="0" algn="l"/>
              </a:tabLst>
            </a:pPr>
            <a:r>
              <a:rPr lang="de-DE" sz="1900" spc="-1" dirty="0">
                <a:solidFill>
                  <a:srgbClr val="000000"/>
                </a:solidFill>
                <a:latin typeface="Calibri"/>
              </a:rPr>
              <a:t>Next </a:t>
            </a:r>
            <a:r>
              <a:rPr lang="de-DE" sz="1900" spc="-1" dirty="0" err="1">
                <a:solidFill>
                  <a:srgbClr val="000000"/>
                </a:solidFill>
                <a:latin typeface="Calibri"/>
              </a:rPr>
              <a:t>Steps</a:t>
            </a:r>
            <a:endParaRPr lang="de-DE" sz="1900" b="0" strike="noStrike" spc="-1" dirty="0">
              <a:solidFill>
                <a:srgbClr val="000000"/>
              </a:solidFill>
              <a:latin typeface="Calibri"/>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 name="Rechteck: abgerundete Ecken 17">
            <a:extLst>
              <a:ext uri="{FF2B5EF4-FFF2-40B4-BE49-F238E27FC236}">
                <a16:creationId xmlns:a16="http://schemas.microsoft.com/office/drawing/2014/main" id="{B8689177-BF5C-48B8-860E-267A655E719D}"/>
              </a:ext>
            </a:extLst>
          </p:cNvPr>
          <p:cNvSpPr/>
          <p:nvPr/>
        </p:nvSpPr>
        <p:spPr>
          <a:xfrm>
            <a:off x="887207" y="3267288"/>
            <a:ext cx="10344107" cy="2698106"/>
          </a:xfrm>
          <a:prstGeom prst="roundRect">
            <a:avLst>
              <a:gd name="adj" fmla="val 16667"/>
            </a:avLst>
          </a:prstGeom>
          <a:solidFill>
            <a:srgbClr val="93C0FB"/>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36000" bIns="3600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5" name="Titel 4">
            <a:extLst>
              <a:ext uri="{FF2B5EF4-FFF2-40B4-BE49-F238E27FC236}">
                <a16:creationId xmlns:a16="http://schemas.microsoft.com/office/drawing/2014/main" id="{98A4365D-19C0-4DE3-A64C-396437ABADAF}"/>
              </a:ext>
            </a:extLst>
          </p:cNvPr>
          <p:cNvSpPr>
            <a:spLocks noGrp="1"/>
          </p:cNvSpPr>
          <p:nvPr>
            <p:ph type="title"/>
          </p:nvPr>
        </p:nvSpPr>
        <p:spPr>
          <a:xfrm>
            <a:off x="520926" y="327170"/>
            <a:ext cx="6875155" cy="757619"/>
          </a:xfrm>
        </p:spPr>
        <p:txBody>
          <a:bodyPr/>
          <a:lstStyle/>
          <a:p>
            <a:r>
              <a:rPr lang="en-GB" noProof="0" dirty="0"/>
              <a:t>DSBC within the Gaia-X AISBL</a:t>
            </a:r>
          </a:p>
        </p:txBody>
      </p:sp>
      <p:sp>
        <p:nvSpPr>
          <p:cNvPr id="76" name="Rechteck: abgerundete Ecken 16">
            <a:extLst>
              <a:ext uri="{FF2B5EF4-FFF2-40B4-BE49-F238E27FC236}">
                <a16:creationId xmlns:a16="http://schemas.microsoft.com/office/drawing/2014/main" id="{6B199380-D743-4B9E-B90C-048A399AEB19}"/>
              </a:ext>
            </a:extLst>
          </p:cNvPr>
          <p:cNvSpPr/>
          <p:nvPr/>
        </p:nvSpPr>
        <p:spPr>
          <a:xfrm>
            <a:off x="1450570" y="2395817"/>
            <a:ext cx="1908000" cy="490450"/>
          </a:xfrm>
          <a:prstGeom prst="roundRect">
            <a:avLst/>
          </a:prstGeom>
          <a:solidFill>
            <a:srgbClr val="00B0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36000" bIns="3600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FFFFFF"/>
                </a:solidFill>
                <a:effectLst/>
                <a:uLnTx/>
                <a:uFillTx/>
                <a:latin typeface="Calibri"/>
                <a:ea typeface="+mn-ea"/>
                <a:cs typeface="+mn-cs"/>
              </a:rPr>
              <a:t>Policy Rules Committee</a:t>
            </a:r>
          </a:p>
        </p:txBody>
      </p:sp>
      <p:sp>
        <p:nvSpPr>
          <p:cNvPr id="78" name="Rechteck: abgerundete Ecken 18">
            <a:extLst>
              <a:ext uri="{FF2B5EF4-FFF2-40B4-BE49-F238E27FC236}">
                <a16:creationId xmlns:a16="http://schemas.microsoft.com/office/drawing/2014/main" id="{AD46B7B7-B93F-4F85-9568-309402FEC9B2}"/>
              </a:ext>
            </a:extLst>
          </p:cNvPr>
          <p:cNvSpPr/>
          <p:nvPr/>
        </p:nvSpPr>
        <p:spPr>
          <a:xfrm>
            <a:off x="8533698" y="2405150"/>
            <a:ext cx="1908000" cy="490450"/>
          </a:xfrm>
          <a:prstGeom prst="roundRect">
            <a:avLst>
              <a:gd name="adj" fmla="val 16667"/>
            </a:avLst>
          </a:prstGeom>
          <a:solidFill>
            <a:srgbClr val="00B0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36000" bIns="3600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FFFFFF"/>
                </a:solidFill>
                <a:effectLst/>
                <a:uLnTx/>
                <a:uFillTx/>
                <a:latin typeface="Calibri"/>
                <a:ea typeface="+mn-ea"/>
                <a:cs typeface="+mn-cs"/>
              </a:rPr>
              <a:t>Technical Committee</a:t>
            </a:r>
          </a:p>
        </p:txBody>
      </p:sp>
      <p:sp>
        <p:nvSpPr>
          <p:cNvPr id="74" name="Rechteck: abgerundete Ecken 7">
            <a:extLst>
              <a:ext uri="{FF2B5EF4-FFF2-40B4-BE49-F238E27FC236}">
                <a16:creationId xmlns:a16="http://schemas.microsoft.com/office/drawing/2014/main" id="{2FA9AD4A-07FF-4A67-8616-D336363C0B4C}"/>
              </a:ext>
            </a:extLst>
          </p:cNvPr>
          <p:cNvSpPr/>
          <p:nvPr/>
        </p:nvSpPr>
        <p:spPr>
          <a:xfrm>
            <a:off x="5043353" y="1145063"/>
            <a:ext cx="1908000" cy="376007"/>
          </a:xfrm>
          <a:prstGeom prst="round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FFFFFF"/>
                </a:solidFill>
                <a:effectLst/>
                <a:uLnTx/>
                <a:uFillTx/>
                <a:latin typeface="Calibri"/>
                <a:ea typeface="+mn-ea"/>
                <a:cs typeface="+mn-cs"/>
              </a:rPr>
              <a:t>General Assembly</a:t>
            </a:r>
          </a:p>
        </p:txBody>
      </p:sp>
      <p:sp>
        <p:nvSpPr>
          <p:cNvPr id="75" name="Rechteck: abgerundete Ecken 19">
            <a:extLst>
              <a:ext uri="{FF2B5EF4-FFF2-40B4-BE49-F238E27FC236}">
                <a16:creationId xmlns:a16="http://schemas.microsoft.com/office/drawing/2014/main" id="{BBC0F03A-EFFF-4E79-9E53-ABBE181F428F}"/>
              </a:ext>
            </a:extLst>
          </p:cNvPr>
          <p:cNvSpPr/>
          <p:nvPr/>
        </p:nvSpPr>
        <p:spPr>
          <a:xfrm>
            <a:off x="6068770" y="1952961"/>
            <a:ext cx="1908000" cy="287503"/>
          </a:xfrm>
          <a:prstGeom prst="roundRect">
            <a:avLst>
              <a:gd name="adj" fmla="val 16667"/>
            </a:avLst>
          </a:prstGeom>
          <a:solidFill>
            <a:srgbClr val="5959B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FFFFFF"/>
                </a:solidFill>
                <a:effectLst/>
                <a:uLnTx/>
                <a:uFillTx/>
                <a:latin typeface="Calibri"/>
                <a:ea typeface="+mn-ea"/>
                <a:cs typeface="+mn-cs"/>
              </a:rPr>
              <a:t>Management Team</a:t>
            </a:r>
          </a:p>
        </p:txBody>
      </p:sp>
      <p:grpSp>
        <p:nvGrpSpPr>
          <p:cNvPr id="79" name="Group 31">
            <a:extLst>
              <a:ext uri="{FF2B5EF4-FFF2-40B4-BE49-F238E27FC236}">
                <a16:creationId xmlns:a16="http://schemas.microsoft.com/office/drawing/2014/main" id="{55F1141A-CA14-4A79-A005-D0719DF412C2}"/>
              </a:ext>
            </a:extLst>
          </p:cNvPr>
          <p:cNvGrpSpPr/>
          <p:nvPr/>
        </p:nvGrpSpPr>
        <p:grpSpPr>
          <a:xfrm>
            <a:off x="2840537" y="1623314"/>
            <a:ext cx="6170803" cy="348498"/>
            <a:chOff x="2819400" y="1888177"/>
            <a:chExt cx="6170803" cy="282729"/>
          </a:xfrm>
        </p:grpSpPr>
        <p:sp>
          <p:nvSpPr>
            <p:cNvPr id="80" name="Rechteck: abgerundete Ecken 13">
              <a:extLst>
                <a:ext uri="{FF2B5EF4-FFF2-40B4-BE49-F238E27FC236}">
                  <a16:creationId xmlns:a16="http://schemas.microsoft.com/office/drawing/2014/main" id="{4992F1E9-6D45-46FC-B7F6-D496E79CC54B}"/>
                </a:ext>
              </a:extLst>
            </p:cNvPr>
            <p:cNvSpPr/>
            <p:nvPr/>
          </p:nvSpPr>
          <p:spPr>
            <a:xfrm>
              <a:off x="7082203" y="1905000"/>
              <a:ext cx="1908000" cy="265906"/>
            </a:xfrm>
            <a:prstGeom prst="roundRect">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FFFFFF"/>
                  </a:solidFill>
                  <a:effectLst/>
                  <a:uLnTx/>
                  <a:uFillTx/>
                  <a:latin typeface="Calibri"/>
                  <a:ea typeface="+mn-ea"/>
                  <a:cs typeface="+mn-cs"/>
                </a:rPr>
                <a:t>General Advisory Board</a:t>
              </a:r>
            </a:p>
          </p:txBody>
        </p:sp>
        <p:sp>
          <p:nvSpPr>
            <p:cNvPr id="81" name="Rechteck: abgerundete Ecken 15">
              <a:extLst>
                <a:ext uri="{FF2B5EF4-FFF2-40B4-BE49-F238E27FC236}">
                  <a16:creationId xmlns:a16="http://schemas.microsoft.com/office/drawing/2014/main" id="{61604C76-C592-4F5F-8FBD-0CEFF8CB69FA}"/>
                </a:ext>
              </a:extLst>
            </p:cNvPr>
            <p:cNvSpPr/>
            <p:nvPr/>
          </p:nvSpPr>
          <p:spPr>
            <a:xfrm>
              <a:off x="2819400" y="1888177"/>
              <a:ext cx="2093104" cy="282729"/>
            </a:xfrm>
            <a:prstGeom prst="roundRect">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FFFFFF"/>
                  </a:solidFill>
                  <a:effectLst/>
                  <a:uLnTx/>
                  <a:uFillTx/>
                  <a:latin typeface="Calibri"/>
                  <a:ea typeface="+mn-ea"/>
                  <a:cs typeface="+mn-cs"/>
                </a:rPr>
                <a:t>Governmental Advisory Board</a:t>
              </a:r>
            </a:p>
          </p:txBody>
        </p:sp>
        <p:sp>
          <p:nvSpPr>
            <p:cNvPr id="82" name="Rechteck: abgerundete Ecken 12">
              <a:extLst>
                <a:ext uri="{FF2B5EF4-FFF2-40B4-BE49-F238E27FC236}">
                  <a16:creationId xmlns:a16="http://schemas.microsoft.com/office/drawing/2014/main" id="{57280310-2C63-4487-A0FA-66B65F23AD32}"/>
                </a:ext>
              </a:extLst>
            </p:cNvPr>
            <p:cNvSpPr/>
            <p:nvPr/>
          </p:nvSpPr>
          <p:spPr>
            <a:xfrm>
              <a:off x="5043353" y="1905000"/>
              <a:ext cx="1908000" cy="265906"/>
            </a:xfrm>
            <a:prstGeom prst="roundRect">
              <a:avLst>
                <a:gd name="adj" fmla="val 16667"/>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FFFFFF"/>
                  </a:solidFill>
                  <a:effectLst/>
                  <a:uLnTx/>
                  <a:uFillTx/>
                  <a:latin typeface="Calibri"/>
                  <a:ea typeface="+mn-ea"/>
                  <a:cs typeface="+mn-cs"/>
                </a:rPr>
                <a:t>Board of Directors</a:t>
              </a:r>
            </a:p>
          </p:txBody>
        </p:sp>
      </p:grpSp>
      <p:sp>
        <p:nvSpPr>
          <p:cNvPr id="83" name="Rechteck: abgerundete Ecken 17">
            <a:extLst>
              <a:ext uri="{FF2B5EF4-FFF2-40B4-BE49-F238E27FC236}">
                <a16:creationId xmlns:a16="http://schemas.microsoft.com/office/drawing/2014/main" id="{8A610CCB-EADC-4C50-82E4-D672B707C3BE}"/>
              </a:ext>
            </a:extLst>
          </p:cNvPr>
          <p:cNvSpPr/>
          <p:nvPr/>
        </p:nvSpPr>
        <p:spPr>
          <a:xfrm>
            <a:off x="4670388" y="2405150"/>
            <a:ext cx="2653929" cy="490450"/>
          </a:xfrm>
          <a:prstGeom prst="roundRect">
            <a:avLst>
              <a:gd name="adj" fmla="val 16667"/>
            </a:avLst>
          </a:prstGeom>
          <a:solidFill>
            <a:srgbClr val="63A3F9"/>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36000" bIns="3600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FFFFFF"/>
                </a:solidFill>
                <a:effectLst/>
                <a:uLnTx/>
                <a:uFillTx/>
                <a:latin typeface="Calibri"/>
                <a:ea typeface="+mn-ea"/>
                <a:cs typeface="+mn-cs"/>
              </a:rPr>
              <a:t>Data Spaces Business Committee</a:t>
            </a:r>
          </a:p>
        </p:txBody>
      </p:sp>
      <p:cxnSp>
        <p:nvCxnSpPr>
          <p:cNvPr id="86" name="Shape 57">
            <a:extLst>
              <a:ext uri="{FF2B5EF4-FFF2-40B4-BE49-F238E27FC236}">
                <a16:creationId xmlns:a16="http://schemas.microsoft.com/office/drawing/2014/main" id="{976F280F-D07A-4308-819F-C1456FCD489C}"/>
              </a:ext>
            </a:extLst>
          </p:cNvPr>
          <p:cNvCxnSpPr>
            <a:cxnSpLocks/>
            <a:stCxn id="78" idx="0"/>
          </p:cNvCxnSpPr>
          <p:nvPr/>
        </p:nvCxnSpPr>
        <p:spPr>
          <a:xfrm rot="16200000" flipV="1">
            <a:off x="7656050" y="573501"/>
            <a:ext cx="101538" cy="3561759"/>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553D3746-071B-440D-9D3A-B19219B0A1C0}"/>
              </a:ext>
            </a:extLst>
          </p:cNvPr>
          <p:cNvCxnSpPr>
            <a:cxnSpLocks/>
            <a:stCxn id="82" idx="2"/>
            <a:endCxn id="83" idx="0"/>
          </p:cNvCxnSpPr>
          <p:nvPr/>
        </p:nvCxnSpPr>
        <p:spPr>
          <a:xfrm flipH="1">
            <a:off x="5997353" y="1971815"/>
            <a:ext cx="21137" cy="433335"/>
          </a:xfrm>
          <a:prstGeom prst="line">
            <a:avLst/>
          </a:prstGeom>
        </p:spPr>
        <p:style>
          <a:lnRef idx="1">
            <a:schemeClr val="accent1"/>
          </a:lnRef>
          <a:fillRef idx="0">
            <a:schemeClr val="accent1"/>
          </a:fillRef>
          <a:effectRef idx="0">
            <a:schemeClr val="accent1"/>
          </a:effectRef>
          <a:fontRef idx="minor">
            <a:schemeClr val="tx1"/>
          </a:fontRef>
        </p:style>
      </p:cxnSp>
      <p:sp>
        <p:nvSpPr>
          <p:cNvPr id="126" name="Rechteck: abgerundete Ecken 20">
            <a:extLst>
              <a:ext uri="{FF2B5EF4-FFF2-40B4-BE49-F238E27FC236}">
                <a16:creationId xmlns:a16="http://schemas.microsoft.com/office/drawing/2014/main" id="{547C0DF1-2BFA-4597-BB7D-266191DE501E}"/>
              </a:ext>
            </a:extLst>
          </p:cNvPr>
          <p:cNvSpPr/>
          <p:nvPr/>
        </p:nvSpPr>
        <p:spPr>
          <a:xfrm>
            <a:off x="1513058" y="4986243"/>
            <a:ext cx="9644782" cy="721297"/>
          </a:xfrm>
          <a:prstGeom prst="roundRect">
            <a:avLst>
              <a:gd name="adj" fmla="val 16668"/>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FFFFFF"/>
              </a:solidFill>
              <a:effectLst/>
              <a:uLnTx/>
              <a:uFillTx/>
              <a:latin typeface="Calibri"/>
              <a:ea typeface="+mn-ea"/>
              <a:cs typeface="+mn-cs"/>
            </a:endParaRPr>
          </a:p>
        </p:txBody>
      </p:sp>
      <p:grpSp>
        <p:nvGrpSpPr>
          <p:cNvPr id="8" name="Groupe 7">
            <a:extLst>
              <a:ext uri="{FF2B5EF4-FFF2-40B4-BE49-F238E27FC236}">
                <a16:creationId xmlns:a16="http://schemas.microsoft.com/office/drawing/2014/main" id="{8C445A3B-ACA4-4F9D-B01C-9DB07BAD236F}"/>
              </a:ext>
            </a:extLst>
          </p:cNvPr>
          <p:cNvGrpSpPr/>
          <p:nvPr/>
        </p:nvGrpSpPr>
        <p:grpSpPr>
          <a:xfrm>
            <a:off x="928528" y="5008302"/>
            <a:ext cx="8962431" cy="721297"/>
            <a:chOff x="549712" y="4514609"/>
            <a:chExt cx="8962431" cy="721297"/>
          </a:xfrm>
        </p:grpSpPr>
        <p:sp>
          <p:nvSpPr>
            <p:cNvPr id="106" name="Rectangle 59">
              <a:extLst>
                <a:ext uri="{FF2B5EF4-FFF2-40B4-BE49-F238E27FC236}">
                  <a16:creationId xmlns:a16="http://schemas.microsoft.com/office/drawing/2014/main" id="{1D4C83AA-CB33-427F-8F6A-B2CF6C9072CA}"/>
                </a:ext>
              </a:extLst>
            </p:cNvPr>
            <p:cNvSpPr/>
            <p:nvPr/>
          </p:nvSpPr>
          <p:spPr>
            <a:xfrm>
              <a:off x="6153828" y="4909839"/>
              <a:ext cx="1080000" cy="216000"/>
            </a:xfrm>
            <a:prstGeom prst="roundRect">
              <a:avLst>
                <a:gd name="adj" fmla="val 11612"/>
              </a:avLst>
            </a:prstGeom>
            <a:solidFill>
              <a:schemeClr val="bg1"/>
            </a:solidFill>
            <a:ln>
              <a:noFill/>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lIns="36000" r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7F7F7F">
                      <a:lumMod val="50000"/>
                    </a:srgbClr>
                  </a:solidFill>
                  <a:effectLst/>
                  <a:uLnTx/>
                  <a:uFillTx/>
                  <a:latin typeface="Calibri"/>
                  <a:ea typeface="+mn-ea"/>
                  <a:cs typeface="+mn-cs"/>
                </a:rPr>
                <a:t>Education</a:t>
              </a:r>
            </a:p>
          </p:txBody>
        </p:sp>
        <p:sp>
          <p:nvSpPr>
            <p:cNvPr id="109" name="Rectangle 25">
              <a:extLst>
                <a:ext uri="{FF2B5EF4-FFF2-40B4-BE49-F238E27FC236}">
                  <a16:creationId xmlns:a16="http://schemas.microsoft.com/office/drawing/2014/main" id="{EBD2B357-0565-42CC-954C-66A6BA71B318}"/>
                </a:ext>
              </a:extLst>
            </p:cNvPr>
            <p:cNvSpPr/>
            <p:nvPr/>
          </p:nvSpPr>
          <p:spPr>
            <a:xfrm>
              <a:off x="7294581" y="4642520"/>
              <a:ext cx="1080000" cy="216000"/>
            </a:xfrm>
            <a:prstGeom prst="roundRect">
              <a:avLst>
                <a:gd name="adj" fmla="val 11467"/>
              </a:avLst>
            </a:prstGeom>
            <a:solidFill>
              <a:schemeClr val="bg1"/>
            </a:solidFill>
            <a:ln>
              <a:noFill/>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lIns="36000" r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7F7F7F">
                      <a:lumMod val="50000"/>
                    </a:srgbClr>
                  </a:solidFill>
                  <a:effectLst/>
                  <a:uLnTx/>
                  <a:uFillTx/>
                  <a:latin typeface="Calibri"/>
                  <a:ea typeface="+mn-ea"/>
                  <a:cs typeface="+mn-cs"/>
                </a:rPr>
                <a:t>Space</a:t>
              </a:r>
            </a:p>
          </p:txBody>
        </p:sp>
        <p:sp>
          <p:nvSpPr>
            <p:cNvPr id="110" name="Rectangle 56">
              <a:extLst>
                <a:ext uri="{FF2B5EF4-FFF2-40B4-BE49-F238E27FC236}">
                  <a16:creationId xmlns:a16="http://schemas.microsoft.com/office/drawing/2014/main" id="{5A35FF35-E777-42D4-B130-4F9DA3BE1DCB}"/>
                </a:ext>
              </a:extLst>
            </p:cNvPr>
            <p:cNvSpPr/>
            <p:nvPr/>
          </p:nvSpPr>
          <p:spPr>
            <a:xfrm>
              <a:off x="5014031" y="4909839"/>
              <a:ext cx="1080000" cy="216000"/>
            </a:xfrm>
            <a:prstGeom prst="roundRect">
              <a:avLst>
                <a:gd name="adj" fmla="val 11612"/>
              </a:avLst>
            </a:prstGeom>
            <a:solidFill>
              <a:schemeClr val="bg1"/>
            </a:solidFill>
            <a:ln w="31750">
              <a:noFill/>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lIns="36000" r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srgbClr val="7F7F7F">
                      <a:lumMod val="50000"/>
                    </a:srgbClr>
                  </a:solidFill>
                  <a:effectLst/>
                  <a:uLnTx/>
                  <a:uFillTx/>
                  <a:latin typeface="Calibri"/>
                  <a:ea typeface="+mn-ea"/>
                  <a:cs typeface="+mn-cs"/>
                </a:rPr>
                <a:t>Smart City</a:t>
              </a:r>
            </a:p>
          </p:txBody>
        </p:sp>
        <p:sp>
          <p:nvSpPr>
            <p:cNvPr id="115" name="Rectangle 19">
              <a:extLst>
                <a:ext uri="{FF2B5EF4-FFF2-40B4-BE49-F238E27FC236}">
                  <a16:creationId xmlns:a16="http://schemas.microsoft.com/office/drawing/2014/main" id="{A589E214-A731-4B2F-BBDE-27BC779C4E2A}"/>
                </a:ext>
              </a:extLst>
            </p:cNvPr>
            <p:cNvSpPr/>
            <p:nvPr/>
          </p:nvSpPr>
          <p:spPr>
            <a:xfrm>
              <a:off x="3874616" y="4642520"/>
              <a:ext cx="1080000" cy="216000"/>
            </a:xfrm>
            <a:prstGeom prst="roundRect">
              <a:avLst>
                <a:gd name="adj" fmla="val 11612"/>
              </a:avLst>
            </a:prstGeom>
            <a:solidFill>
              <a:schemeClr val="bg1"/>
            </a:solidFill>
            <a:ln>
              <a:noFill/>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lIns="36000" r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7F7F7F">
                      <a:lumMod val="50000"/>
                    </a:srgbClr>
                  </a:solidFill>
                  <a:effectLst/>
                  <a:uLnTx/>
                  <a:uFillTx/>
                  <a:latin typeface="Calibri"/>
                  <a:ea typeface="+mn-ea"/>
                  <a:cs typeface="+mn-cs"/>
                </a:rPr>
                <a:t>Mobility</a:t>
              </a:r>
            </a:p>
          </p:txBody>
        </p:sp>
        <p:sp>
          <p:nvSpPr>
            <p:cNvPr id="116" name="Rectangle 23">
              <a:extLst>
                <a:ext uri="{FF2B5EF4-FFF2-40B4-BE49-F238E27FC236}">
                  <a16:creationId xmlns:a16="http://schemas.microsoft.com/office/drawing/2014/main" id="{DEB48250-AF79-4938-B05C-3E815534AA4C}"/>
                </a:ext>
              </a:extLst>
            </p:cNvPr>
            <p:cNvSpPr/>
            <p:nvPr/>
          </p:nvSpPr>
          <p:spPr>
            <a:xfrm>
              <a:off x="5014604" y="4642520"/>
              <a:ext cx="1080000" cy="216000"/>
            </a:xfrm>
            <a:prstGeom prst="roundRect">
              <a:avLst>
                <a:gd name="adj" fmla="val 11467"/>
              </a:avLst>
            </a:prstGeom>
            <a:solidFill>
              <a:schemeClr val="bg1"/>
            </a:solidFill>
            <a:ln>
              <a:noFill/>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lIns="36000" r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7F7F7F">
                      <a:lumMod val="50000"/>
                    </a:srgbClr>
                  </a:solidFill>
                  <a:effectLst/>
                  <a:uLnTx/>
                  <a:uFillTx/>
                  <a:latin typeface="Calibri"/>
                  <a:ea typeface="+mn-ea"/>
                  <a:cs typeface="+mn-cs"/>
                </a:rPr>
                <a:t>Health </a:t>
              </a:r>
            </a:p>
          </p:txBody>
        </p:sp>
        <p:sp>
          <p:nvSpPr>
            <p:cNvPr id="117" name="Rectangle 57">
              <a:extLst>
                <a:ext uri="{FF2B5EF4-FFF2-40B4-BE49-F238E27FC236}">
                  <a16:creationId xmlns:a16="http://schemas.microsoft.com/office/drawing/2014/main" id="{EEDC23C1-5A6A-468F-B252-909DD580BFBF}"/>
                </a:ext>
              </a:extLst>
            </p:cNvPr>
            <p:cNvSpPr/>
            <p:nvPr/>
          </p:nvSpPr>
          <p:spPr>
            <a:xfrm>
              <a:off x="6154592" y="4642520"/>
              <a:ext cx="1080000" cy="216000"/>
            </a:xfrm>
            <a:prstGeom prst="roundRect">
              <a:avLst>
                <a:gd name="adj" fmla="val 11612"/>
              </a:avLst>
            </a:prstGeom>
            <a:solidFill>
              <a:schemeClr val="bg1"/>
            </a:solidFill>
            <a:ln>
              <a:noFill/>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lIns="36000" r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7F7F7F">
                      <a:lumMod val="50000"/>
                    </a:srgbClr>
                  </a:solidFill>
                  <a:effectLst/>
                  <a:uLnTx/>
                  <a:uFillTx/>
                  <a:latin typeface="Calibri"/>
                  <a:ea typeface="+mn-ea"/>
                  <a:cs typeface="+mn-cs"/>
                </a:rPr>
                <a:t>Public Sector</a:t>
              </a:r>
            </a:p>
          </p:txBody>
        </p:sp>
        <p:sp>
          <p:nvSpPr>
            <p:cNvPr id="118" name="Rectangle 61">
              <a:extLst>
                <a:ext uri="{FF2B5EF4-FFF2-40B4-BE49-F238E27FC236}">
                  <a16:creationId xmlns:a16="http://schemas.microsoft.com/office/drawing/2014/main" id="{9512DF1E-6EC7-4DC7-8379-91147D67894A}"/>
                </a:ext>
              </a:extLst>
            </p:cNvPr>
            <p:cNvSpPr/>
            <p:nvPr/>
          </p:nvSpPr>
          <p:spPr>
            <a:xfrm>
              <a:off x="3874234" y="4909839"/>
              <a:ext cx="1080000" cy="216000"/>
            </a:xfrm>
            <a:prstGeom prst="roundRect">
              <a:avLst>
                <a:gd name="adj" fmla="val 11612"/>
              </a:avLst>
            </a:prstGeom>
            <a:solidFill>
              <a:schemeClr val="bg1"/>
            </a:solidFill>
            <a:ln>
              <a:noFill/>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lIns="36000" r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7F7F7F">
                      <a:lumMod val="50000"/>
                    </a:srgbClr>
                  </a:solidFill>
                  <a:effectLst/>
                  <a:uLnTx/>
                  <a:uFillTx/>
                  <a:latin typeface="Calibri"/>
                  <a:ea typeface="+mn-ea"/>
                  <a:cs typeface="+mn-cs"/>
                </a:rPr>
                <a:t>Circular Economy</a:t>
              </a:r>
            </a:p>
          </p:txBody>
        </p:sp>
        <p:sp>
          <p:nvSpPr>
            <p:cNvPr id="119" name="Rectangle 17">
              <a:extLst>
                <a:ext uri="{FF2B5EF4-FFF2-40B4-BE49-F238E27FC236}">
                  <a16:creationId xmlns:a16="http://schemas.microsoft.com/office/drawing/2014/main" id="{0A4A1C71-6A38-4506-850F-4C917BA41624}"/>
                </a:ext>
              </a:extLst>
            </p:cNvPr>
            <p:cNvSpPr/>
            <p:nvPr/>
          </p:nvSpPr>
          <p:spPr>
            <a:xfrm>
              <a:off x="1594257" y="4642520"/>
              <a:ext cx="1080000" cy="216000"/>
            </a:xfrm>
            <a:prstGeom prst="roundRect">
              <a:avLst>
                <a:gd name="adj" fmla="val 11467"/>
              </a:avLst>
            </a:prstGeom>
            <a:solidFill>
              <a:schemeClr val="bg1"/>
            </a:solidFill>
            <a:ln>
              <a:noFill/>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lIns="36000" r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7F7F7F">
                      <a:lumMod val="50000"/>
                    </a:srgbClr>
                  </a:solidFill>
                  <a:effectLst/>
                  <a:uLnTx/>
                  <a:uFillTx/>
                  <a:latin typeface="Calibri"/>
                  <a:ea typeface="+mn-ea"/>
                  <a:cs typeface="+mn-cs"/>
                </a:rPr>
                <a:t>Energy</a:t>
              </a:r>
            </a:p>
          </p:txBody>
        </p:sp>
        <p:sp>
          <p:nvSpPr>
            <p:cNvPr id="120" name="Rectangle 27">
              <a:extLst>
                <a:ext uri="{FF2B5EF4-FFF2-40B4-BE49-F238E27FC236}">
                  <a16:creationId xmlns:a16="http://schemas.microsoft.com/office/drawing/2014/main" id="{C3646C3B-3568-42E2-9F16-00AAB23DC757}"/>
                </a:ext>
              </a:extLst>
            </p:cNvPr>
            <p:cNvSpPr/>
            <p:nvPr/>
          </p:nvSpPr>
          <p:spPr>
            <a:xfrm>
              <a:off x="2734054" y="4909839"/>
              <a:ext cx="1080000" cy="216000"/>
            </a:xfrm>
            <a:prstGeom prst="roundRect">
              <a:avLst>
                <a:gd name="adj" fmla="val 11467"/>
              </a:avLst>
            </a:prstGeom>
            <a:solidFill>
              <a:schemeClr val="bg1"/>
            </a:solidFill>
            <a:ln>
              <a:noFill/>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lIns="36000" r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7F7F7F">
                      <a:lumMod val="50000"/>
                    </a:srgbClr>
                  </a:solidFill>
                  <a:effectLst/>
                  <a:uLnTx/>
                  <a:uFillTx/>
                  <a:latin typeface="Calibri"/>
                  <a:ea typeface="+mn-ea"/>
                  <a:cs typeface="+mn-cs"/>
                </a:rPr>
                <a:t>Aerospace</a:t>
              </a:r>
            </a:p>
          </p:txBody>
        </p:sp>
        <p:sp>
          <p:nvSpPr>
            <p:cNvPr id="121" name="Rectangle 21">
              <a:extLst>
                <a:ext uri="{FF2B5EF4-FFF2-40B4-BE49-F238E27FC236}">
                  <a16:creationId xmlns:a16="http://schemas.microsoft.com/office/drawing/2014/main" id="{664DCF0C-0551-4BDD-A859-5644260F2645}"/>
                </a:ext>
              </a:extLst>
            </p:cNvPr>
            <p:cNvSpPr/>
            <p:nvPr/>
          </p:nvSpPr>
          <p:spPr>
            <a:xfrm>
              <a:off x="2734245" y="4642520"/>
              <a:ext cx="1080000" cy="216000"/>
            </a:xfrm>
            <a:prstGeom prst="roundRect">
              <a:avLst>
                <a:gd name="adj" fmla="val 11467"/>
              </a:avLst>
            </a:prstGeom>
            <a:solidFill>
              <a:schemeClr val="bg1"/>
            </a:solidFill>
            <a:ln>
              <a:noFill/>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lIns="36000" r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7F7F7F">
                      <a:lumMod val="50000"/>
                    </a:srgbClr>
                  </a:solidFill>
                  <a:effectLst/>
                  <a:uLnTx/>
                  <a:uFillTx/>
                  <a:latin typeface="Calibri"/>
                  <a:ea typeface="+mn-ea"/>
                  <a:cs typeface="+mn-cs"/>
                </a:rPr>
                <a:t>Industry 4.0</a:t>
              </a:r>
            </a:p>
          </p:txBody>
        </p:sp>
        <p:sp>
          <p:nvSpPr>
            <p:cNvPr id="122" name="Rectangle 15">
              <a:extLst>
                <a:ext uri="{FF2B5EF4-FFF2-40B4-BE49-F238E27FC236}">
                  <a16:creationId xmlns:a16="http://schemas.microsoft.com/office/drawing/2014/main" id="{038E632A-7EA7-4D6B-86C4-60A649CD50D4}"/>
                </a:ext>
              </a:extLst>
            </p:cNvPr>
            <p:cNvSpPr/>
            <p:nvPr/>
          </p:nvSpPr>
          <p:spPr>
            <a:xfrm>
              <a:off x="1594257" y="4909839"/>
              <a:ext cx="1080000" cy="216000"/>
            </a:xfrm>
            <a:prstGeom prst="roundRect">
              <a:avLst>
                <a:gd name="adj" fmla="val 11612"/>
              </a:avLst>
            </a:prstGeom>
            <a:solidFill>
              <a:schemeClr val="bg1"/>
            </a:solidFill>
            <a:ln>
              <a:noFill/>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lIns="36000" r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7F7F7F">
                      <a:lumMod val="50000"/>
                    </a:srgbClr>
                  </a:solidFill>
                  <a:effectLst/>
                  <a:uLnTx/>
                  <a:uFillTx/>
                  <a:latin typeface="Calibri"/>
                  <a:ea typeface="+mn-ea"/>
                  <a:cs typeface="+mn-cs"/>
                </a:rPr>
                <a:t>Agriculture</a:t>
              </a:r>
            </a:p>
          </p:txBody>
        </p:sp>
        <p:sp>
          <p:nvSpPr>
            <p:cNvPr id="123" name="Rectangle 19">
              <a:extLst>
                <a:ext uri="{FF2B5EF4-FFF2-40B4-BE49-F238E27FC236}">
                  <a16:creationId xmlns:a16="http://schemas.microsoft.com/office/drawing/2014/main" id="{34A8B2ED-5CE5-4031-9C06-D4050555586C}"/>
                </a:ext>
              </a:extLst>
            </p:cNvPr>
            <p:cNvSpPr/>
            <p:nvPr/>
          </p:nvSpPr>
          <p:spPr>
            <a:xfrm>
              <a:off x="8432143" y="4642520"/>
              <a:ext cx="1080000" cy="216000"/>
            </a:xfrm>
            <a:prstGeom prst="roundRect">
              <a:avLst>
                <a:gd name="adj" fmla="val 11612"/>
              </a:avLst>
            </a:prstGeom>
            <a:solidFill>
              <a:schemeClr val="bg1"/>
            </a:solidFill>
            <a:ln>
              <a:noFill/>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lIns="36000" r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rgbClr val="7F7F7F">
                      <a:lumMod val="50000"/>
                    </a:srgbClr>
                  </a:solidFill>
                  <a:latin typeface="Calibri"/>
                </a:rPr>
                <a:t>Finance</a:t>
              </a:r>
              <a:endParaRPr kumimoji="0" lang="en-US" sz="1200" b="0" i="0" u="none" strike="noStrike" kern="1200" cap="none" spc="0" normalizeH="0" baseline="0" noProof="0" dirty="0">
                <a:ln>
                  <a:noFill/>
                </a:ln>
                <a:solidFill>
                  <a:srgbClr val="7F7F7F">
                    <a:lumMod val="50000"/>
                  </a:srgbClr>
                </a:solidFill>
                <a:effectLst/>
                <a:uLnTx/>
                <a:uFillTx/>
                <a:latin typeface="Calibri"/>
                <a:ea typeface="+mn-ea"/>
                <a:cs typeface="+mn-cs"/>
              </a:endParaRPr>
            </a:p>
          </p:txBody>
        </p:sp>
        <p:sp>
          <p:nvSpPr>
            <p:cNvPr id="124" name="Rectangle 23">
              <a:extLst>
                <a:ext uri="{FF2B5EF4-FFF2-40B4-BE49-F238E27FC236}">
                  <a16:creationId xmlns:a16="http://schemas.microsoft.com/office/drawing/2014/main" id="{88C1ED6C-AFFD-4F76-9BD2-798C369C866B}"/>
                </a:ext>
              </a:extLst>
            </p:cNvPr>
            <p:cNvSpPr/>
            <p:nvPr/>
          </p:nvSpPr>
          <p:spPr>
            <a:xfrm>
              <a:off x="7293623" y="4909839"/>
              <a:ext cx="1080000" cy="216000"/>
            </a:xfrm>
            <a:prstGeom prst="roundRect">
              <a:avLst>
                <a:gd name="adj" fmla="val 11467"/>
              </a:avLst>
            </a:prstGeom>
            <a:solidFill>
              <a:schemeClr val="bg1"/>
            </a:solidFill>
            <a:ln>
              <a:noFill/>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lIns="36000" r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7F7F7F">
                      <a:lumMod val="50000"/>
                    </a:srgbClr>
                  </a:solidFill>
                  <a:effectLst/>
                  <a:uLnTx/>
                  <a:uFillTx/>
                  <a:latin typeface="Calibri"/>
                  <a:ea typeface="+mn-ea"/>
                  <a:cs typeface="+mn-cs"/>
                </a:rPr>
                <a:t>Smart Living</a:t>
              </a:r>
            </a:p>
          </p:txBody>
        </p:sp>
        <p:sp>
          <p:nvSpPr>
            <p:cNvPr id="125" name="Rectangle: Rounded Corners 49">
              <a:extLst>
                <a:ext uri="{FF2B5EF4-FFF2-40B4-BE49-F238E27FC236}">
                  <a16:creationId xmlns:a16="http://schemas.microsoft.com/office/drawing/2014/main" id="{05FC0608-2F79-4442-9BCC-51449B23042D}"/>
                </a:ext>
              </a:extLst>
            </p:cNvPr>
            <p:cNvSpPr/>
            <p:nvPr/>
          </p:nvSpPr>
          <p:spPr>
            <a:xfrm>
              <a:off x="549712" y="4514609"/>
              <a:ext cx="910945" cy="721297"/>
            </a:xfrm>
            <a:custGeom>
              <a:avLst/>
              <a:gdLst>
                <a:gd name="connsiteX0" fmla="*/ 0 w 693622"/>
                <a:gd name="connsiteY0" fmla="*/ 94952 h 569699"/>
                <a:gd name="connsiteX1" fmla="*/ 94952 w 693622"/>
                <a:gd name="connsiteY1" fmla="*/ 0 h 569699"/>
                <a:gd name="connsiteX2" fmla="*/ 598670 w 693622"/>
                <a:gd name="connsiteY2" fmla="*/ 0 h 569699"/>
                <a:gd name="connsiteX3" fmla="*/ 693622 w 693622"/>
                <a:gd name="connsiteY3" fmla="*/ 94952 h 569699"/>
                <a:gd name="connsiteX4" fmla="*/ 693622 w 693622"/>
                <a:gd name="connsiteY4" fmla="*/ 474747 h 569699"/>
                <a:gd name="connsiteX5" fmla="*/ 598670 w 693622"/>
                <a:gd name="connsiteY5" fmla="*/ 569699 h 569699"/>
                <a:gd name="connsiteX6" fmla="*/ 94952 w 693622"/>
                <a:gd name="connsiteY6" fmla="*/ 569699 h 569699"/>
                <a:gd name="connsiteX7" fmla="*/ 0 w 693622"/>
                <a:gd name="connsiteY7" fmla="*/ 474747 h 569699"/>
                <a:gd name="connsiteX8" fmla="*/ 0 w 693622"/>
                <a:gd name="connsiteY8" fmla="*/ 94952 h 569699"/>
                <a:gd name="connsiteX0" fmla="*/ 0 w 693659"/>
                <a:gd name="connsiteY0" fmla="*/ 94952 h 569699"/>
                <a:gd name="connsiteX1" fmla="*/ 94952 w 693659"/>
                <a:gd name="connsiteY1" fmla="*/ 0 h 569699"/>
                <a:gd name="connsiteX2" fmla="*/ 598670 w 693659"/>
                <a:gd name="connsiteY2" fmla="*/ 0 h 569699"/>
                <a:gd name="connsiteX3" fmla="*/ 693622 w 693659"/>
                <a:gd name="connsiteY3" fmla="*/ 474747 h 569699"/>
                <a:gd name="connsiteX4" fmla="*/ 598670 w 693659"/>
                <a:gd name="connsiteY4" fmla="*/ 569699 h 569699"/>
                <a:gd name="connsiteX5" fmla="*/ 94952 w 693659"/>
                <a:gd name="connsiteY5" fmla="*/ 569699 h 569699"/>
                <a:gd name="connsiteX6" fmla="*/ 0 w 693659"/>
                <a:gd name="connsiteY6" fmla="*/ 474747 h 569699"/>
                <a:gd name="connsiteX7" fmla="*/ 0 w 693659"/>
                <a:gd name="connsiteY7" fmla="*/ 94952 h 569699"/>
                <a:gd name="connsiteX0" fmla="*/ 0 w 661634"/>
                <a:gd name="connsiteY0" fmla="*/ 94952 h 569699"/>
                <a:gd name="connsiteX1" fmla="*/ 94952 w 661634"/>
                <a:gd name="connsiteY1" fmla="*/ 0 h 569699"/>
                <a:gd name="connsiteX2" fmla="*/ 598670 w 661634"/>
                <a:gd name="connsiteY2" fmla="*/ 0 h 569699"/>
                <a:gd name="connsiteX3" fmla="*/ 598670 w 661634"/>
                <a:gd name="connsiteY3" fmla="*/ 569699 h 569699"/>
                <a:gd name="connsiteX4" fmla="*/ 94952 w 661634"/>
                <a:gd name="connsiteY4" fmla="*/ 569699 h 569699"/>
                <a:gd name="connsiteX5" fmla="*/ 0 w 661634"/>
                <a:gd name="connsiteY5" fmla="*/ 474747 h 569699"/>
                <a:gd name="connsiteX6" fmla="*/ 0 w 661634"/>
                <a:gd name="connsiteY6" fmla="*/ 94952 h 569699"/>
                <a:gd name="connsiteX0" fmla="*/ 0 w 678479"/>
                <a:gd name="connsiteY0" fmla="*/ 94952 h 569699"/>
                <a:gd name="connsiteX1" fmla="*/ 94952 w 678479"/>
                <a:gd name="connsiteY1" fmla="*/ 0 h 569699"/>
                <a:gd name="connsiteX2" fmla="*/ 598670 w 678479"/>
                <a:gd name="connsiteY2" fmla="*/ 0 h 569699"/>
                <a:gd name="connsiteX3" fmla="*/ 598670 w 678479"/>
                <a:gd name="connsiteY3" fmla="*/ 569699 h 569699"/>
                <a:gd name="connsiteX4" fmla="*/ 94952 w 678479"/>
                <a:gd name="connsiteY4" fmla="*/ 569699 h 569699"/>
                <a:gd name="connsiteX5" fmla="*/ 0 w 678479"/>
                <a:gd name="connsiteY5" fmla="*/ 474747 h 569699"/>
                <a:gd name="connsiteX6" fmla="*/ 0 w 678479"/>
                <a:gd name="connsiteY6" fmla="*/ 94952 h 569699"/>
                <a:gd name="connsiteX0" fmla="*/ 0 w 678479"/>
                <a:gd name="connsiteY0" fmla="*/ 94952 h 569699"/>
                <a:gd name="connsiteX1" fmla="*/ 94952 w 678479"/>
                <a:gd name="connsiteY1" fmla="*/ 0 h 569699"/>
                <a:gd name="connsiteX2" fmla="*/ 598670 w 678479"/>
                <a:gd name="connsiteY2" fmla="*/ 0 h 569699"/>
                <a:gd name="connsiteX3" fmla="*/ 598670 w 678479"/>
                <a:gd name="connsiteY3" fmla="*/ 569699 h 569699"/>
                <a:gd name="connsiteX4" fmla="*/ 94952 w 678479"/>
                <a:gd name="connsiteY4" fmla="*/ 569699 h 569699"/>
                <a:gd name="connsiteX5" fmla="*/ 0 w 678479"/>
                <a:gd name="connsiteY5" fmla="*/ 474747 h 569699"/>
                <a:gd name="connsiteX6" fmla="*/ 0 w 678479"/>
                <a:gd name="connsiteY6" fmla="*/ 94952 h 569699"/>
                <a:gd name="connsiteX0" fmla="*/ 0 w 635982"/>
                <a:gd name="connsiteY0" fmla="*/ 94952 h 569699"/>
                <a:gd name="connsiteX1" fmla="*/ 94952 w 635982"/>
                <a:gd name="connsiteY1" fmla="*/ 0 h 569699"/>
                <a:gd name="connsiteX2" fmla="*/ 598670 w 635982"/>
                <a:gd name="connsiteY2" fmla="*/ 0 h 569699"/>
                <a:gd name="connsiteX3" fmla="*/ 598670 w 635982"/>
                <a:gd name="connsiteY3" fmla="*/ 569699 h 569699"/>
                <a:gd name="connsiteX4" fmla="*/ 94952 w 635982"/>
                <a:gd name="connsiteY4" fmla="*/ 569699 h 569699"/>
                <a:gd name="connsiteX5" fmla="*/ 0 w 635982"/>
                <a:gd name="connsiteY5" fmla="*/ 474747 h 569699"/>
                <a:gd name="connsiteX6" fmla="*/ 0 w 635982"/>
                <a:gd name="connsiteY6" fmla="*/ 94952 h 569699"/>
                <a:gd name="connsiteX0" fmla="*/ 0 w 598670"/>
                <a:gd name="connsiteY0" fmla="*/ 94952 h 569699"/>
                <a:gd name="connsiteX1" fmla="*/ 94952 w 598670"/>
                <a:gd name="connsiteY1" fmla="*/ 0 h 569699"/>
                <a:gd name="connsiteX2" fmla="*/ 598670 w 598670"/>
                <a:gd name="connsiteY2" fmla="*/ 0 h 569699"/>
                <a:gd name="connsiteX3" fmla="*/ 598670 w 598670"/>
                <a:gd name="connsiteY3" fmla="*/ 569699 h 569699"/>
                <a:gd name="connsiteX4" fmla="*/ 94952 w 598670"/>
                <a:gd name="connsiteY4" fmla="*/ 569699 h 569699"/>
                <a:gd name="connsiteX5" fmla="*/ 0 w 598670"/>
                <a:gd name="connsiteY5" fmla="*/ 474747 h 569699"/>
                <a:gd name="connsiteX6" fmla="*/ 0 w 598670"/>
                <a:gd name="connsiteY6" fmla="*/ 94952 h 569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670" h="569699">
                  <a:moveTo>
                    <a:pt x="0" y="94952"/>
                  </a:moveTo>
                  <a:cubicBezTo>
                    <a:pt x="0" y="42511"/>
                    <a:pt x="42511" y="0"/>
                    <a:pt x="94952" y="0"/>
                  </a:cubicBezTo>
                  <a:lnTo>
                    <a:pt x="598670" y="0"/>
                  </a:lnTo>
                  <a:lnTo>
                    <a:pt x="598670" y="569699"/>
                  </a:lnTo>
                  <a:lnTo>
                    <a:pt x="94952" y="569699"/>
                  </a:lnTo>
                  <a:cubicBezTo>
                    <a:pt x="42511" y="569699"/>
                    <a:pt x="0" y="527188"/>
                    <a:pt x="0" y="474747"/>
                  </a:cubicBezTo>
                  <a:lnTo>
                    <a:pt x="0" y="94952"/>
                  </a:lnTo>
                  <a:close/>
                </a:path>
              </a:pathLst>
            </a:cu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mj-lt"/>
                </a:rPr>
                <a:t>Verticals</a:t>
              </a:r>
            </a:p>
            <a:p>
              <a:pPr algn="ctr"/>
              <a:r>
                <a:rPr lang="en-US" sz="1200" dirty="0">
                  <a:latin typeface="+mj-lt"/>
                </a:rPr>
                <a:t>Ecosystems </a:t>
              </a:r>
            </a:p>
          </p:txBody>
        </p:sp>
      </p:grpSp>
      <p:cxnSp>
        <p:nvCxnSpPr>
          <p:cNvPr id="127" name="Shape 57">
            <a:extLst>
              <a:ext uri="{FF2B5EF4-FFF2-40B4-BE49-F238E27FC236}">
                <a16:creationId xmlns:a16="http://schemas.microsoft.com/office/drawing/2014/main" id="{7A355027-F106-431E-B628-29829EFF0416}"/>
              </a:ext>
            </a:extLst>
          </p:cNvPr>
          <p:cNvCxnSpPr>
            <a:cxnSpLocks/>
          </p:cNvCxnSpPr>
          <p:nvPr/>
        </p:nvCxnSpPr>
        <p:spPr>
          <a:xfrm rot="5400000" flipH="1" flipV="1">
            <a:off x="4214046" y="562684"/>
            <a:ext cx="97647" cy="3592783"/>
          </a:xfrm>
          <a:prstGeom prst="bentConnector2">
            <a:avLst/>
          </a:prstGeom>
        </p:spPr>
        <p:style>
          <a:lnRef idx="1">
            <a:schemeClr val="accent1"/>
          </a:lnRef>
          <a:fillRef idx="0">
            <a:schemeClr val="accent1"/>
          </a:fillRef>
          <a:effectRef idx="0">
            <a:schemeClr val="accent1"/>
          </a:effectRef>
          <a:fontRef idx="minor">
            <a:schemeClr val="tx1"/>
          </a:fontRef>
        </p:style>
      </p:cxnSp>
      <p:grpSp>
        <p:nvGrpSpPr>
          <p:cNvPr id="7" name="Groupe 6">
            <a:extLst>
              <a:ext uri="{FF2B5EF4-FFF2-40B4-BE49-F238E27FC236}">
                <a16:creationId xmlns:a16="http://schemas.microsoft.com/office/drawing/2014/main" id="{48245C02-4E56-4460-B1DE-833203D27D60}"/>
              </a:ext>
            </a:extLst>
          </p:cNvPr>
          <p:cNvGrpSpPr/>
          <p:nvPr/>
        </p:nvGrpSpPr>
        <p:grpSpPr>
          <a:xfrm>
            <a:off x="2180733" y="3718299"/>
            <a:ext cx="7642125" cy="898043"/>
            <a:chOff x="2176290" y="2664620"/>
            <a:chExt cx="7642123" cy="721298"/>
          </a:xfrm>
        </p:grpSpPr>
        <p:sp>
          <p:nvSpPr>
            <p:cNvPr id="189" name="Rechteck: abgerundete Ecken 20">
              <a:extLst>
                <a:ext uri="{FF2B5EF4-FFF2-40B4-BE49-F238E27FC236}">
                  <a16:creationId xmlns:a16="http://schemas.microsoft.com/office/drawing/2014/main" id="{3359D644-0D44-4F9A-8443-10CBE8F43587}"/>
                </a:ext>
              </a:extLst>
            </p:cNvPr>
            <p:cNvSpPr/>
            <p:nvPr/>
          </p:nvSpPr>
          <p:spPr>
            <a:xfrm>
              <a:off x="2176290" y="2664621"/>
              <a:ext cx="7642123" cy="721297"/>
            </a:xfrm>
            <a:prstGeom prst="roundRect">
              <a:avLst>
                <a:gd name="adj" fmla="val 13650"/>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FFFFFF"/>
                </a:solidFill>
                <a:effectLst/>
                <a:uLnTx/>
                <a:uFillTx/>
                <a:latin typeface="Calibri"/>
                <a:ea typeface="+mn-ea"/>
                <a:cs typeface="+mn-cs"/>
              </a:endParaRPr>
            </a:p>
          </p:txBody>
        </p:sp>
        <p:sp>
          <p:nvSpPr>
            <p:cNvPr id="193" name="Rectangle 19">
              <a:extLst>
                <a:ext uri="{FF2B5EF4-FFF2-40B4-BE49-F238E27FC236}">
                  <a16:creationId xmlns:a16="http://schemas.microsoft.com/office/drawing/2014/main" id="{ABDA07BB-2266-4B85-AAD5-7B4FD133ABD0}"/>
                </a:ext>
              </a:extLst>
            </p:cNvPr>
            <p:cNvSpPr/>
            <p:nvPr/>
          </p:nvSpPr>
          <p:spPr>
            <a:xfrm>
              <a:off x="6399320" y="2835990"/>
              <a:ext cx="1554380" cy="397696"/>
            </a:xfrm>
            <a:prstGeom prst="roundRect">
              <a:avLst>
                <a:gd name="adj" fmla="val 11612"/>
              </a:avLst>
            </a:prstGeom>
            <a:solidFill>
              <a:schemeClr val="bg1"/>
            </a:solidFill>
            <a:ln>
              <a:noFill/>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lIns="36000" r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7F7F7F">
                      <a:lumMod val="50000"/>
                    </a:srgbClr>
                  </a:solidFill>
                  <a:effectLst/>
                  <a:uLnTx/>
                  <a:uFillTx/>
                  <a:latin typeface="Calibri"/>
                  <a:ea typeface="+mn-ea"/>
                  <a:cs typeface="+mn-cs"/>
                </a:rPr>
                <a:t>Compliance, Privacy, Security (CPS)</a:t>
              </a:r>
            </a:p>
          </p:txBody>
        </p:sp>
        <p:sp>
          <p:nvSpPr>
            <p:cNvPr id="194" name="Rectangle 23">
              <a:extLst>
                <a:ext uri="{FF2B5EF4-FFF2-40B4-BE49-F238E27FC236}">
                  <a16:creationId xmlns:a16="http://schemas.microsoft.com/office/drawing/2014/main" id="{A80927B8-71AB-4289-83D1-94F373075CB4}"/>
                </a:ext>
              </a:extLst>
            </p:cNvPr>
            <p:cNvSpPr/>
            <p:nvPr/>
          </p:nvSpPr>
          <p:spPr>
            <a:xfrm>
              <a:off x="8071728" y="2835990"/>
              <a:ext cx="1554380" cy="397696"/>
            </a:xfrm>
            <a:prstGeom prst="roundRect">
              <a:avLst>
                <a:gd name="adj" fmla="val 11467"/>
              </a:avLst>
            </a:prstGeom>
            <a:solidFill>
              <a:schemeClr val="bg1"/>
            </a:solidFill>
            <a:ln>
              <a:noFill/>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lIns="36000" r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7F7F7F">
                      <a:lumMod val="50000"/>
                    </a:srgbClr>
                  </a:solidFill>
                  <a:effectLst/>
                  <a:uLnTx/>
                  <a:uFillTx/>
                  <a:latin typeface="Calibri"/>
                  <a:ea typeface="+mn-ea"/>
                  <a:cs typeface="+mn-cs"/>
                </a:rPr>
                <a:t>Technology</a:t>
              </a:r>
            </a:p>
          </p:txBody>
        </p:sp>
        <p:sp>
          <p:nvSpPr>
            <p:cNvPr id="197" name="Rectangle 17">
              <a:extLst>
                <a:ext uri="{FF2B5EF4-FFF2-40B4-BE49-F238E27FC236}">
                  <a16:creationId xmlns:a16="http://schemas.microsoft.com/office/drawing/2014/main" id="{F1583F48-E915-42D5-822C-B1D53E20FB2E}"/>
                </a:ext>
              </a:extLst>
            </p:cNvPr>
            <p:cNvSpPr/>
            <p:nvPr/>
          </p:nvSpPr>
          <p:spPr>
            <a:xfrm>
              <a:off x="3073718" y="2832081"/>
              <a:ext cx="1554380" cy="401604"/>
            </a:xfrm>
            <a:prstGeom prst="roundRect">
              <a:avLst>
                <a:gd name="adj" fmla="val 11467"/>
              </a:avLst>
            </a:prstGeom>
            <a:solidFill>
              <a:schemeClr val="bg1"/>
            </a:solidFill>
            <a:ln>
              <a:noFill/>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lIns="36000" r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7F7F7F">
                      <a:lumMod val="50000"/>
                    </a:srgbClr>
                  </a:solidFill>
                  <a:effectLst/>
                  <a:uLnTx/>
                  <a:uFillTx/>
                  <a:latin typeface="Calibri"/>
                  <a:ea typeface="+mn-ea"/>
                  <a:cs typeface="+mn-cs"/>
                </a:rPr>
                <a:t>Governance</a:t>
              </a:r>
            </a:p>
          </p:txBody>
        </p:sp>
        <p:sp>
          <p:nvSpPr>
            <p:cNvPr id="199" name="Rectangle 21">
              <a:extLst>
                <a:ext uri="{FF2B5EF4-FFF2-40B4-BE49-F238E27FC236}">
                  <a16:creationId xmlns:a16="http://schemas.microsoft.com/office/drawing/2014/main" id="{2A0E47B7-6BFA-4640-A83A-F57D2D98E9FD}"/>
                </a:ext>
              </a:extLst>
            </p:cNvPr>
            <p:cNvSpPr/>
            <p:nvPr/>
          </p:nvSpPr>
          <p:spPr>
            <a:xfrm>
              <a:off x="4726911" y="2835990"/>
              <a:ext cx="1554380" cy="397696"/>
            </a:xfrm>
            <a:prstGeom prst="roundRect">
              <a:avLst>
                <a:gd name="adj" fmla="val 11467"/>
              </a:avLst>
            </a:prstGeom>
            <a:solidFill>
              <a:schemeClr val="bg1"/>
            </a:solidFill>
            <a:ln>
              <a:noFill/>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lIns="36000" r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7F7F7F">
                      <a:lumMod val="50000"/>
                    </a:srgbClr>
                  </a:solidFill>
                  <a:effectLst/>
                  <a:uLnTx/>
                  <a:uFillTx/>
                  <a:latin typeface="Calibri"/>
                  <a:ea typeface="+mn-ea"/>
                  <a:cs typeface="+mn-cs"/>
                </a:rPr>
                <a:t>Finance &amp; Budget</a:t>
              </a:r>
            </a:p>
          </p:txBody>
        </p:sp>
        <p:sp>
          <p:nvSpPr>
            <p:cNvPr id="203" name="Rectangle: Rounded Corners 49">
              <a:extLst>
                <a:ext uri="{FF2B5EF4-FFF2-40B4-BE49-F238E27FC236}">
                  <a16:creationId xmlns:a16="http://schemas.microsoft.com/office/drawing/2014/main" id="{877F479C-1E53-4E7E-B422-488F5A9A72D8}"/>
                </a:ext>
              </a:extLst>
            </p:cNvPr>
            <p:cNvSpPr/>
            <p:nvPr/>
          </p:nvSpPr>
          <p:spPr>
            <a:xfrm>
              <a:off x="2176290" y="2664620"/>
              <a:ext cx="775240" cy="721297"/>
            </a:xfrm>
            <a:custGeom>
              <a:avLst/>
              <a:gdLst>
                <a:gd name="connsiteX0" fmla="*/ 0 w 693622"/>
                <a:gd name="connsiteY0" fmla="*/ 94952 h 569699"/>
                <a:gd name="connsiteX1" fmla="*/ 94952 w 693622"/>
                <a:gd name="connsiteY1" fmla="*/ 0 h 569699"/>
                <a:gd name="connsiteX2" fmla="*/ 598670 w 693622"/>
                <a:gd name="connsiteY2" fmla="*/ 0 h 569699"/>
                <a:gd name="connsiteX3" fmla="*/ 693622 w 693622"/>
                <a:gd name="connsiteY3" fmla="*/ 94952 h 569699"/>
                <a:gd name="connsiteX4" fmla="*/ 693622 w 693622"/>
                <a:gd name="connsiteY4" fmla="*/ 474747 h 569699"/>
                <a:gd name="connsiteX5" fmla="*/ 598670 w 693622"/>
                <a:gd name="connsiteY5" fmla="*/ 569699 h 569699"/>
                <a:gd name="connsiteX6" fmla="*/ 94952 w 693622"/>
                <a:gd name="connsiteY6" fmla="*/ 569699 h 569699"/>
                <a:gd name="connsiteX7" fmla="*/ 0 w 693622"/>
                <a:gd name="connsiteY7" fmla="*/ 474747 h 569699"/>
                <a:gd name="connsiteX8" fmla="*/ 0 w 693622"/>
                <a:gd name="connsiteY8" fmla="*/ 94952 h 569699"/>
                <a:gd name="connsiteX0" fmla="*/ 0 w 693659"/>
                <a:gd name="connsiteY0" fmla="*/ 94952 h 569699"/>
                <a:gd name="connsiteX1" fmla="*/ 94952 w 693659"/>
                <a:gd name="connsiteY1" fmla="*/ 0 h 569699"/>
                <a:gd name="connsiteX2" fmla="*/ 598670 w 693659"/>
                <a:gd name="connsiteY2" fmla="*/ 0 h 569699"/>
                <a:gd name="connsiteX3" fmla="*/ 693622 w 693659"/>
                <a:gd name="connsiteY3" fmla="*/ 474747 h 569699"/>
                <a:gd name="connsiteX4" fmla="*/ 598670 w 693659"/>
                <a:gd name="connsiteY4" fmla="*/ 569699 h 569699"/>
                <a:gd name="connsiteX5" fmla="*/ 94952 w 693659"/>
                <a:gd name="connsiteY5" fmla="*/ 569699 h 569699"/>
                <a:gd name="connsiteX6" fmla="*/ 0 w 693659"/>
                <a:gd name="connsiteY6" fmla="*/ 474747 h 569699"/>
                <a:gd name="connsiteX7" fmla="*/ 0 w 693659"/>
                <a:gd name="connsiteY7" fmla="*/ 94952 h 569699"/>
                <a:gd name="connsiteX0" fmla="*/ 0 w 661634"/>
                <a:gd name="connsiteY0" fmla="*/ 94952 h 569699"/>
                <a:gd name="connsiteX1" fmla="*/ 94952 w 661634"/>
                <a:gd name="connsiteY1" fmla="*/ 0 h 569699"/>
                <a:gd name="connsiteX2" fmla="*/ 598670 w 661634"/>
                <a:gd name="connsiteY2" fmla="*/ 0 h 569699"/>
                <a:gd name="connsiteX3" fmla="*/ 598670 w 661634"/>
                <a:gd name="connsiteY3" fmla="*/ 569699 h 569699"/>
                <a:gd name="connsiteX4" fmla="*/ 94952 w 661634"/>
                <a:gd name="connsiteY4" fmla="*/ 569699 h 569699"/>
                <a:gd name="connsiteX5" fmla="*/ 0 w 661634"/>
                <a:gd name="connsiteY5" fmla="*/ 474747 h 569699"/>
                <a:gd name="connsiteX6" fmla="*/ 0 w 661634"/>
                <a:gd name="connsiteY6" fmla="*/ 94952 h 569699"/>
                <a:gd name="connsiteX0" fmla="*/ 0 w 678479"/>
                <a:gd name="connsiteY0" fmla="*/ 94952 h 569699"/>
                <a:gd name="connsiteX1" fmla="*/ 94952 w 678479"/>
                <a:gd name="connsiteY1" fmla="*/ 0 h 569699"/>
                <a:gd name="connsiteX2" fmla="*/ 598670 w 678479"/>
                <a:gd name="connsiteY2" fmla="*/ 0 h 569699"/>
                <a:gd name="connsiteX3" fmla="*/ 598670 w 678479"/>
                <a:gd name="connsiteY3" fmla="*/ 569699 h 569699"/>
                <a:gd name="connsiteX4" fmla="*/ 94952 w 678479"/>
                <a:gd name="connsiteY4" fmla="*/ 569699 h 569699"/>
                <a:gd name="connsiteX5" fmla="*/ 0 w 678479"/>
                <a:gd name="connsiteY5" fmla="*/ 474747 h 569699"/>
                <a:gd name="connsiteX6" fmla="*/ 0 w 678479"/>
                <a:gd name="connsiteY6" fmla="*/ 94952 h 569699"/>
                <a:gd name="connsiteX0" fmla="*/ 0 w 678479"/>
                <a:gd name="connsiteY0" fmla="*/ 94952 h 569699"/>
                <a:gd name="connsiteX1" fmla="*/ 94952 w 678479"/>
                <a:gd name="connsiteY1" fmla="*/ 0 h 569699"/>
                <a:gd name="connsiteX2" fmla="*/ 598670 w 678479"/>
                <a:gd name="connsiteY2" fmla="*/ 0 h 569699"/>
                <a:gd name="connsiteX3" fmla="*/ 598670 w 678479"/>
                <a:gd name="connsiteY3" fmla="*/ 569699 h 569699"/>
                <a:gd name="connsiteX4" fmla="*/ 94952 w 678479"/>
                <a:gd name="connsiteY4" fmla="*/ 569699 h 569699"/>
                <a:gd name="connsiteX5" fmla="*/ 0 w 678479"/>
                <a:gd name="connsiteY5" fmla="*/ 474747 h 569699"/>
                <a:gd name="connsiteX6" fmla="*/ 0 w 678479"/>
                <a:gd name="connsiteY6" fmla="*/ 94952 h 569699"/>
                <a:gd name="connsiteX0" fmla="*/ 0 w 635982"/>
                <a:gd name="connsiteY0" fmla="*/ 94952 h 569699"/>
                <a:gd name="connsiteX1" fmla="*/ 94952 w 635982"/>
                <a:gd name="connsiteY1" fmla="*/ 0 h 569699"/>
                <a:gd name="connsiteX2" fmla="*/ 598670 w 635982"/>
                <a:gd name="connsiteY2" fmla="*/ 0 h 569699"/>
                <a:gd name="connsiteX3" fmla="*/ 598670 w 635982"/>
                <a:gd name="connsiteY3" fmla="*/ 569699 h 569699"/>
                <a:gd name="connsiteX4" fmla="*/ 94952 w 635982"/>
                <a:gd name="connsiteY4" fmla="*/ 569699 h 569699"/>
                <a:gd name="connsiteX5" fmla="*/ 0 w 635982"/>
                <a:gd name="connsiteY5" fmla="*/ 474747 h 569699"/>
                <a:gd name="connsiteX6" fmla="*/ 0 w 635982"/>
                <a:gd name="connsiteY6" fmla="*/ 94952 h 569699"/>
                <a:gd name="connsiteX0" fmla="*/ 0 w 598670"/>
                <a:gd name="connsiteY0" fmla="*/ 94952 h 569699"/>
                <a:gd name="connsiteX1" fmla="*/ 94952 w 598670"/>
                <a:gd name="connsiteY1" fmla="*/ 0 h 569699"/>
                <a:gd name="connsiteX2" fmla="*/ 598670 w 598670"/>
                <a:gd name="connsiteY2" fmla="*/ 0 h 569699"/>
                <a:gd name="connsiteX3" fmla="*/ 598670 w 598670"/>
                <a:gd name="connsiteY3" fmla="*/ 569699 h 569699"/>
                <a:gd name="connsiteX4" fmla="*/ 94952 w 598670"/>
                <a:gd name="connsiteY4" fmla="*/ 569699 h 569699"/>
                <a:gd name="connsiteX5" fmla="*/ 0 w 598670"/>
                <a:gd name="connsiteY5" fmla="*/ 474747 h 569699"/>
                <a:gd name="connsiteX6" fmla="*/ 0 w 598670"/>
                <a:gd name="connsiteY6" fmla="*/ 94952 h 569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670" h="569699">
                  <a:moveTo>
                    <a:pt x="0" y="94952"/>
                  </a:moveTo>
                  <a:cubicBezTo>
                    <a:pt x="0" y="42511"/>
                    <a:pt x="42511" y="0"/>
                    <a:pt x="94952" y="0"/>
                  </a:cubicBezTo>
                  <a:lnTo>
                    <a:pt x="598670" y="0"/>
                  </a:lnTo>
                  <a:lnTo>
                    <a:pt x="598670" y="569699"/>
                  </a:lnTo>
                  <a:lnTo>
                    <a:pt x="94952" y="569699"/>
                  </a:lnTo>
                  <a:cubicBezTo>
                    <a:pt x="42511" y="569699"/>
                    <a:pt x="0" y="527188"/>
                    <a:pt x="0" y="474747"/>
                  </a:cubicBezTo>
                  <a:lnTo>
                    <a:pt x="0" y="94952"/>
                  </a:lnTo>
                  <a:close/>
                </a:path>
              </a:pathLst>
            </a:cu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mj-lt"/>
                </a:rPr>
                <a:t>Expert Working Groups</a:t>
              </a:r>
            </a:p>
          </p:txBody>
        </p:sp>
      </p:grpSp>
      <p:cxnSp>
        <p:nvCxnSpPr>
          <p:cNvPr id="219" name="Straight Arrow Connector 218">
            <a:extLst>
              <a:ext uri="{FF2B5EF4-FFF2-40B4-BE49-F238E27FC236}">
                <a16:creationId xmlns:a16="http://schemas.microsoft.com/office/drawing/2014/main" id="{079A2952-0759-47C9-9B33-61EB5AB58EEE}"/>
              </a:ext>
            </a:extLst>
          </p:cNvPr>
          <p:cNvCxnSpPr>
            <a:cxnSpLocks/>
            <a:stCxn id="76" idx="3"/>
            <a:endCxn id="83" idx="1"/>
          </p:cNvCxnSpPr>
          <p:nvPr/>
        </p:nvCxnSpPr>
        <p:spPr>
          <a:xfrm>
            <a:off x="3358570" y="2641042"/>
            <a:ext cx="1311818" cy="9333"/>
          </a:xfrm>
          <a:prstGeom prst="straightConnector1">
            <a:avLst/>
          </a:prstGeom>
          <a:ln>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222" name="Straight Arrow Connector 221">
            <a:extLst>
              <a:ext uri="{FF2B5EF4-FFF2-40B4-BE49-F238E27FC236}">
                <a16:creationId xmlns:a16="http://schemas.microsoft.com/office/drawing/2014/main" id="{7D5EF849-DB0C-42A7-86C7-A239ED2E6887}"/>
              </a:ext>
            </a:extLst>
          </p:cNvPr>
          <p:cNvCxnSpPr>
            <a:cxnSpLocks/>
            <a:stCxn id="83" idx="3"/>
            <a:endCxn id="78" idx="1"/>
          </p:cNvCxnSpPr>
          <p:nvPr/>
        </p:nvCxnSpPr>
        <p:spPr>
          <a:xfrm>
            <a:off x="7324317" y="2650375"/>
            <a:ext cx="1209381" cy="0"/>
          </a:xfrm>
          <a:prstGeom prst="straightConnector1">
            <a:avLst/>
          </a:prstGeom>
          <a:ln>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3" name="Connecteur : en angle 12">
            <a:extLst>
              <a:ext uri="{FF2B5EF4-FFF2-40B4-BE49-F238E27FC236}">
                <a16:creationId xmlns:a16="http://schemas.microsoft.com/office/drawing/2014/main" id="{23AEB77C-E04D-4B31-A8C9-2B115537D967}"/>
              </a:ext>
            </a:extLst>
          </p:cNvPr>
          <p:cNvCxnSpPr>
            <a:stCxn id="83" idx="2"/>
            <a:endCxn id="199" idx="0"/>
          </p:cNvCxnSpPr>
          <p:nvPr/>
        </p:nvCxnSpPr>
        <p:spPr>
          <a:xfrm rot="5400000">
            <a:off x="5234919" y="3169226"/>
            <a:ext cx="1036061" cy="488808"/>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Connecteur : en angle 14">
            <a:extLst>
              <a:ext uri="{FF2B5EF4-FFF2-40B4-BE49-F238E27FC236}">
                <a16:creationId xmlns:a16="http://schemas.microsoft.com/office/drawing/2014/main" id="{B2D42C4F-48AB-40E1-BE98-20FFA3BDC340}"/>
              </a:ext>
            </a:extLst>
          </p:cNvPr>
          <p:cNvCxnSpPr>
            <a:stCxn id="83" idx="2"/>
            <a:endCxn id="193" idx="0"/>
          </p:cNvCxnSpPr>
          <p:nvPr/>
        </p:nvCxnSpPr>
        <p:spPr>
          <a:xfrm rot="16200000" flipH="1">
            <a:off x="6071123" y="2821829"/>
            <a:ext cx="1036061" cy="1183601"/>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Connecteur : en angle 16">
            <a:extLst>
              <a:ext uri="{FF2B5EF4-FFF2-40B4-BE49-F238E27FC236}">
                <a16:creationId xmlns:a16="http://schemas.microsoft.com/office/drawing/2014/main" id="{6E5ADA4A-5395-48C7-B2D1-DB797722ABAD}"/>
              </a:ext>
            </a:extLst>
          </p:cNvPr>
          <p:cNvCxnSpPr>
            <a:stCxn id="83" idx="2"/>
            <a:endCxn id="194" idx="0"/>
          </p:cNvCxnSpPr>
          <p:nvPr/>
        </p:nvCxnSpPr>
        <p:spPr>
          <a:xfrm rot="16200000" flipH="1">
            <a:off x="6907328" y="1985625"/>
            <a:ext cx="1036061" cy="285601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Connecteur : en angle 18">
            <a:extLst>
              <a:ext uri="{FF2B5EF4-FFF2-40B4-BE49-F238E27FC236}">
                <a16:creationId xmlns:a16="http://schemas.microsoft.com/office/drawing/2014/main" id="{C1BB2DC2-B682-4CC5-B05E-E11EF63B6C25}"/>
              </a:ext>
            </a:extLst>
          </p:cNvPr>
          <p:cNvCxnSpPr>
            <a:stCxn id="83" idx="2"/>
            <a:endCxn id="197" idx="0"/>
          </p:cNvCxnSpPr>
          <p:nvPr/>
        </p:nvCxnSpPr>
        <p:spPr>
          <a:xfrm rot="5400000">
            <a:off x="4410755" y="2340196"/>
            <a:ext cx="1031194" cy="2142002"/>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Connecteur : en angle 20">
            <a:extLst>
              <a:ext uri="{FF2B5EF4-FFF2-40B4-BE49-F238E27FC236}">
                <a16:creationId xmlns:a16="http://schemas.microsoft.com/office/drawing/2014/main" id="{0874A22C-EF39-4FC2-8544-C8DD1D941DA6}"/>
              </a:ext>
            </a:extLst>
          </p:cNvPr>
          <p:cNvCxnSpPr>
            <a:cxnSpLocks/>
            <a:stCxn id="83" idx="2"/>
            <a:endCxn id="126" idx="0"/>
          </p:cNvCxnSpPr>
          <p:nvPr/>
        </p:nvCxnSpPr>
        <p:spPr>
          <a:xfrm rot="16200000" flipH="1">
            <a:off x="5121080" y="3771873"/>
            <a:ext cx="2090643" cy="338096"/>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50" name="TextShape 17">
            <a:extLst>
              <a:ext uri="{FF2B5EF4-FFF2-40B4-BE49-F238E27FC236}">
                <a16:creationId xmlns:a16="http://schemas.microsoft.com/office/drawing/2014/main" id="{405D0AAE-7D91-4289-B286-A17759E46162}"/>
              </a:ext>
            </a:extLst>
          </p:cNvPr>
          <p:cNvSpPr txBox="1"/>
          <p:nvPr/>
        </p:nvSpPr>
        <p:spPr>
          <a:xfrm>
            <a:off x="515880" y="6377040"/>
            <a:ext cx="4114440" cy="364680"/>
          </a:xfrm>
          <a:prstGeom prst="rect">
            <a:avLst/>
          </a:prstGeom>
          <a:noFill/>
          <a:ln>
            <a:noFill/>
          </a:ln>
        </p:spPr>
        <p:txBody>
          <a:bodyPr lIns="0" tIns="0" anchor="ctr">
            <a:noAutofit/>
          </a:bodyPr>
          <a:lstStyle/>
          <a:p>
            <a:pPr>
              <a:lnSpc>
                <a:spcPct val="100000"/>
              </a:lnSpc>
            </a:pPr>
            <a:r>
              <a:rPr lang="de-DE" sz="1100" b="0" strike="noStrike" spc="-1" dirty="0">
                <a:solidFill>
                  <a:srgbClr val="8B8B8B"/>
                </a:solidFill>
                <a:latin typeface="Calibri"/>
              </a:rPr>
              <a:t>Gaia-X Data Space Committee</a:t>
            </a:r>
            <a:endParaRPr lang="en-US" sz="1100" b="0" strike="noStrike" spc="-1" dirty="0">
              <a:latin typeface="Calibri"/>
            </a:endParaRPr>
          </a:p>
        </p:txBody>
      </p:sp>
      <p:sp>
        <p:nvSpPr>
          <p:cNvPr id="51" name="TextShape 16">
            <a:extLst>
              <a:ext uri="{FF2B5EF4-FFF2-40B4-BE49-F238E27FC236}">
                <a16:creationId xmlns:a16="http://schemas.microsoft.com/office/drawing/2014/main" id="{4564885E-65D1-49FB-A6B9-4EDB8BED6400}"/>
              </a:ext>
            </a:extLst>
          </p:cNvPr>
          <p:cNvSpPr txBox="1"/>
          <p:nvPr/>
        </p:nvSpPr>
        <p:spPr>
          <a:xfrm>
            <a:off x="10237680" y="6377040"/>
            <a:ext cx="849240" cy="364680"/>
          </a:xfrm>
          <a:prstGeom prst="rect">
            <a:avLst/>
          </a:prstGeom>
          <a:noFill/>
          <a:ln>
            <a:noFill/>
          </a:ln>
        </p:spPr>
        <p:txBody>
          <a:bodyPr lIns="0" tIns="0" rIns="0" anchor="ctr">
            <a:noAutofit/>
          </a:bodyPr>
          <a:lstStyle/>
          <a:p>
            <a:pPr algn="r">
              <a:lnSpc>
                <a:spcPct val="100000"/>
              </a:lnSpc>
            </a:pPr>
            <a:r>
              <a:rPr lang="de-DE" sz="1100" spc="-1" dirty="0">
                <a:solidFill>
                  <a:schemeClr val="accent6"/>
                </a:solidFill>
              </a:rPr>
              <a:t>02.12.21</a:t>
            </a:r>
            <a:endParaRPr lang="en-US" sz="1100" b="0" strike="noStrike" spc="-1" dirty="0">
              <a:solidFill>
                <a:schemeClr val="accent6"/>
              </a:solidFill>
              <a:latin typeface="Calibri"/>
            </a:endParaRPr>
          </a:p>
        </p:txBody>
      </p:sp>
      <p:sp>
        <p:nvSpPr>
          <p:cNvPr id="52" name="TextShape 18">
            <a:extLst>
              <a:ext uri="{FF2B5EF4-FFF2-40B4-BE49-F238E27FC236}">
                <a16:creationId xmlns:a16="http://schemas.microsoft.com/office/drawing/2014/main" id="{F2AEE500-C59C-4F30-8E83-43EE526A934A}"/>
              </a:ext>
            </a:extLst>
          </p:cNvPr>
          <p:cNvSpPr txBox="1"/>
          <p:nvPr/>
        </p:nvSpPr>
        <p:spPr>
          <a:xfrm>
            <a:off x="11157840" y="6377040"/>
            <a:ext cx="509760" cy="364680"/>
          </a:xfrm>
          <a:prstGeom prst="rect">
            <a:avLst/>
          </a:prstGeom>
          <a:noFill/>
          <a:ln>
            <a:noFill/>
          </a:ln>
        </p:spPr>
        <p:txBody>
          <a:bodyPr lIns="0" tIns="0" rIns="0" anchor="ctr">
            <a:noAutofit/>
          </a:bodyPr>
          <a:lstStyle/>
          <a:p>
            <a:pPr algn="r">
              <a:lnSpc>
                <a:spcPct val="100000"/>
              </a:lnSpc>
            </a:pPr>
            <a:fld id="{AA929E3E-2FF6-4316-88AA-CA774BAFE042}" type="slidenum">
              <a:rPr lang="de-DE" sz="1100" b="0" strike="noStrike" spc="-1">
                <a:solidFill>
                  <a:srgbClr val="8B8B8B"/>
                </a:solidFill>
                <a:latin typeface="Calibri"/>
              </a:rPr>
              <a:t>3</a:t>
            </a:fld>
            <a:endParaRPr lang="en-US" sz="1100" b="0" strike="noStrike" spc="-1" dirty="0">
              <a:latin typeface="Calibri"/>
            </a:endParaRPr>
          </a:p>
        </p:txBody>
      </p:sp>
      <p:sp>
        <p:nvSpPr>
          <p:cNvPr id="53" name="Rectangle 23">
            <a:extLst>
              <a:ext uri="{FF2B5EF4-FFF2-40B4-BE49-F238E27FC236}">
                <a16:creationId xmlns:a16="http://schemas.microsoft.com/office/drawing/2014/main" id="{A0AAF14F-B4C8-4DFB-B160-17A27A1DFB02}"/>
              </a:ext>
            </a:extLst>
          </p:cNvPr>
          <p:cNvSpPr/>
          <p:nvPr/>
        </p:nvSpPr>
        <p:spPr>
          <a:xfrm>
            <a:off x="8810959" y="5399447"/>
            <a:ext cx="1080000" cy="216000"/>
          </a:xfrm>
          <a:prstGeom prst="roundRect">
            <a:avLst>
              <a:gd name="adj" fmla="val 11467"/>
            </a:avLst>
          </a:prstGeom>
          <a:solidFill>
            <a:schemeClr val="bg1"/>
          </a:solidFill>
          <a:ln>
            <a:noFill/>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lIns="36000" r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7F7F7F">
                    <a:lumMod val="50000"/>
                  </a:srgbClr>
                </a:solidFill>
                <a:effectLst/>
                <a:uLnTx/>
                <a:uFillTx/>
                <a:latin typeface="Calibri"/>
                <a:ea typeface="+mn-ea"/>
                <a:cs typeface="+mn-cs"/>
              </a:rPr>
              <a:t>Geoinformation</a:t>
            </a:r>
          </a:p>
        </p:txBody>
      </p:sp>
      <p:sp>
        <p:nvSpPr>
          <p:cNvPr id="54" name="Rectangle 23">
            <a:extLst>
              <a:ext uri="{FF2B5EF4-FFF2-40B4-BE49-F238E27FC236}">
                <a16:creationId xmlns:a16="http://schemas.microsoft.com/office/drawing/2014/main" id="{9A235970-930C-45E9-B307-037C3AEB5C93}"/>
              </a:ext>
            </a:extLst>
          </p:cNvPr>
          <p:cNvSpPr/>
          <p:nvPr/>
        </p:nvSpPr>
        <p:spPr>
          <a:xfrm>
            <a:off x="9948521" y="5136213"/>
            <a:ext cx="1080000" cy="216000"/>
          </a:xfrm>
          <a:prstGeom prst="roundRect">
            <a:avLst>
              <a:gd name="adj" fmla="val 11467"/>
            </a:avLst>
          </a:prstGeom>
          <a:solidFill>
            <a:schemeClr val="bg1"/>
          </a:solidFill>
          <a:ln>
            <a:noFill/>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lIns="36000" r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7F7F7F">
                    <a:lumMod val="50000"/>
                  </a:srgbClr>
                </a:solidFill>
                <a:effectLst/>
                <a:uLnTx/>
                <a:uFillTx/>
                <a:latin typeface="Calibri"/>
                <a:ea typeface="+mn-ea"/>
                <a:cs typeface="+mn-cs"/>
              </a:rPr>
              <a:t>Media</a:t>
            </a:r>
          </a:p>
        </p:txBody>
      </p:sp>
    </p:spTree>
    <p:extLst>
      <p:ext uri="{BB962C8B-B14F-4D97-AF65-F5344CB8AC3E}">
        <p14:creationId xmlns:p14="http://schemas.microsoft.com/office/powerpoint/2010/main" val="1942709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2" name="CustomShape 1"/>
          <p:cNvSpPr/>
          <p:nvPr/>
        </p:nvSpPr>
        <p:spPr>
          <a:xfrm>
            <a:off x="5490720" y="1696791"/>
            <a:ext cx="6641640" cy="1358280"/>
          </a:xfrm>
          <a:prstGeom prst="rect">
            <a:avLst/>
          </a:prstGeom>
          <a:noFill/>
          <a:ln>
            <a:noFill/>
          </a:ln>
        </p:spPr>
        <p:style>
          <a:lnRef idx="0">
            <a:scrgbClr r="0" g="0" b="0"/>
          </a:lnRef>
          <a:fillRef idx="0">
            <a:scrgbClr r="0" g="0" b="0"/>
          </a:fillRef>
          <a:effectRef idx="0">
            <a:scrgbClr r="0" g="0" b="0"/>
          </a:effectRef>
          <a:fontRef idx="minor"/>
        </p:style>
        <p:txBody>
          <a:bodyPr lIns="0" tIns="0" rIns="90000" bIns="45000">
            <a:noAutofit/>
          </a:bodyPr>
          <a:lstStyle/>
          <a:p>
            <a:pPr marL="324000" indent="-323280">
              <a:lnSpc>
                <a:spcPct val="100000"/>
              </a:lnSpc>
              <a:spcBef>
                <a:spcPts val="400"/>
              </a:spcBef>
              <a:buSzPct val="100045"/>
              <a:buBlip>
                <a:blip r:embed="rId2"/>
              </a:buBlip>
            </a:pPr>
            <a:r>
              <a:rPr lang="en-GB" dirty="0">
                <a:latin typeface="Calibri" panose="020F0502020204030204" pitchFamily="34" charset="0"/>
                <a:cs typeface="Calibri" panose="020F0502020204030204" pitchFamily="34" charset="0"/>
              </a:rPr>
              <a:t>Foster the concrete implementation of data spaces by third parties</a:t>
            </a:r>
            <a:endParaRPr lang="en-US" sz="1800" b="0" strike="noStrike" spc="-1" dirty="0">
              <a:solidFill>
                <a:srgbClr val="404040"/>
              </a:solidFill>
              <a:latin typeface="Calibri"/>
            </a:endParaRPr>
          </a:p>
          <a:p>
            <a:pPr marL="324000" indent="-323280">
              <a:lnSpc>
                <a:spcPct val="100000"/>
              </a:lnSpc>
              <a:spcBef>
                <a:spcPts val="400"/>
              </a:spcBef>
              <a:buSzPct val="100045"/>
              <a:buBlip>
                <a:blip r:embed="rId2"/>
              </a:buBlip>
            </a:pPr>
            <a:r>
              <a:rPr lang="en-GB" dirty="0">
                <a:latin typeface="Calibri" panose="020F0502020204030204" pitchFamily="34" charset="0"/>
                <a:cs typeface="Calibri" panose="020F0502020204030204" pitchFamily="34" charset="0"/>
              </a:rPr>
              <a:t>Promote a level of standardisation to facilitate interconnection </a:t>
            </a:r>
          </a:p>
          <a:p>
            <a:pPr marL="324000" indent="-323280">
              <a:lnSpc>
                <a:spcPct val="100000"/>
              </a:lnSpc>
              <a:spcBef>
                <a:spcPts val="400"/>
              </a:spcBef>
              <a:buSzPct val="100045"/>
              <a:buBlip>
                <a:blip r:embed="rId2"/>
              </a:buBlip>
            </a:pPr>
            <a:r>
              <a:rPr lang="en-GB" dirty="0">
                <a:latin typeface="Calibri" panose="020F0502020204030204" pitchFamily="34" charset="0"/>
                <a:cs typeface="Calibri" panose="020F0502020204030204" pitchFamily="34" charset="0"/>
              </a:rPr>
              <a:t>Collect, evaluate and develop functional, technical, operational, legal and economic requirements</a:t>
            </a:r>
            <a:endParaRPr lang="en-US" dirty="0"/>
          </a:p>
          <a:p>
            <a:pPr marL="324000" indent="-323280">
              <a:lnSpc>
                <a:spcPct val="100000"/>
              </a:lnSpc>
              <a:spcBef>
                <a:spcPts val="400"/>
              </a:spcBef>
              <a:buSzPct val="100045"/>
              <a:buBlip>
                <a:blip r:embed="rId2"/>
              </a:buBlip>
            </a:pPr>
            <a:r>
              <a:rPr lang="en-US" dirty="0"/>
              <a:t>Build recommendations of best practices for data spaces</a:t>
            </a:r>
            <a:endParaRPr lang="en-US" sz="1800" b="0" strike="noStrike" spc="-1" dirty="0">
              <a:latin typeface="Calibri"/>
            </a:endParaRPr>
          </a:p>
        </p:txBody>
      </p:sp>
      <p:sp>
        <p:nvSpPr>
          <p:cNvPr id="873" name="CustomShape 2"/>
          <p:cNvSpPr/>
          <p:nvPr/>
        </p:nvSpPr>
        <p:spPr>
          <a:xfrm>
            <a:off x="515880" y="453960"/>
            <a:ext cx="6874560" cy="756720"/>
          </a:xfrm>
          <a:prstGeom prst="rect">
            <a:avLst/>
          </a:prstGeom>
          <a:noFill/>
          <a:ln>
            <a:noFill/>
          </a:ln>
        </p:spPr>
        <p:style>
          <a:lnRef idx="0">
            <a:scrgbClr r="0" g="0" b="0"/>
          </a:lnRef>
          <a:fillRef idx="0">
            <a:scrgbClr r="0" g="0" b="0"/>
          </a:fillRef>
          <a:effectRef idx="0">
            <a:scrgbClr r="0" g="0" b="0"/>
          </a:effectRef>
          <a:fontRef idx="minor"/>
        </p:style>
        <p:txBody>
          <a:bodyPr lIns="0" tIns="0" rIns="0" bIns="45000">
            <a:noAutofit/>
          </a:bodyPr>
          <a:lstStyle/>
          <a:p>
            <a:pPr>
              <a:lnSpc>
                <a:spcPct val="90000"/>
              </a:lnSpc>
            </a:pPr>
            <a:r>
              <a:rPr lang="en-US" sz="2900" b="0" strike="noStrike" spc="-1" dirty="0">
                <a:solidFill>
                  <a:srgbClr val="000094"/>
                </a:solidFill>
                <a:latin typeface="Calibri"/>
              </a:rPr>
              <a:t>What we do? DSBC in scope activities</a:t>
            </a:r>
            <a:endParaRPr lang="en-US" sz="2900" b="0" strike="noStrike" spc="-1" dirty="0">
              <a:latin typeface="Calibri"/>
            </a:endParaRPr>
          </a:p>
        </p:txBody>
      </p:sp>
      <p:graphicFrame>
        <p:nvGraphicFramePr>
          <p:cNvPr id="876" name="Table 5"/>
          <p:cNvGraphicFramePr/>
          <p:nvPr>
            <p:extLst>
              <p:ext uri="{D42A27DB-BD31-4B8C-83A1-F6EECF244321}">
                <p14:modId xmlns:p14="http://schemas.microsoft.com/office/powerpoint/2010/main" val="3972759047"/>
              </p:ext>
            </p:extLst>
          </p:nvPr>
        </p:nvGraphicFramePr>
        <p:xfrm>
          <a:off x="1750680" y="2027400"/>
          <a:ext cx="3436200" cy="792000"/>
        </p:xfrm>
        <a:graphic>
          <a:graphicData uri="http://schemas.openxmlformats.org/drawingml/2006/table">
            <a:tbl>
              <a:tblPr/>
              <a:tblGrid>
                <a:gridCol w="3436200">
                  <a:extLst>
                    <a:ext uri="{9D8B030D-6E8A-4147-A177-3AD203B41FA5}">
                      <a16:colId xmlns:a16="http://schemas.microsoft.com/office/drawing/2014/main" val="20000"/>
                    </a:ext>
                  </a:extLst>
                </a:gridCol>
              </a:tblGrid>
              <a:tr h="792000">
                <a:tc>
                  <a:txBody>
                    <a:bodyPr/>
                    <a:lstStyle/>
                    <a:p>
                      <a:pPr algn="l">
                        <a:lnSpc>
                          <a:spcPct val="100000"/>
                        </a:lnSpc>
                        <a:tabLst>
                          <a:tab pos="0" algn="l"/>
                        </a:tabLst>
                      </a:pPr>
                      <a:r>
                        <a:rPr lang="en-US" sz="1800" b="1" strike="noStrike" spc="-1" dirty="0">
                          <a:solidFill>
                            <a:srgbClr val="000094"/>
                          </a:solidFill>
                          <a:latin typeface="Calibri"/>
                          <a:ea typeface="ＭＳ Ｐゴシック"/>
                        </a:rPr>
                        <a:t>DSBC does </a:t>
                      </a:r>
                      <a:endParaRPr lang="en-US" sz="1800" b="0" strike="noStrike" spc="-1" dirty="0">
                        <a:latin typeface="Calibri"/>
                      </a:endParaRPr>
                    </a:p>
                  </a:txBody>
                  <a:tcPr marL="360000" anchor="ctr">
                    <a:lnL w="38160">
                      <a:noFill/>
                    </a:lnL>
                    <a:lnR w="38160">
                      <a:noFill/>
                    </a:lnR>
                    <a:lnT w="38160">
                      <a:noFill/>
                    </a:lnT>
                    <a:lnB w="76320">
                      <a:solidFill>
                        <a:srgbClr val="4757F1"/>
                      </a:solidFill>
                    </a:lnB>
                    <a:gradFill rotWithShape="0">
                      <a:gsLst>
                        <a:gs pos="0">
                          <a:srgbClr val="F2F2F2"/>
                        </a:gs>
                        <a:gs pos="100000">
                          <a:srgbClr val="FFFFFF">
                            <a:alpha val="0"/>
                          </a:srgbClr>
                        </a:gs>
                      </a:gsLst>
                      <a:lin ang="5400000"/>
                    </a:gradFill>
                  </a:tcPr>
                </a:tc>
                <a:extLst>
                  <a:ext uri="{0D108BD9-81ED-4DB2-BD59-A6C34878D82A}">
                    <a16:rowId xmlns:a16="http://schemas.microsoft.com/office/drawing/2014/main" val="10000"/>
                  </a:ext>
                </a:extLst>
              </a:tr>
            </a:tbl>
          </a:graphicData>
        </a:graphic>
      </p:graphicFrame>
      <p:graphicFrame>
        <p:nvGraphicFramePr>
          <p:cNvPr id="877" name="Table 6"/>
          <p:cNvGraphicFramePr/>
          <p:nvPr>
            <p:extLst>
              <p:ext uri="{D42A27DB-BD31-4B8C-83A1-F6EECF244321}">
                <p14:modId xmlns:p14="http://schemas.microsoft.com/office/powerpoint/2010/main" val="930222365"/>
              </p:ext>
            </p:extLst>
          </p:nvPr>
        </p:nvGraphicFramePr>
        <p:xfrm>
          <a:off x="526680" y="2023080"/>
          <a:ext cx="1064520" cy="792000"/>
        </p:xfrm>
        <a:graphic>
          <a:graphicData uri="http://schemas.openxmlformats.org/drawingml/2006/table">
            <a:tbl>
              <a:tblPr/>
              <a:tblGrid>
                <a:gridCol w="1064520">
                  <a:extLst>
                    <a:ext uri="{9D8B030D-6E8A-4147-A177-3AD203B41FA5}">
                      <a16:colId xmlns:a16="http://schemas.microsoft.com/office/drawing/2014/main" val="20000"/>
                    </a:ext>
                  </a:extLst>
                </a:gridCol>
              </a:tblGrid>
              <a:tr h="792000">
                <a:tc>
                  <a:txBody>
                    <a:bodyPr/>
                    <a:lstStyle/>
                    <a:p>
                      <a:endParaRPr lang="de-DE"/>
                    </a:p>
                  </a:txBody>
                  <a:tcPr marL="360000">
                    <a:lnL w="38160">
                      <a:noFill/>
                    </a:lnL>
                    <a:lnR w="38160">
                      <a:noFill/>
                    </a:lnR>
                    <a:lnT w="38160">
                      <a:noFill/>
                    </a:lnT>
                    <a:lnB w="76320">
                      <a:solidFill>
                        <a:srgbClr val="4757F1"/>
                      </a:solidFill>
                    </a:lnB>
                    <a:gradFill rotWithShape="0">
                      <a:gsLst>
                        <a:gs pos="0">
                          <a:srgbClr val="F2F2F2"/>
                        </a:gs>
                        <a:gs pos="100000">
                          <a:srgbClr val="FFFFFF">
                            <a:alpha val="0"/>
                          </a:srgbClr>
                        </a:gs>
                      </a:gsLst>
                      <a:lin ang="5400000"/>
                    </a:gradFill>
                  </a:tcPr>
                </a:tc>
                <a:extLst>
                  <a:ext uri="{0D108BD9-81ED-4DB2-BD59-A6C34878D82A}">
                    <a16:rowId xmlns:a16="http://schemas.microsoft.com/office/drawing/2014/main" val="10000"/>
                  </a:ext>
                </a:extLst>
              </a:tr>
            </a:tbl>
          </a:graphicData>
        </a:graphic>
      </p:graphicFrame>
      <p:sp>
        <p:nvSpPr>
          <p:cNvPr id="878" name="CustomShape 7"/>
          <p:cNvSpPr/>
          <p:nvPr/>
        </p:nvSpPr>
        <p:spPr>
          <a:xfrm>
            <a:off x="515880" y="2057400"/>
            <a:ext cx="1063800" cy="783000"/>
          </a:xfrm>
          <a:prstGeom prst="rect">
            <a:avLst/>
          </a:prstGeom>
          <a:noFill/>
          <a:ln>
            <a:noFill/>
          </a:ln>
        </p:spPr>
        <p:style>
          <a:lnRef idx="0">
            <a:scrgbClr r="0" g="0" b="0"/>
          </a:lnRef>
          <a:fillRef idx="0">
            <a:scrgbClr r="0" g="0" b="0"/>
          </a:fillRef>
          <a:effectRef idx="0">
            <a:scrgbClr r="0" g="0" b="0"/>
          </a:effectRef>
          <a:fontRef idx="minor"/>
        </p:style>
        <p:txBody>
          <a:bodyPr lIns="0" tIns="36000" rIns="0" bIns="0" anchor="ctr">
            <a:noAutofit/>
          </a:bodyPr>
          <a:lstStyle/>
          <a:p>
            <a:pPr algn="ctr">
              <a:lnSpc>
                <a:spcPct val="90000"/>
              </a:lnSpc>
            </a:pPr>
            <a:r>
              <a:rPr lang="en-US" sz="5400" b="1" strike="noStrike" spc="-1" dirty="0">
                <a:solidFill>
                  <a:srgbClr val="000094"/>
                </a:solidFill>
                <a:latin typeface="Calibri"/>
                <a:ea typeface="DejaVu Sans"/>
              </a:rPr>
              <a:t>1</a:t>
            </a:r>
            <a:endParaRPr lang="en-US" sz="5400" b="0" strike="noStrike" spc="-1" dirty="0">
              <a:latin typeface="Calibri"/>
            </a:endParaRPr>
          </a:p>
        </p:txBody>
      </p:sp>
      <p:graphicFrame>
        <p:nvGraphicFramePr>
          <p:cNvPr id="879" name="Table 8"/>
          <p:cNvGraphicFramePr/>
          <p:nvPr>
            <p:extLst>
              <p:ext uri="{D42A27DB-BD31-4B8C-83A1-F6EECF244321}">
                <p14:modId xmlns:p14="http://schemas.microsoft.com/office/powerpoint/2010/main" val="1217449110"/>
              </p:ext>
            </p:extLst>
          </p:nvPr>
        </p:nvGraphicFramePr>
        <p:xfrm>
          <a:off x="1757880" y="3524040"/>
          <a:ext cx="3436200" cy="792000"/>
        </p:xfrm>
        <a:graphic>
          <a:graphicData uri="http://schemas.openxmlformats.org/drawingml/2006/table">
            <a:tbl>
              <a:tblPr/>
              <a:tblGrid>
                <a:gridCol w="3436200">
                  <a:extLst>
                    <a:ext uri="{9D8B030D-6E8A-4147-A177-3AD203B41FA5}">
                      <a16:colId xmlns:a16="http://schemas.microsoft.com/office/drawing/2014/main" val="20000"/>
                    </a:ext>
                  </a:extLst>
                </a:gridCol>
              </a:tblGrid>
              <a:tr h="792000">
                <a:tc>
                  <a:txBody>
                    <a:bodyPr/>
                    <a:lstStyle/>
                    <a:p>
                      <a:pPr>
                        <a:lnSpc>
                          <a:spcPct val="100000"/>
                        </a:lnSpc>
                        <a:tabLst>
                          <a:tab pos="0" algn="l"/>
                        </a:tabLst>
                      </a:pPr>
                      <a:r>
                        <a:rPr lang="en-US" sz="1800" b="1" strike="noStrike" spc="-1" dirty="0">
                          <a:solidFill>
                            <a:srgbClr val="000094"/>
                          </a:solidFill>
                          <a:latin typeface="Calibri"/>
                          <a:ea typeface="ＭＳ Ｐゴシック"/>
                        </a:rPr>
                        <a:t>DSBC doesn’t do</a:t>
                      </a:r>
                      <a:endParaRPr lang="en-US" sz="1800" b="0" strike="noStrike" spc="-1" dirty="0">
                        <a:latin typeface="Calibri"/>
                      </a:endParaRPr>
                    </a:p>
                  </a:txBody>
                  <a:tcPr marL="360000" anchor="ctr">
                    <a:lnL w="38160">
                      <a:noFill/>
                    </a:lnL>
                    <a:lnR w="38160">
                      <a:noFill/>
                    </a:lnR>
                    <a:lnT w="38160">
                      <a:noFill/>
                    </a:lnT>
                    <a:lnB w="76320">
                      <a:solidFill>
                        <a:srgbClr val="B900FF"/>
                      </a:solidFill>
                    </a:lnB>
                    <a:gradFill rotWithShape="0">
                      <a:gsLst>
                        <a:gs pos="0">
                          <a:srgbClr val="F2F2F2"/>
                        </a:gs>
                        <a:gs pos="100000">
                          <a:srgbClr val="FFFFFF">
                            <a:alpha val="0"/>
                          </a:srgbClr>
                        </a:gs>
                      </a:gsLst>
                      <a:lin ang="5400000"/>
                    </a:gradFill>
                  </a:tcPr>
                </a:tc>
                <a:extLst>
                  <a:ext uri="{0D108BD9-81ED-4DB2-BD59-A6C34878D82A}">
                    <a16:rowId xmlns:a16="http://schemas.microsoft.com/office/drawing/2014/main" val="10000"/>
                  </a:ext>
                </a:extLst>
              </a:tr>
            </a:tbl>
          </a:graphicData>
        </a:graphic>
      </p:graphicFrame>
      <p:graphicFrame>
        <p:nvGraphicFramePr>
          <p:cNvPr id="880" name="Table 9"/>
          <p:cNvGraphicFramePr/>
          <p:nvPr/>
        </p:nvGraphicFramePr>
        <p:xfrm>
          <a:off x="533880" y="3519360"/>
          <a:ext cx="1064520" cy="792000"/>
        </p:xfrm>
        <a:graphic>
          <a:graphicData uri="http://schemas.openxmlformats.org/drawingml/2006/table">
            <a:tbl>
              <a:tblPr/>
              <a:tblGrid>
                <a:gridCol w="1064520">
                  <a:extLst>
                    <a:ext uri="{9D8B030D-6E8A-4147-A177-3AD203B41FA5}">
                      <a16:colId xmlns:a16="http://schemas.microsoft.com/office/drawing/2014/main" val="20000"/>
                    </a:ext>
                  </a:extLst>
                </a:gridCol>
              </a:tblGrid>
              <a:tr h="792000">
                <a:tc>
                  <a:txBody>
                    <a:bodyPr/>
                    <a:lstStyle/>
                    <a:p>
                      <a:endParaRPr lang="de-DE"/>
                    </a:p>
                  </a:txBody>
                  <a:tcPr marL="360000">
                    <a:lnL w="38160">
                      <a:noFill/>
                    </a:lnL>
                    <a:lnR w="38160">
                      <a:noFill/>
                    </a:lnR>
                    <a:lnT w="38160">
                      <a:noFill/>
                    </a:lnT>
                    <a:lnB w="76320">
                      <a:solidFill>
                        <a:srgbClr val="B900FF"/>
                      </a:solidFill>
                    </a:lnB>
                    <a:gradFill rotWithShape="0">
                      <a:gsLst>
                        <a:gs pos="0">
                          <a:srgbClr val="F2F2F2"/>
                        </a:gs>
                        <a:gs pos="100000">
                          <a:srgbClr val="FFFFFF">
                            <a:alpha val="0"/>
                          </a:srgbClr>
                        </a:gs>
                      </a:gsLst>
                      <a:lin ang="5400000"/>
                    </a:gradFill>
                  </a:tcPr>
                </a:tc>
                <a:extLst>
                  <a:ext uri="{0D108BD9-81ED-4DB2-BD59-A6C34878D82A}">
                    <a16:rowId xmlns:a16="http://schemas.microsoft.com/office/drawing/2014/main" val="10000"/>
                  </a:ext>
                </a:extLst>
              </a:tr>
            </a:tbl>
          </a:graphicData>
        </a:graphic>
      </p:graphicFrame>
      <p:sp>
        <p:nvSpPr>
          <p:cNvPr id="881" name="CustomShape 10"/>
          <p:cNvSpPr/>
          <p:nvPr/>
        </p:nvSpPr>
        <p:spPr>
          <a:xfrm>
            <a:off x="523440" y="3528360"/>
            <a:ext cx="1063800" cy="783000"/>
          </a:xfrm>
          <a:prstGeom prst="rect">
            <a:avLst/>
          </a:prstGeom>
          <a:noFill/>
          <a:ln>
            <a:noFill/>
          </a:ln>
        </p:spPr>
        <p:style>
          <a:lnRef idx="0">
            <a:scrgbClr r="0" g="0" b="0"/>
          </a:lnRef>
          <a:fillRef idx="0">
            <a:scrgbClr r="0" g="0" b="0"/>
          </a:fillRef>
          <a:effectRef idx="0">
            <a:scrgbClr r="0" g="0" b="0"/>
          </a:effectRef>
          <a:fontRef idx="minor"/>
        </p:style>
        <p:txBody>
          <a:bodyPr lIns="0" tIns="36000" rIns="0" bIns="0" anchor="ctr">
            <a:noAutofit/>
          </a:bodyPr>
          <a:lstStyle/>
          <a:p>
            <a:pPr algn="ctr">
              <a:lnSpc>
                <a:spcPct val="90000"/>
              </a:lnSpc>
            </a:pPr>
            <a:r>
              <a:rPr lang="en-US" sz="5400" b="1" strike="noStrike" spc="-1">
                <a:solidFill>
                  <a:srgbClr val="000094"/>
                </a:solidFill>
                <a:latin typeface="Calibri"/>
                <a:ea typeface="DejaVu Sans"/>
              </a:rPr>
              <a:t>2</a:t>
            </a:r>
            <a:endParaRPr lang="en-US" sz="5400" b="0" strike="noStrike" spc="-1">
              <a:latin typeface="Calibri"/>
            </a:endParaRPr>
          </a:p>
        </p:txBody>
      </p:sp>
      <p:graphicFrame>
        <p:nvGraphicFramePr>
          <p:cNvPr id="882" name="Table 11"/>
          <p:cNvGraphicFramePr/>
          <p:nvPr>
            <p:extLst>
              <p:ext uri="{D42A27DB-BD31-4B8C-83A1-F6EECF244321}">
                <p14:modId xmlns:p14="http://schemas.microsoft.com/office/powerpoint/2010/main" val="2174679454"/>
              </p:ext>
            </p:extLst>
          </p:nvPr>
        </p:nvGraphicFramePr>
        <p:xfrm>
          <a:off x="1771560" y="4770600"/>
          <a:ext cx="3436200" cy="792000"/>
        </p:xfrm>
        <a:graphic>
          <a:graphicData uri="http://schemas.openxmlformats.org/drawingml/2006/table">
            <a:tbl>
              <a:tblPr/>
              <a:tblGrid>
                <a:gridCol w="3436200">
                  <a:extLst>
                    <a:ext uri="{9D8B030D-6E8A-4147-A177-3AD203B41FA5}">
                      <a16:colId xmlns:a16="http://schemas.microsoft.com/office/drawing/2014/main" val="20000"/>
                    </a:ext>
                  </a:extLst>
                </a:gridCol>
              </a:tblGrid>
              <a:tr h="792000">
                <a:tc>
                  <a:txBody>
                    <a:bodyPr/>
                    <a:lstStyle/>
                    <a:p>
                      <a:pPr>
                        <a:lnSpc>
                          <a:spcPct val="100000"/>
                        </a:lnSpc>
                        <a:tabLst>
                          <a:tab pos="0" algn="l"/>
                        </a:tabLst>
                      </a:pPr>
                      <a:r>
                        <a:rPr lang="en-US" sz="1800" b="1" strike="noStrike" spc="-1" dirty="0">
                          <a:solidFill>
                            <a:srgbClr val="000094"/>
                          </a:solidFill>
                          <a:latin typeface="Calibri"/>
                          <a:ea typeface="ＭＳ Ｐゴシック"/>
                        </a:rPr>
                        <a:t>DSBC vs Gaia-X AISBL</a:t>
                      </a:r>
                      <a:endParaRPr lang="en-US" sz="1800" b="0" strike="noStrike" spc="-1" dirty="0">
                        <a:latin typeface="Calibri"/>
                      </a:endParaRPr>
                    </a:p>
                  </a:txBody>
                  <a:tcPr marL="360000" anchor="ctr">
                    <a:lnL w="38160">
                      <a:noFill/>
                    </a:lnL>
                    <a:lnR w="38160">
                      <a:noFill/>
                    </a:lnR>
                    <a:lnT w="38160">
                      <a:noFill/>
                    </a:lnT>
                    <a:lnB w="76320">
                      <a:solidFill>
                        <a:srgbClr val="000094"/>
                      </a:solidFill>
                    </a:lnB>
                    <a:gradFill rotWithShape="0">
                      <a:gsLst>
                        <a:gs pos="0">
                          <a:srgbClr val="F2F2F2"/>
                        </a:gs>
                        <a:gs pos="100000">
                          <a:srgbClr val="FFFFFF">
                            <a:alpha val="0"/>
                          </a:srgbClr>
                        </a:gs>
                      </a:gsLst>
                      <a:lin ang="5400000"/>
                    </a:gradFill>
                  </a:tcPr>
                </a:tc>
                <a:extLst>
                  <a:ext uri="{0D108BD9-81ED-4DB2-BD59-A6C34878D82A}">
                    <a16:rowId xmlns:a16="http://schemas.microsoft.com/office/drawing/2014/main" val="10000"/>
                  </a:ext>
                </a:extLst>
              </a:tr>
            </a:tbl>
          </a:graphicData>
        </a:graphic>
      </p:graphicFrame>
      <p:graphicFrame>
        <p:nvGraphicFramePr>
          <p:cNvPr id="883" name="Table 12"/>
          <p:cNvGraphicFramePr/>
          <p:nvPr>
            <p:extLst>
              <p:ext uri="{D42A27DB-BD31-4B8C-83A1-F6EECF244321}">
                <p14:modId xmlns:p14="http://schemas.microsoft.com/office/powerpoint/2010/main" val="988673545"/>
              </p:ext>
            </p:extLst>
          </p:nvPr>
        </p:nvGraphicFramePr>
        <p:xfrm>
          <a:off x="547560" y="4766280"/>
          <a:ext cx="1064520" cy="792000"/>
        </p:xfrm>
        <a:graphic>
          <a:graphicData uri="http://schemas.openxmlformats.org/drawingml/2006/table">
            <a:tbl>
              <a:tblPr/>
              <a:tblGrid>
                <a:gridCol w="1064520">
                  <a:extLst>
                    <a:ext uri="{9D8B030D-6E8A-4147-A177-3AD203B41FA5}">
                      <a16:colId xmlns:a16="http://schemas.microsoft.com/office/drawing/2014/main" val="20000"/>
                    </a:ext>
                  </a:extLst>
                </a:gridCol>
              </a:tblGrid>
              <a:tr h="792000">
                <a:tc>
                  <a:txBody>
                    <a:bodyPr/>
                    <a:lstStyle/>
                    <a:p>
                      <a:endParaRPr lang="de-DE"/>
                    </a:p>
                  </a:txBody>
                  <a:tcPr marL="360000">
                    <a:lnL w="38160">
                      <a:noFill/>
                    </a:lnL>
                    <a:lnR w="38160">
                      <a:noFill/>
                    </a:lnR>
                    <a:lnT w="38160">
                      <a:noFill/>
                    </a:lnT>
                    <a:lnB w="76320">
                      <a:solidFill>
                        <a:srgbClr val="000094"/>
                      </a:solidFill>
                    </a:lnB>
                    <a:gradFill rotWithShape="0">
                      <a:gsLst>
                        <a:gs pos="0">
                          <a:srgbClr val="F2F2F2"/>
                        </a:gs>
                        <a:gs pos="100000">
                          <a:srgbClr val="FFFFFF">
                            <a:alpha val="0"/>
                          </a:srgbClr>
                        </a:gs>
                      </a:gsLst>
                      <a:lin ang="5400000"/>
                    </a:gradFill>
                  </a:tcPr>
                </a:tc>
                <a:extLst>
                  <a:ext uri="{0D108BD9-81ED-4DB2-BD59-A6C34878D82A}">
                    <a16:rowId xmlns:a16="http://schemas.microsoft.com/office/drawing/2014/main" val="10000"/>
                  </a:ext>
                </a:extLst>
              </a:tr>
            </a:tbl>
          </a:graphicData>
        </a:graphic>
      </p:graphicFrame>
      <p:sp>
        <p:nvSpPr>
          <p:cNvPr id="884" name="CustomShape 13"/>
          <p:cNvSpPr/>
          <p:nvPr/>
        </p:nvSpPr>
        <p:spPr>
          <a:xfrm>
            <a:off x="537120" y="4700880"/>
            <a:ext cx="1063800" cy="783000"/>
          </a:xfrm>
          <a:prstGeom prst="rect">
            <a:avLst/>
          </a:prstGeom>
          <a:noFill/>
          <a:ln>
            <a:noFill/>
          </a:ln>
        </p:spPr>
        <p:style>
          <a:lnRef idx="0">
            <a:scrgbClr r="0" g="0" b="0"/>
          </a:lnRef>
          <a:fillRef idx="0">
            <a:scrgbClr r="0" g="0" b="0"/>
          </a:fillRef>
          <a:effectRef idx="0">
            <a:scrgbClr r="0" g="0" b="0"/>
          </a:effectRef>
          <a:fontRef idx="minor"/>
        </p:style>
        <p:txBody>
          <a:bodyPr lIns="0" tIns="36000" rIns="0" bIns="0" anchor="ctr">
            <a:noAutofit/>
          </a:bodyPr>
          <a:lstStyle/>
          <a:p>
            <a:pPr algn="ctr">
              <a:lnSpc>
                <a:spcPct val="90000"/>
              </a:lnSpc>
            </a:pPr>
            <a:r>
              <a:rPr lang="en-US" sz="5400" b="1" strike="noStrike" spc="-1">
                <a:solidFill>
                  <a:srgbClr val="000094"/>
                </a:solidFill>
                <a:latin typeface="Calibri"/>
                <a:ea typeface="DejaVu Sans"/>
              </a:rPr>
              <a:t>3</a:t>
            </a:r>
            <a:endParaRPr lang="en-US" sz="5400" b="0" strike="noStrike" spc="-1">
              <a:latin typeface="Calibri"/>
            </a:endParaRPr>
          </a:p>
        </p:txBody>
      </p:sp>
      <p:sp>
        <p:nvSpPr>
          <p:cNvPr id="885" name="CustomShape 14"/>
          <p:cNvSpPr/>
          <p:nvPr/>
        </p:nvSpPr>
        <p:spPr>
          <a:xfrm>
            <a:off x="5490720" y="3660120"/>
            <a:ext cx="6641640" cy="651240"/>
          </a:xfrm>
          <a:prstGeom prst="rect">
            <a:avLst/>
          </a:prstGeom>
          <a:noFill/>
          <a:ln>
            <a:noFill/>
          </a:ln>
        </p:spPr>
        <p:style>
          <a:lnRef idx="0">
            <a:scrgbClr r="0" g="0" b="0"/>
          </a:lnRef>
          <a:fillRef idx="0">
            <a:scrgbClr r="0" g="0" b="0"/>
          </a:fillRef>
          <a:effectRef idx="0">
            <a:scrgbClr r="0" g="0" b="0"/>
          </a:effectRef>
          <a:fontRef idx="minor"/>
        </p:style>
        <p:txBody>
          <a:bodyPr lIns="0" tIns="0" rIns="90000" bIns="45000">
            <a:noAutofit/>
          </a:bodyPr>
          <a:lstStyle/>
          <a:p>
            <a:pPr marL="324000" indent="-323280">
              <a:lnSpc>
                <a:spcPct val="100000"/>
              </a:lnSpc>
              <a:spcBef>
                <a:spcPts val="400"/>
              </a:spcBef>
              <a:buSzPct val="100045"/>
              <a:buBlip>
                <a:blip r:embed="rId2"/>
              </a:buBlip>
            </a:pPr>
            <a:r>
              <a:rPr lang="en-US" dirty="0">
                <a:solidFill>
                  <a:srgbClr val="000000"/>
                </a:solidFill>
                <a:latin typeface="Calibri" panose="020F0502020204030204" pitchFamily="34" charset="0"/>
                <a:cs typeface="Calibri" panose="020F0502020204030204" pitchFamily="34" charset="0"/>
              </a:rPr>
              <a:t>Create data spaces by design </a:t>
            </a:r>
          </a:p>
          <a:p>
            <a:pPr marL="324000" indent="-323280">
              <a:lnSpc>
                <a:spcPct val="100000"/>
              </a:lnSpc>
              <a:spcBef>
                <a:spcPts val="400"/>
              </a:spcBef>
              <a:buSzPct val="100045"/>
              <a:buBlip>
                <a:blip r:embed="rId2"/>
              </a:buBlip>
            </a:pPr>
            <a:r>
              <a:rPr lang="en-US" dirty="0">
                <a:solidFill>
                  <a:srgbClr val="000000"/>
                </a:solidFill>
                <a:latin typeface="Calibri" panose="020F0502020204030204" pitchFamily="34" charset="0"/>
                <a:cs typeface="Calibri" panose="020F0502020204030204" pitchFamily="34" charset="0"/>
              </a:rPr>
              <a:t>A standardization work</a:t>
            </a:r>
          </a:p>
          <a:p>
            <a:pPr marL="324000" indent="-323280">
              <a:lnSpc>
                <a:spcPct val="100000"/>
              </a:lnSpc>
              <a:spcBef>
                <a:spcPts val="400"/>
              </a:spcBef>
              <a:buSzPct val="100045"/>
              <a:buBlip>
                <a:blip r:embed="rId2"/>
              </a:buBlip>
            </a:pPr>
            <a:endParaRPr lang="en-US" dirty="0">
              <a:solidFill>
                <a:srgbClr val="000000"/>
              </a:solidFill>
              <a:latin typeface="Calibri" panose="020F0502020204030204" pitchFamily="34" charset="0"/>
              <a:cs typeface="Calibri" panose="020F0502020204030204" pitchFamily="34" charset="0"/>
            </a:endParaRPr>
          </a:p>
        </p:txBody>
      </p:sp>
      <p:sp>
        <p:nvSpPr>
          <p:cNvPr id="886" name="CustomShape 15"/>
          <p:cNvSpPr/>
          <p:nvPr/>
        </p:nvSpPr>
        <p:spPr>
          <a:xfrm>
            <a:off x="5490720" y="4630320"/>
            <a:ext cx="6641640" cy="1313280"/>
          </a:xfrm>
          <a:prstGeom prst="rect">
            <a:avLst/>
          </a:prstGeom>
          <a:noFill/>
          <a:ln>
            <a:noFill/>
          </a:ln>
        </p:spPr>
        <p:style>
          <a:lnRef idx="0">
            <a:scrgbClr r="0" g="0" b="0"/>
          </a:lnRef>
          <a:fillRef idx="0">
            <a:scrgbClr r="0" g="0" b="0"/>
          </a:fillRef>
          <a:effectRef idx="0">
            <a:scrgbClr r="0" g="0" b="0"/>
          </a:effectRef>
          <a:fontRef idx="minor"/>
        </p:style>
        <p:txBody>
          <a:bodyPr lIns="0" tIns="0" rIns="90000" bIns="45000">
            <a:noAutofit/>
          </a:bodyPr>
          <a:lstStyle/>
          <a:p>
            <a:pPr marL="324000" indent="-323280">
              <a:lnSpc>
                <a:spcPct val="100000"/>
              </a:lnSpc>
              <a:spcBef>
                <a:spcPts val="400"/>
              </a:spcBef>
              <a:buSzPct val="100045"/>
              <a:buBlip>
                <a:blip r:embed="rId2"/>
              </a:buBlip>
            </a:pPr>
            <a:r>
              <a:rPr lang="en-US" sz="1800" b="0" strike="noStrike" spc="-1" dirty="0">
                <a:solidFill>
                  <a:srgbClr val="404040"/>
                </a:solidFill>
                <a:latin typeface="Calibri"/>
                <a:ea typeface="DejaVu Sans"/>
              </a:rPr>
              <a:t>We </a:t>
            </a:r>
            <a:r>
              <a:rPr lang="en-US" spc="-1" dirty="0">
                <a:solidFill>
                  <a:srgbClr val="404040"/>
                </a:solidFill>
                <a:latin typeface="Calibri"/>
                <a:ea typeface="DejaVu Sans"/>
              </a:rPr>
              <a:t>are dri</a:t>
            </a:r>
            <a:r>
              <a:rPr lang="en-US" dirty="0">
                <a:latin typeface="Calibri" panose="020F0502020204030204" pitchFamily="34" charset="0"/>
                <a:cs typeface="Calibri" panose="020F0502020204030204" pitchFamily="34" charset="0"/>
              </a:rPr>
              <a:t>ven by a holistic view </a:t>
            </a:r>
            <a:endParaRPr lang="en-US" sz="1800" b="0" strike="noStrike" spc="-1" dirty="0">
              <a:latin typeface="Calibri"/>
            </a:endParaRPr>
          </a:p>
          <a:p>
            <a:pPr marL="324000" indent="-323280">
              <a:lnSpc>
                <a:spcPct val="100000"/>
              </a:lnSpc>
              <a:spcBef>
                <a:spcPts val="400"/>
              </a:spcBef>
              <a:buSzPct val="100045"/>
              <a:buBlip>
                <a:blip r:embed="rId2"/>
              </a:buBlip>
            </a:pPr>
            <a:r>
              <a:rPr lang="en-US" sz="1800" b="0" strike="noStrike" spc="-1" dirty="0">
                <a:solidFill>
                  <a:srgbClr val="404040"/>
                </a:solidFill>
                <a:latin typeface="Calibri"/>
                <a:ea typeface="DejaVu Sans"/>
              </a:rPr>
              <a:t>We represent </a:t>
            </a:r>
            <a:r>
              <a:rPr lang="en-US" dirty="0">
                <a:latin typeface="Calibri" panose="020F0502020204030204" pitchFamily="34" charset="0"/>
                <a:cs typeface="Calibri" panose="020F0502020204030204" pitchFamily="34" charset="0"/>
              </a:rPr>
              <a:t>the point of view of the industry</a:t>
            </a:r>
            <a:endParaRPr lang="en-US" sz="1800" b="0" strike="noStrike" spc="-1" dirty="0">
              <a:latin typeface="Calibri"/>
            </a:endParaRPr>
          </a:p>
          <a:p>
            <a:pPr marL="324000" indent="-323280">
              <a:lnSpc>
                <a:spcPct val="100000"/>
              </a:lnSpc>
              <a:spcBef>
                <a:spcPts val="400"/>
              </a:spcBef>
              <a:buSzPct val="100045"/>
              <a:buBlip>
                <a:blip r:embed="rId2"/>
              </a:buBlip>
            </a:pPr>
            <a:r>
              <a:rPr lang="en-US" spc="-1" dirty="0">
                <a:solidFill>
                  <a:srgbClr val="404040"/>
                </a:solidFill>
                <a:latin typeface="Calibri"/>
              </a:rPr>
              <a:t>We </a:t>
            </a:r>
            <a:r>
              <a:rPr lang="en-GB" dirty="0">
                <a:latin typeface="Calibri" panose="020F0502020204030204" pitchFamily="34" charset="0"/>
                <a:cs typeface="Calibri" panose="020F0502020204030204" pitchFamily="34" charset="0"/>
              </a:rPr>
              <a:t>actively stimulate and support the establishment of data spaces </a:t>
            </a:r>
            <a:endParaRPr lang="en-US" sz="1800" b="0" strike="noStrike" spc="-1" dirty="0">
              <a:latin typeface="Calibri"/>
            </a:endParaRPr>
          </a:p>
        </p:txBody>
      </p:sp>
      <p:sp>
        <p:nvSpPr>
          <p:cNvPr id="18" name="TextShape 17">
            <a:extLst>
              <a:ext uri="{FF2B5EF4-FFF2-40B4-BE49-F238E27FC236}">
                <a16:creationId xmlns:a16="http://schemas.microsoft.com/office/drawing/2014/main" id="{1ECC9BE3-DC5F-4C90-9438-E73C5C69403C}"/>
              </a:ext>
            </a:extLst>
          </p:cNvPr>
          <p:cNvSpPr txBox="1"/>
          <p:nvPr/>
        </p:nvSpPr>
        <p:spPr>
          <a:xfrm>
            <a:off x="515880" y="6377040"/>
            <a:ext cx="4114440" cy="364680"/>
          </a:xfrm>
          <a:prstGeom prst="rect">
            <a:avLst/>
          </a:prstGeom>
          <a:noFill/>
          <a:ln>
            <a:noFill/>
          </a:ln>
        </p:spPr>
        <p:txBody>
          <a:bodyPr lIns="0" tIns="0" anchor="ctr">
            <a:noAutofit/>
          </a:bodyPr>
          <a:lstStyle/>
          <a:p>
            <a:pPr>
              <a:lnSpc>
                <a:spcPct val="100000"/>
              </a:lnSpc>
            </a:pPr>
            <a:r>
              <a:rPr lang="de-DE" sz="1100" b="0" strike="noStrike" spc="-1" dirty="0">
                <a:solidFill>
                  <a:srgbClr val="8B8B8B"/>
                </a:solidFill>
                <a:latin typeface="Calibri"/>
              </a:rPr>
              <a:t>Gaia-X Data Space Committee</a:t>
            </a:r>
            <a:endParaRPr lang="en-US" sz="1100" b="0" strike="noStrike" spc="-1" dirty="0">
              <a:latin typeface="Calibri"/>
            </a:endParaRPr>
          </a:p>
        </p:txBody>
      </p:sp>
      <p:sp>
        <p:nvSpPr>
          <p:cNvPr id="19" name="TextShape 16">
            <a:extLst>
              <a:ext uri="{FF2B5EF4-FFF2-40B4-BE49-F238E27FC236}">
                <a16:creationId xmlns:a16="http://schemas.microsoft.com/office/drawing/2014/main" id="{321F4A3B-66DB-4C28-AA6D-4885F86E0D1B}"/>
              </a:ext>
            </a:extLst>
          </p:cNvPr>
          <p:cNvSpPr txBox="1"/>
          <p:nvPr/>
        </p:nvSpPr>
        <p:spPr>
          <a:xfrm>
            <a:off x="10237680" y="6377040"/>
            <a:ext cx="849240" cy="364680"/>
          </a:xfrm>
          <a:prstGeom prst="rect">
            <a:avLst/>
          </a:prstGeom>
          <a:noFill/>
          <a:ln>
            <a:noFill/>
          </a:ln>
        </p:spPr>
        <p:txBody>
          <a:bodyPr lIns="0" tIns="0" rIns="0" anchor="ctr">
            <a:noAutofit/>
          </a:bodyPr>
          <a:lstStyle/>
          <a:p>
            <a:pPr algn="r">
              <a:lnSpc>
                <a:spcPct val="100000"/>
              </a:lnSpc>
            </a:pPr>
            <a:r>
              <a:rPr lang="de-DE" sz="1100" spc="-1" dirty="0">
                <a:solidFill>
                  <a:schemeClr val="accent6"/>
                </a:solidFill>
              </a:rPr>
              <a:t>02.12.21</a:t>
            </a:r>
            <a:endParaRPr lang="en-US" sz="1100" b="0" strike="noStrike" spc="-1" dirty="0">
              <a:solidFill>
                <a:schemeClr val="accent6"/>
              </a:solidFill>
              <a:latin typeface="Calibri"/>
            </a:endParaRPr>
          </a:p>
        </p:txBody>
      </p:sp>
      <p:sp>
        <p:nvSpPr>
          <p:cNvPr id="20" name="TextShape 18">
            <a:extLst>
              <a:ext uri="{FF2B5EF4-FFF2-40B4-BE49-F238E27FC236}">
                <a16:creationId xmlns:a16="http://schemas.microsoft.com/office/drawing/2014/main" id="{FD83C28F-F79B-42B2-B26E-C9EA2028EB74}"/>
              </a:ext>
            </a:extLst>
          </p:cNvPr>
          <p:cNvSpPr txBox="1"/>
          <p:nvPr/>
        </p:nvSpPr>
        <p:spPr>
          <a:xfrm>
            <a:off x="11157840" y="6377040"/>
            <a:ext cx="509760" cy="364680"/>
          </a:xfrm>
          <a:prstGeom prst="rect">
            <a:avLst/>
          </a:prstGeom>
          <a:noFill/>
          <a:ln>
            <a:noFill/>
          </a:ln>
        </p:spPr>
        <p:txBody>
          <a:bodyPr lIns="0" tIns="0" rIns="0" anchor="ctr">
            <a:noAutofit/>
          </a:bodyPr>
          <a:lstStyle/>
          <a:p>
            <a:pPr algn="r">
              <a:lnSpc>
                <a:spcPct val="100000"/>
              </a:lnSpc>
            </a:pPr>
            <a:fld id="{AA929E3E-2FF6-4316-88AA-CA774BAFE042}" type="slidenum">
              <a:rPr lang="de-DE" sz="1100" b="0" strike="noStrike" spc="-1">
                <a:solidFill>
                  <a:srgbClr val="8B8B8B"/>
                </a:solidFill>
                <a:latin typeface="Calibri"/>
              </a:rPr>
              <a:t>4</a:t>
            </a:fld>
            <a:endParaRPr lang="en-US" sz="1100" b="0" strike="noStrike" spc="-1" dirty="0">
              <a:latin typeface="Calibri"/>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E12F748D-D6C3-4CF5-8851-FEEE9F260115}"/>
              </a:ext>
            </a:extLst>
          </p:cNvPr>
          <p:cNvSpPr>
            <a:spLocks noGrp="1"/>
          </p:cNvSpPr>
          <p:nvPr>
            <p:ph type="title"/>
          </p:nvPr>
        </p:nvSpPr>
        <p:spPr>
          <a:xfrm>
            <a:off x="515938" y="453851"/>
            <a:ext cx="6875155" cy="757619"/>
          </a:xfrm>
        </p:spPr>
        <p:txBody>
          <a:bodyPr lIns="0" tIns="0" rIns="0" bIns="45720" anchor="t"/>
          <a:lstStyle/>
          <a:p>
            <a:r>
              <a:rPr lang="en-GB" noProof="0" dirty="0">
                <a:latin typeface="Calibri"/>
                <a:ea typeface="Cambria"/>
                <a:cs typeface="Calibri"/>
              </a:rPr>
              <a:t>DSBC from a data space perspective</a:t>
            </a:r>
            <a:endParaRPr lang="en-GB" noProof="0" dirty="0">
              <a:latin typeface="Calibri"/>
              <a:cs typeface="Calibri"/>
            </a:endParaRPr>
          </a:p>
        </p:txBody>
      </p:sp>
      <p:grpSp>
        <p:nvGrpSpPr>
          <p:cNvPr id="6" name="Group 1">
            <a:extLst>
              <a:ext uri="{FF2B5EF4-FFF2-40B4-BE49-F238E27FC236}">
                <a16:creationId xmlns:a16="http://schemas.microsoft.com/office/drawing/2014/main" id="{5CFAF3A7-A0D6-4F47-A170-34632F21DEA6}"/>
              </a:ext>
            </a:extLst>
          </p:cNvPr>
          <p:cNvGrpSpPr>
            <a:grpSpLocks noChangeAspect="1"/>
          </p:cNvGrpSpPr>
          <p:nvPr/>
        </p:nvGrpSpPr>
        <p:grpSpPr>
          <a:xfrm>
            <a:off x="2819400" y="24618"/>
            <a:ext cx="6203308" cy="6761856"/>
            <a:chOff x="2860933" y="1871234"/>
            <a:chExt cx="3939874" cy="4294616"/>
          </a:xfrm>
          <a:solidFill>
            <a:schemeClr val="accent6">
              <a:alpha val="22000"/>
            </a:schemeClr>
          </a:solidFill>
        </p:grpSpPr>
        <p:sp>
          <p:nvSpPr>
            <p:cNvPr id="7" name="ee4p_CY_1_92573">
              <a:extLst>
                <a:ext uri="{FF2B5EF4-FFF2-40B4-BE49-F238E27FC236}">
                  <a16:creationId xmlns:a16="http://schemas.microsoft.com/office/drawing/2014/main" id="{6C488357-9BB2-4134-8A5D-5909700F332E}"/>
                </a:ext>
              </a:extLst>
            </p:cNvPr>
            <p:cNvSpPr>
              <a:spLocks noChangeAspect="1"/>
            </p:cNvSpPr>
            <p:nvPr>
              <p:custDataLst>
                <p:tags r:id="rId1"/>
              </p:custDataLst>
            </p:nvPr>
          </p:nvSpPr>
          <p:spPr>
            <a:xfrm>
              <a:off x="6603135" y="6057298"/>
              <a:ext cx="197672" cy="108552"/>
            </a:xfrm>
            <a:custGeom>
              <a:avLst/>
              <a:gdLst>
                <a:gd name="connsiteX0" fmla="*/ 49864 w 49864"/>
                <a:gd name="connsiteY0" fmla="*/ 0 h 27383"/>
                <a:gd name="connsiteX1" fmla="*/ 47811 w 49864"/>
                <a:gd name="connsiteY1" fmla="*/ 1725 h 27383"/>
                <a:gd name="connsiteX2" fmla="*/ 36286 w 49864"/>
                <a:gd name="connsiteY2" fmla="*/ 9300 h 27383"/>
                <a:gd name="connsiteX3" fmla="*/ 35532 w 49864"/>
                <a:gd name="connsiteY3" fmla="*/ 11549 h 27383"/>
                <a:gd name="connsiteX4" fmla="*/ 36049 w 49864"/>
                <a:gd name="connsiteY4" fmla="*/ 13104 h 27383"/>
                <a:gd name="connsiteX5" fmla="*/ 37668 w 49864"/>
                <a:gd name="connsiteY5" fmla="*/ 14987 h 27383"/>
                <a:gd name="connsiteX6" fmla="*/ 38091 w 49864"/>
                <a:gd name="connsiteY6" fmla="*/ 15480 h 27383"/>
                <a:gd name="connsiteX7" fmla="*/ 38679 w 49864"/>
                <a:gd name="connsiteY7" fmla="*/ 16912 h 27383"/>
                <a:gd name="connsiteX8" fmla="*/ 36165 w 49864"/>
                <a:gd name="connsiteY8" fmla="*/ 17336 h 27383"/>
                <a:gd name="connsiteX9" fmla="*/ 33643 w 49864"/>
                <a:gd name="connsiteY9" fmla="*/ 17475 h 27383"/>
                <a:gd name="connsiteX10" fmla="*/ 32240 w 49864"/>
                <a:gd name="connsiteY10" fmla="*/ 17291 h 27383"/>
                <a:gd name="connsiteX11" fmla="*/ 30922 w 49864"/>
                <a:gd name="connsiteY11" fmla="*/ 17376 h 27383"/>
                <a:gd name="connsiteX12" fmla="*/ 26832 w 49864"/>
                <a:gd name="connsiteY12" fmla="*/ 21465 h 27383"/>
                <a:gd name="connsiteX13" fmla="*/ 24632 w 49864"/>
                <a:gd name="connsiteY13" fmla="*/ 22855 h 27383"/>
                <a:gd name="connsiteX14" fmla="*/ 22015 w 49864"/>
                <a:gd name="connsiteY14" fmla="*/ 23683 h 27383"/>
                <a:gd name="connsiteX15" fmla="*/ 19350 w 49864"/>
                <a:gd name="connsiteY15" fmla="*/ 24175 h 27383"/>
                <a:gd name="connsiteX16" fmla="*/ 18011 w 49864"/>
                <a:gd name="connsiteY16" fmla="*/ 24237 h 27383"/>
                <a:gd name="connsiteX17" fmla="*/ 16834 w 49864"/>
                <a:gd name="connsiteY17" fmla="*/ 24756 h 27383"/>
                <a:gd name="connsiteX18" fmla="*/ 16007 w 49864"/>
                <a:gd name="connsiteY18" fmla="*/ 25702 h 27383"/>
                <a:gd name="connsiteX19" fmla="*/ 15986 w 49864"/>
                <a:gd name="connsiteY19" fmla="*/ 26624 h 27383"/>
                <a:gd name="connsiteX20" fmla="*/ 15632 w 49864"/>
                <a:gd name="connsiteY20" fmla="*/ 27383 h 27383"/>
                <a:gd name="connsiteX21" fmla="*/ 14170 w 49864"/>
                <a:gd name="connsiteY21" fmla="*/ 27226 h 27383"/>
                <a:gd name="connsiteX22" fmla="*/ 13561 w 49864"/>
                <a:gd name="connsiteY22" fmla="*/ 25737 h 27383"/>
                <a:gd name="connsiteX23" fmla="*/ 12520 w 49864"/>
                <a:gd name="connsiteY23" fmla="*/ 25097 h 27383"/>
                <a:gd name="connsiteX24" fmla="*/ 9931 w 49864"/>
                <a:gd name="connsiteY24" fmla="*/ 25430 h 27383"/>
                <a:gd name="connsiteX25" fmla="*/ 8668 w 49864"/>
                <a:gd name="connsiteY25" fmla="*/ 25391 h 27383"/>
                <a:gd name="connsiteX26" fmla="*/ 4524 w 49864"/>
                <a:gd name="connsiteY26" fmla="*/ 23970 h 27383"/>
                <a:gd name="connsiteX27" fmla="*/ 3273 w 49864"/>
                <a:gd name="connsiteY27" fmla="*/ 23390 h 27383"/>
                <a:gd name="connsiteX28" fmla="*/ 2494 w 49864"/>
                <a:gd name="connsiteY28" fmla="*/ 22176 h 27383"/>
                <a:gd name="connsiteX29" fmla="*/ 358 w 49864"/>
                <a:gd name="connsiteY29" fmla="*/ 17790 h 27383"/>
                <a:gd name="connsiteX30" fmla="*/ 0 w 49864"/>
                <a:gd name="connsiteY30" fmla="*/ 14543 h 27383"/>
                <a:gd name="connsiteX31" fmla="*/ 1989 w 49864"/>
                <a:gd name="connsiteY31" fmla="*/ 15374 h 27383"/>
                <a:gd name="connsiteX32" fmla="*/ 3848 w 49864"/>
                <a:gd name="connsiteY32" fmla="*/ 14367 h 27383"/>
                <a:gd name="connsiteX33" fmla="*/ 5638 w 49864"/>
                <a:gd name="connsiteY33" fmla="*/ 12718 h 27383"/>
                <a:gd name="connsiteX34" fmla="*/ 7769 w 49864"/>
                <a:gd name="connsiteY34" fmla="*/ 12044 h 27383"/>
                <a:gd name="connsiteX35" fmla="*/ 9104 w 49864"/>
                <a:gd name="connsiteY35" fmla="*/ 12335 h 27383"/>
                <a:gd name="connsiteX36" fmla="*/ 10423 w 49864"/>
                <a:gd name="connsiteY36" fmla="*/ 12623 h 27383"/>
                <a:gd name="connsiteX37" fmla="*/ 12800 w 49864"/>
                <a:gd name="connsiteY37" fmla="*/ 12096 h 27383"/>
                <a:gd name="connsiteX38" fmla="*/ 13829 w 49864"/>
                <a:gd name="connsiteY38" fmla="*/ 9650 h 27383"/>
                <a:gd name="connsiteX39" fmla="*/ 14165 w 49864"/>
                <a:gd name="connsiteY39" fmla="*/ 6829 h 27383"/>
                <a:gd name="connsiteX40" fmla="*/ 18186 w 49864"/>
                <a:gd name="connsiteY40" fmla="*/ 7639 h 27383"/>
                <a:gd name="connsiteX41" fmla="*/ 22263 w 49864"/>
                <a:gd name="connsiteY41" fmla="*/ 8058 h 27383"/>
                <a:gd name="connsiteX42" fmla="*/ 25602 w 49864"/>
                <a:gd name="connsiteY42" fmla="*/ 8199 h 27383"/>
                <a:gd name="connsiteX43" fmla="*/ 28892 w 49864"/>
                <a:gd name="connsiteY43" fmla="*/ 7740 h 27383"/>
                <a:gd name="connsiteX44" fmla="*/ 38972 w 49864"/>
                <a:gd name="connsiteY44" fmla="*/ 4730 h 27383"/>
                <a:gd name="connsiteX45" fmla="*/ 41825 w 49864"/>
                <a:gd name="connsiteY45" fmla="*/ 2927 h 27383"/>
                <a:gd name="connsiteX46" fmla="*/ 43591 w 49864"/>
                <a:gd name="connsiteY46" fmla="*/ 2317 h 27383"/>
                <a:gd name="connsiteX47" fmla="*/ 46660 w 49864"/>
                <a:gd name="connsiteY47" fmla="*/ 825 h 27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9864" h="27383">
                  <a:moveTo>
                    <a:pt x="49864" y="0"/>
                  </a:moveTo>
                  <a:lnTo>
                    <a:pt x="47811" y="1725"/>
                  </a:lnTo>
                  <a:lnTo>
                    <a:pt x="36286" y="9300"/>
                  </a:lnTo>
                  <a:lnTo>
                    <a:pt x="35532" y="11549"/>
                  </a:lnTo>
                  <a:lnTo>
                    <a:pt x="36049" y="13104"/>
                  </a:lnTo>
                  <a:lnTo>
                    <a:pt x="37668" y="14987"/>
                  </a:lnTo>
                  <a:lnTo>
                    <a:pt x="38091" y="15480"/>
                  </a:lnTo>
                  <a:lnTo>
                    <a:pt x="38679" y="16912"/>
                  </a:lnTo>
                  <a:lnTo>
                    <a:pt x="36165" y="17336"/>
                  </a:lnTo>
                  <a:lnTo>
                    <a:pt x="33643" y="17475"/>
                  </a:lnTo>
                  <a:lnTo>
                    <a:pt x="32240" y="17291"/>
                  </a:lnTo>
                  <a:lnTo>
                    <a:pt x="30922" y="17376"/>
                  </a:lnTo>
                  <a:lnTo>
                    <a:pt x="26832" y="21465"/>
                  </a:lnTo>
                  <a:lnTo>
                    <a:pt x="24632" y="22855"/>
                  </a:lnTo>
                  <a:lnTo>
                    <a:pt x="22015" y="23683"/>
                  </a:lnTo>
                  <a:lnTo>
                    <a:pt x="19350" y="24175"/>
                  </a:lnTo>
                  <a:lnTo>
                    <a:pt x="18011" y="24237"/>
                  </a:lnTo>
                  <a:lnTo>
                    <a:pt x="16834" y="24756"/>
                  </a:lnTo>
                  <a:lnTo>
                    <a:pt x="16007" y="25702"/>
                  </a:lnTo>
                  <a:lnTo>
                    <a:pt x="15986" y="26624"/>
                  </a:lnTo>
                  <a:lnTo>
                    <a:pt x="15632" y="27383"/>
                  </a:lnTo>
                  <a:lnTo>
                    <a:pt x="14170" y="27226"/>
                  </a:lnTo>
                  <a:lnTo>
                    <a:pt x="13561" y="25737"/>
                  </a:lnTo>
                  <a:lnTo>
                    <a:pt x="12520" y="25097"/>
                  </a:lnTo>
                  <a:lnTo>
                    <a:pt x="9931" y="25430"/>
                  </a:lnTo>
                  <a:lnTo>
                    <a:pt x="8668" y="25391"/>
                  </a:lnTo>
                  <a:lnTo>
                    <a:pt x="4524" y="23970"/>
                  </a:lnTo>
                  <a:lnTo>
                    <a:pt x="3273" y="23390"/>
                  </a:lnTo>
                  <a:lnTo>
                    <a:pt x="2494" y="22176"/>
                  </a:lnTo>
                  <a:lnTo>
                    <a:pt x="358" y="17790"/>
                  </a:lnTo>
                  <a:lnTo>
                    <a:pt x="0" y="14543"/>
                  </a:lnTo>
                  <a:lnTo>
                    <a:pt x="1989" y="15374"/>
                  </a:lnTo>
                  <a:lnTo>
                    <a:pt x="3848" y="14367"/>
                  </a:lnTo>
                  <a:lnTo>
                    <a:pt x="5638" y="12718"/>
                  </a:lnTo>
                  <a:lnTo>
                    <a:pt x="7769" y="12044"/>
                  </a:lnTo>
                  <a:lnTo>
                    <a:pt x="9104" y="12335"/>
                  </a:lnTo>
                  <a:lnTo>
                    <a:pt x="10423" y="12623"/>
                  </a:lnTo>
                  <a:lnTo>
                    <a:pt x="12800" y="12096"/>
                  </a:lnTo>
                  <a:lnTo>
                    <a:pt x="13829" y="9650"/>
                  </a:lnTo>
                  <a:lnTo>
                    <a:pt x="14165" y="6829"/>
                  </a:lnTo>
                  <a:lnTo>
                    <a:pt x="18186" y="7639"/>
                  </a:lnTo>
                  <a:lnTo>
                    <a:pt x="22263" y="8058"/>
                  </a:lnTo>
                  <a:lnTo>
                    <a:pt x="25602" y="8199"/>
                  </a:lnTo>
                  <a:lnTo>
                    <a:pt x="28892" y="7740"/>
                  </a:lnTo>
                  <a:lnTo>
                    <a:pt x="38972" y="4730"/>
                  </a:lnTo>
                  <a:lnTo>
                    <a:pt x="41825" y="2927"/>
                  </a:lnTo>
                  <a:lnTo>
                    <a:pt x="43591" y="2317"/>
                  </a:lnTo>
                  <a:lnTo>
                    <a:pt x="46660" y="825"/>
                  </a:lnTo>
                  <a:close/>
                </a:path>
              </a:pathLst>
            </a:custGeom>
            <a:grpFill/>
            <a:ln w="3175"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8" name="ee4p_AT_1_92573">
              <a:extLst>
                <a:ext uri="{FF2B5EF4-FFF2-40B4-BE49-F238E27FC236}">
                  <a16:creationId xmlns:a16="http://schemas.microsoft.com/office/drawing/2014/main" id="{61A539AE-66AD-41E2-9384-029B35B49353}"/>
                </a:ext>
              </a:extLst>
            </p:cNvPr>
            <p:cNvSpPr>
              <a:spLocks noChangeAspect="1"/>
            </p:cNvSpPr>
            <p:nvPr>
              <p:custDataLst>
                <p:tags r:id="rId2"/>
              </p:custDataLst>
            </p:nvPr>
          </p:nvSpPr>
          <p:spPr>
            <a:xfrm>
              <a:off x="4606562" y="4645247"/>
              <a:ext cx="668246" cy="290051"/>
            </a:xfrm>
            <a:custGeom>
              <a:avLst/>
              <a:gdLst/>
              <a:ahLst/>
              <a:cxnLst/>
              <a:rect l="0" t="0" r="0" b="0"/>
              <a:pathLst>
                <a:path w="168569" h="73167">
                  <a:moveTo>
                    <a:pt x="164274" y="11453"/>
                  </a:moveTo>
                  <a:lnTo>
                    <a:pt x="164178" y="11744"/>
                  </a:lnTo>
                  <a:lnTo>
                    <a:pt x="164057" y="12813"/>
                  </a:lnTo>
                  <a:lnTo>
                    <a:pt x="163198" y="14159"/>
                  </a:lnTo>
                  <a:lnTo>
                    <a:pt x="162274" y="15920"/>
                  </a:lnTo>
                  <a:lnTo>
                    <a:pt x="162334" y="17465"/>
                  </a:lnTo>
                  <a:lnTo>
                    <a:pt x="164705" y="22810"/>
                  </a:lnTo>
                  <a:lnTo>
                    <a:pt x="166811" y="26055"/>
                  </a:lnTo>
                  <a:lnTo>
                    <a:pt x="167210" y="27289"/>
                  </a:lnTo>
                  <a:lnTo>
                    <a:pt x="168568" y="28237"/>
                  </a:lnTo>
                  <a:lnTo>
                    <a:pt x="167279" y="29431"/>
                  </a:lnTo>
                  <a:lnTo>
                    <a:pt x="167029" y="31200"/>
                  </a:lnTo>
                  <a:lnTo>
                    <a:pt x="166193" y="31987"/>
                  </a:lnTo>
                  <a:lnTo>
                    <a:pt x="165975" y="32997"/>
                  </a:lnTo>
                  <a:lnTo>
                    <a:pt x="166325" y="33914"/>
                  </a:lnTo>
                  <a:lnTo>
                    <a:pt x="166318" y="35062"/>
                  </a:lnTo>
                  <a:lnTo>
                    <a:pt x="166783" y="36643"/>
                  </a:lnTo>
                  <a:lnTo>
                    <a:pt x="164722" y="36987"/>
                  </a:lnTo>
                  <a:lnTo>
                    <a:pt x="162274" y="36933"/>
                  </a:lnTo>
                  <a:lnTo>
                    <a:pt x="161397" y="37025"/>
                  </a:lnTo>
                  <a:lnTo>
                    <a:pt x="160576" y="37456"/>
                  </a:lnTo>
                  <a:lnTo>
                    <a:pt x="159728" y="37242"/>
                  </a:lnTo>
                  <a:lnTo>
                    <a:pt x="157515" y="35758"/>
                  </a:lnTo>
                  <a:lnTo>
                    <a:pt x="156264" y="35434"/>
                  </a:lnTo>
                  <a:lnTo>
                    <a:pt x="155381" y="35524"/>
                  </a:lnTo>
                  <a:lnTo>
                    <a:pt x="154720" y="36168"/>
                  </a:lnTo>
                  <a:lnTo>
                    <a:pt x="153582" y="36994"/>
                  </a:lnTo>
                  <a:lnTo>
                    <a:pt x="152513" y="37574"/>
                  </a:lnTo>
                  <a:lnTo>
                    <a:pt x="152753" y="38084"/>
                  </a:lnTo>
                  <a:lnTo>
                    <a:pt x="157344" y="39417"/>
                  </a:lnTo>
                  <a:lnTo>
                    <a:pt x="158158" y="41463"/>
                  </a:lnTo>
                  <a:lnTo>
                    <a:pt x="157275" y="43130"/>
                  </a:lnTo>
                  <a:lnTo>
                    <a:pt x="156975" y="43945"/>
                  </a:lnTo>
                  <a:lnTo>
                    <a:pt x="155899" y="44587"/>
                  </a:lnTo>
                  <a:lnTo>
                    <a:pt x="154580" y="45151"/>
                  </a:lnTo>
                  <a:lnTo>
                    <a:pt x="152991" y="45292"/>
                  </a:lnTo>
                  <a:lnTo>
                    <a:pt x="152803" y="46191"/>
                  </a:lnTo>
                  <a:lnTo>
                    <a:pt x="153427" y="48832"/>
                  </a:lnTo>
                  <a:lnTo>
                    <a:pt x="152922" y="49403"/>
                  </a:lnTo>
                  <a:lnTo>
                    <a:pt x="152416" y="50223"/>
                  </a:lnTo>
                  <a:lnTo>
                    <a:pt x="152891" y="52391"/>
                  </a:lnTo>
                  <a:lnTo>
                    <a:pt x="153874" y="52545"/>
                  </a:lnTo>
                  <a:lnTo>
                    <a:pt x="154092" y="53041"/>
                  </a:lnTo>
                  <a:lnTo>
                    <a:pt x="153917" y="53918"/>
                  </a:lnTo>
                  <a:lnTo>
                    <a:pt x="153744" y="54851"/>
                  </a:lnTo>
                  <a:lnTo>
                    <a:pt x="153397" y="55839"/>
                  </a:lnTo>
                  <a:lnTo>
                    <a:pt x="153224" y="56277"/>
                  </a:lnTo>
                  <a:lnTo>
                    <a:pt x="152572" y="56551"/>
                  </a:lnTo>
                  <a:lnTo>
                    <a:pt x="150535" y="56405"/>
                  </a:lnTo>
                  <a:lnTo>
                    <a:pt x="148782" y="57250"/>
                  </a:lnTo>
                  <a:lnTo>
                    <a:pt x="145256" y="60279"/>
                  </a:lnTo>
                  <a:lnTo>
                    <a:pt x="144021" y="60793"/>
                  </a:lnTo>
                  <a:lnTo>
                    <a:pt x="142686" y="62004"/>
                  </a:lnTo>
                  <a:lnTo>
                    <a:pt x="142766" y="64663"/>
                  </a:lnTo>
                  <a:lnTo>
                    <a:pt x="142585" y="64903"/>
                  </a:lnTo>
                  <a:lnTo>
                    <a:pt x="142261" y="65448"/>
                  </a:lnTo>
                  <a:lnTo>
                    <a:pt x="138043" y="64512"/>
                  </a:lnTo>
                  <a:lnTo>
                    <a:pt x="137896" y="64527"/>
                  </a:lnTo>
                  <a:lnTo>
                    <a:pt x="135074" y="64869"/>
                  </a:lnTo>
                  <a:lnTo>
                    <a:pt x="133144" y="66087"/>
                  </a:lnTo>
                  <a:lnTo>
                    <a:pt x="130798" y="66782"/>
                  </a:lnTo>
                  <a:lnTo>
                    <a:pt x="125884" y="66412"/>
                  </a:lnTo>
                  <a:lnTo>
                    <a:pt x="121101" y="66884"/>
                  </a:lnTo>
                  <a:lnTo>
                    <a:pt x="119967" y="67238"/>
                  </a:lnTo>
                  <a:lnTo>
                    <a:pt x="118726" y="67442"/>
                  </a:lnTo>
                  <a:lnTo>
                    <a:pt x="117562" y="68149"/>
                  </a:lnTo>
                  <a:lnTo>
                    <a:pt x="116897" y="69146"/>
                  </a:lnTo>
                  <a:lnTo>
                    <a:pt x="115707" y="70408"/>
                  </a:lnTo>
                  <a:lnTo>
                    <a:pt x="114014" y="71399"/>
                  </a:lnTo>
                  <a:lnTo>
                    <a:pt x="112174" y="72157"/>
                  </a:lnTo>
                  <a:lnTo>
                    <a:pt x="111736" y="72799"/>
                  </a:lnTo>
                  <a:lnTo>
                    <a:pt x="111131" y="73166"/>
                  </a:lnTo>
                  <a:lnTo>
                    <a:pt x="110107" y="72686"/>
                  </a:lnTo>
                  <a:lnTo>
                    <a:pt x="109276" y="72711"/>
                  </a:lnTo>
                  <a:lnTo>
                    <a:pt x="108259" y="72384"/>
                  </a:lnTo>
                  <a:lnTo>
                    <a:pt x="104884" y="72029"/>
                  </a:lnTo>
                  <a:lnTo>
                    <a:pt x="101174" y="71441"/>
                  </a:lnTo>
                  <a:lnTo>
                    <a:pt x="99408" y="70878"/>
                  </a:lnTo>
                  <a:lnTo>
                    <a:pt x="97399" y="70434"/>
                  </a:lnTo>
                  <a:lnTo>
                    <a:pt x="95244" y="70072"/>
                  </a:lnTo>
                  <a:lnTo>
                    <a:pt x="93312" y="69987"/>
                  </a:lnTo>
                  <a:lnTo>
                    <a:pt x="92340" y="69821"/>
                  </a:lnTo>
                  <a:lnTo>
                    <a:pt x="87697" y="68841"/>
                  </a:lnTo>
                  <a:lnTo>
                    <a:pt x="84635" y="68775"/>
                  </a:lnTo>
                  <a:lnTo>
                    <a:pt x="80593" y="68366"/>
                  </a:lnTo>
                  <a:lnTo>
                    <a:pt x="72562" y="66887"/>
                  </a:lnTo>
                  <a:lnTo>
                    <a:pt x="70223" y="66287"/>
                  </a:lnTo>
                  <a:lnTo>
                    <a:pt x="67986" y="66102"/>
                  </a:lnTo>
                  <a:lnTo>
                    <a:pt x="65345" y="65590"/>
                  </a:lnTo>
                  <a:lnTo>
                    <a:pt x="63335" y="64752"/>
                  </a:lnTo>
                  <a:lnTo>
                    <a:pt x="62048" y="63161"/>
                  </a:lnTo>
                  <a:lnTo>
                    <a:pt x="60675" y="61043"/>
                  </a:lnTo>
                  <a:lnTo>
                    <a:pt x="58157" y="58273"/>
                  </a:lnTo>
                  <a:lnTo>
                    <a:pt x="57641" y="56892"/>
                  </a:lnTo>
                  <a:lnTo>
                    <a:pt x="58409" y="55680"/>
                  </a:lnTo>
                  <a:lnTo>
                    <a:pt x="59200" y="54766"/>
                  </a:lnTo>
                  <a:lnTo>
                    <a:pt x="59109" y="54372"/>
                  </a:lnTo>
                  <a:lnTo>
                    <a:pt x="58496" y="54173"/>
                  </a:lnTo>
                  <a:lnTo>
                    <a:pt x="54076" y="55358"/>
                  </a:lnTo>
                  <a:lnTo>
                    <a:pt x="49789" y="56855"/>
                  </a:lnTo>
                  <a:lnTo>
                    <a:pt x="48103" y="56894"/>
                  </a:lnTo>
                  <a:lnTo>
                    <a:pt x="46468" y="56562"/>
                  </a:lnTo>
                  <a:lnTo>
                    <a:pt x="44302" y="56539"/>
                  </a:lnTo>
                  <a:lnTo>
                    <a:pt x="42216" y="56939"/>
                  </a:lnTo>
                  <a:lnTo>
                    <a:pt x="38042" y="57145"/>
                  </a:lnTo>
                  <a:lnTo>
                    <a:pt x="35598" y="58247"/>
                  </a:lnTo>
                  <a:lnTo>
                    <a:pt x="34041" y="60395"/>
                  </a:lnTo>
                  <a:lnTo>
                    <a:pt x="33192" y="62127"/>
                  </a:lnTo>
                  <a:lnTo>
                    <a:pt x="32488" y="62683"/>
                  </a:lnTo>
                  <a:lnTo>
                    <a:pt x="31031" y="62892"/>
                  </a:lnTo>
                  <a:lnTo>
                    <a:pt x="28854" y="62732"/>
                  </a:lnTo>
                  <a:lnTo>
                    <a:pt x="27325" y="62229"/>
                  </a:lnTo>
                  <a:lnTo>
                    <a:pt x="25766" y="60750"/>
                  </a:lnTo>
                  <a:lnTo>
                    <a:pt x="23345" y="60546"/>
                  </a:lnTo>
                  <a:lnTo>
                    <a:pt x="21126" y="60507"/>
                  </a:lnTo>
                  <a:lnTo>
                    <a:pt x="20538" y="60233"/>
                  </a:lnTo>
                  <a:lnTo>
                    <a:pt x="20577" y="59272"/>
                  </a:lnTo>
                  <a:lnTo>
                    <a:pt x="19700" y="57459"/>
                  </a:lnTo>
                  <a:lnTo>
                    <a:pt x="18251" y="56892"/>
                  </a:lnTo>
                  <a:lnTo>
                    <a:pt x="14501" y="60305"/>
                  </a:lnTo>
                  <a:lnTo>
                    <a:pt x="13477" y="60607"/>
                  </a:lnTo>
                  <a:lnTo>
                    <a:pt x="10456" y="59664"/>
                  </a:lnTo>
                  <a:lnTo>
                    <a:pt x="7821" y="58205"/>
                  </a:lnTo>
                  <a:lnTo>
                    <a:pt x="7532" y="57137"/>
                  </a:lnTo>
                  <a:lnTo>
                    <a:pt x="7104" y="56261"/>
                  </a:lnTo>
                  <a:lnTo>
                    <a:pt x="4887" y="55431"/>
                  </a:lnTo>
                  <a:lnTo>
                    <a:pt x="2121" y="54862"/>
                  </a:lnTo>
                  <a:lnTo>
                    <a:pt x="1244" y="54865"/>
                  </a:lnTo>
                  <a:lnTo>
                    <a:pt x="1585" y="54349"/>
                  </a:lnTo>
                  <a:lnTo>
                    <a:pt x="1913" y="53475"/>
                  </a:lnTo>
                  <a:lnTo>
                    <a:pt x="1706" y="52778"/>
                  </a:lnTo>
                  <a:lnTo>
                    <a:pt x="1058" y="52056"/>
                  </a:lnTo>
                  <a:lnTo>
                    <a:pt x="702" y="51284"/>
                  </a:lnTo>
                  <a:lnTo>
                    <a:pt x="598" y="50535"/>
                  </a:lnTo>
                  <a:lnTo>
                    <a:pt x="402" y="49924"/>
                  </a:lnTo>
                  <a:lnTo>
                    <a:pt x="283" y="49350"/>
                  </a:lnTo>
                  <a:lnTo>
                    <a:pt x="78" y="48899"/>
                  </a:lnTo>
                  <a:lnTo>
                    <a:pt x="1881" y="45509"/>
                  </a:lnTo>
                  <a:lnTo>
                    <a:pt x="2252" y="43399"/>
                  </a:lnTo>
                  <a:lnTo>
                    <a:pt x="672" y="42162"/>
                  </a:lnTo>
                  <a:lnTo>
                    <a:pt x="0" y="41794"/>
                  </a:lnTo>
                  <a:lnTo>
                    <a:pt x="551" y="41519"/>
                  </a:lnTo>
                  <a:lnTo>
                    <a:pt x="2799" y="41748"/>
                  </a:lnTo>
                  <a:lnTo>
                    <a:pt x="4226" y="41048"/>
                  </a:lnTo>
                  <a:lnTo>
                    <a:pt x="4973" y="40354"/>
                  </a:lnTo>
                  <a:lnTo>
                    <a:pt x="6968" y="41006"/>
                  </a:lnTo>
                  <a:lnTo>
                    <a:pt x="9897" y="42325"/>
                  </a:lnTo>
                  <a:lnTo>
                    <a:pt x="11279" y="43215"/>
                  </a:lnTo>
                  <a:lnTo>
                    <a:pt x="11849" y="43903"/>
                  </a:lnTo>
                  <a:lnTo>
                    <a:pt x="12166" y="44479"/>
                  </a:lnTo>
                  <a:lnTo>
                    <a:pt x="11991" y="45465"/>
                  </a:lnTo>
                  <a:lnTo>
                    <a:pt x="12658" y="45851"/>
                  </a:lnTo>
                  <a:lnTo>
                    <a:pt x="14036" y="46000"/>
                  </a:lnTo>
                  <a:lnTo>
                    <a:pt x="14954" y="46304"/>
                  </a:lnTo>
                  <a:lnTo>
                    <a:pt x="14632" y="47599"/>
                  </a:lnTo>
                  <a:lnTo>
                    <a:pt x="14572" y="48673"/>
                  </a:lnTo>
                  <a:lnTo>
                    <a:pt x="15846" y="48524"/>
                  </a:lnTo>
                  <a:lnTo>
                    <a:pt x="17441" y="47704"/>
                  </a:lnTo>
                  <a:lnTo>
                    <a:pt x="18687" y="46230"/>
                  </a:lnTo>
                  <a:lnTo>
                    <a:pt x="19456" y="44802"/>
                  </a:lnTo>
                  <a:lnTo>
                    <a:pt x="20042" y="41321"/>
                  </a:lnTo>
                  <a:lnTo>
                    <a:pt x="20242" y="41027"/>
                  </a:lnTo>
                  <a:lnTo>
                    <a:pt x="21201" y="41301"/>
                  </a:lnTo>
                  <a:lnTo>
                    <a:pt x="25090" y="41149"/>
                  </a:lnTo>
                  <a:lnTo>
                    <a:pt x="26923" y="41797"/>
                  </a:lnTo>
                  <a:lnTo>
                    <a:pt x="29830" y="41907"/>
                  </a:lnTo>
                  <a:lnTo>
                    <a:pt x="29776" y="42452"/>
                  </a:lnTo>
                  <a:lnTo>
                    <a:pt x="30292" y="43303"/>
                  </a:lnTo>
                  <a:lnTo>
                    <a:pt x="31579" y="44530"/>
                  </a:lnTo>
                  <a:lnTo>
                    <a:pt x="32214" y="45331"/>
                  </a:lnTo>
                  <a:lnTo>
                    <a:pt x="33566" y="45471"/>
                  </a:lnTo>
                  <a:lnTo>
                    <a:pt x="35645" y="45030"/>
                  </a:lnTo>
                  <a:lnTo>
                    <a:pt x="36865" y="44572"/>
                  </a:lnTo>
                  <a:lnTo>
                    <a:pt x="37323" y="44897"/>
                  </a:lnTo>
                  <a:lnTo>
                    <a:pt x="39225" y="44580"/>
                  </a:lnTo>
                  <a:lnTo>
                    <a:pt x="40910" y="43589"/>
                  </a:lnTo>
                  <a:lnTo>
                    <a:pt x="41326" y="42834"/>
                  </a:lnTo>
                  <a:lnTo>
                    <a:pt x="43028" y="42303"/>
                  </a:lnTo>
                  <a:lnTo>
                    <a:pt x="45328" y="41078"/>
                  </a:lnTo>
                  <a:lnTo>
                    <a:pt x="48487" y="40130"/>
                  </a:lnTo>
                  <a:lnTo>
                    <a:pt x="58854" y="39118"/>
                  </a:lnTo>
                  <a:lnTo>
                    <a:pt x="59256" y="38353"/>
                  </a:lnTo>
                  <a:lnTo>
                    <a:pt x="59102" y="36600"/>
                  </a:lnTo>
                  <a:lnTo>
                    <a:pt x="59377" y="36342"/>
                  </a:lnTo>
                  <a:lnTo>
                    <a:pt x="60683" y="36779"/>
                  </a:lnTo>
                  <a:lnTo>
                    <a:pt x="62780" y="37188"/>
                  </a:lnTo>
                  <a:lnTo>
                    <a:pt x="64385" y="37808"/>
                  </a:lnTo>
                  <a:lnTo>
                    <a:pt x="65428" y="38618"/>
                  </a:lnTo>
                  <a:lnTo>
                    <a:pt x="66393" y="38651"/>
                  </a:lnTo>
                  <a:lnTo>
                    <a:pt x="67889" y="38084"/>
                  </a:lnTo>
                  <a:lnTo>
                    <a:pt x="69915" y="37718"/>
                  </a:lnTo>
                  <a:lnTo>
                    <a:pt x="71806" y="38559"/>
                  </a:lnTo>
                  <a:lnTo>
                    <a:pt x="72355" y="39469"/>
                  </a:lnTo>
                  <a:lnTo>
                    <a:pt x="72022" y="39935"/>
                  </a:lnTo>
                  <a:lnTo>
                    <a:pt x="72059" y="40673"/>
                  </a:lnTo>
                  <a:lnTo>
                    <a:pt x="72646" y="41290"/>
                  </a:lnTo>
                  <a:lnTo>
                    <a:pt x="74184" y="42293"/>
                  </a:lnTo>
                  <a:lnTo>
                    <a:pt x="76155" y="43156"/>
                  </a:lnTo>
                  <a:lnTo>
                    <a:pt x="77179" y="43089"/>
                  </a:lnTo>
                  <a:lnTo>
                    <a:pt x="77559" y="42249"/>
                  </a:lnTo>
                  <a:lnTo>
                    <a:pt x="77922" y="40252"/>
                  </a:lnTo>
                  <a:lnTo>
                    <a:pt x="78058" y="38117"/>
                  </a:lnTo>
                  <a:lnTo>
                    <a:pt x="77604" y="36891"/>
                  </a:lnTo>
                  <a:lnTo>
                    <a:pt x="76542" y="36591"/>
                  </a:lnTo>
                  <a:lnTo>
                    <a:pt x="75272" y="36494"/>
                  </a:lnTo>
                  <a:lnTo>
                    <a:pt x="74598" y="36241"/>
                  </a:lnTo>
                  <a:lnTo>
                    <a:pt x="74834" y="35567"/>
                  </a:lnTo>
                  <a:lnTo>
                    <a:pt x="75849" y="33823"/>
                  </a:lnTo>
                  <a:lnTo>
                    <a:pt x="75834" y="31489"/>
                  </a:lnTo>
                  <a:lnTo>
                    <a:pt x="73542" y="28834"/>
                  </a:lnTo>
                  <a:lnTo>
                    <a:pt x="71556" y="26261"/>
                  </a:lnTo>
                  <a:lnTo>
                    <a:pt x="71562" y="25385"/>
                  </a:lnTo>
                  <a:lnTo>
                    <a:pt x="72754" y="23863"/>
                  </a:lnTo>
                  <a:lnTo>
                    <a:pt x="74594" y="22651"/>
                  </a:lnTo>
                  <a:lnTo>
                    <a:pt x="78678" y="20632"/>
                  </a:lnTo>
                  <a:lnTo>
                    <a:pt x="79967" y="20211"/>
                  </a:lnTo>
                  <a:lnTo>
                    <a:pt x="81621" y="19873"/>
                  </a:lnTo>
                  <a:lnTo>
                    <a:pt x="84000" y="19042"/>
                  </a:lnTo>
                  <a:lnTo>
                    <a:pt x="85145" y="18188"/>
                  </a:lnTo>
                  <a:lnTo>
                    <a:pt x="85914" y="17260"/>
                  </a:lnTo>
                  <a:lnTo>
                    <a:pt x="87030" y="12426"/>
                  </a:lnTo>
                  <a:lnTo>
                    <a:pt x="87291" y="12220"/>
                  </a:lnTo>
                  <a:lnTo>
                    <a:pt x="87622" y="11935"/>
                  </a:lnTo>
                  <a:lnTo>
                    <a:pt x="91792" y="13604"/>
                  </a:lnTo>
                  <a:lnTo>
                    <a:pt x="92167" y="13328"/>
                  </a:lnTo>
                  <a:lnTo>
                    <a:pt x="92869" y="13056"/>
                  </a:lnTo>
                  <a:lnTo>
                    <a:pt x="94227" y="11776"/>
                  </a:lnTo>
                  <a:lnTo>
                    <a:pt x="94525" y="10803"/>
                  </a:lnTo>
                  <a:lnTo>
                    <a:pt x="94495" y="8963"/>
                  </a:lnTo>
                  <a:lnTo>
                    <a:pt x="94616" y="7226"/>
                  </a:lnTo>
                  <a:lnTo>
                    <a:pt x="94877" y="6673"/>
                  </a:lnTo>
                  <a:lnTo>
                    <a:pt x="95506" y="6874"/>
                  </a:lnTo>
                  <a:lnTo>
                    <a:pt x="97300" y="7780"/>
                  </a:lnTo>
                  <a:lnTo>
                    <a:pt x="98725" y="8792"/>
                  </a:lnTo>
                  <a:lnTo>
                    <a:pt x="100060" y="11349"/>
                  </a:lnTo>
                  <a:lnTo>
                    <a:pt x="103171" y="12028"/>
                  </a:lnTo>
                  <a:lnTo>
                    <a:pt x="107101" y="12095"/>
                  </a:lnTo>
                  <a:lnTo>
                    <a:pt x="108505" y="10957"/>
                  </a:lnTo>
                  <a:lnTo>
                    <a:pt x="109779" y="10694"/>
                  </a:lnTo>
                  <a:lnTo>
                    <a:pt x="111222" y="11041"/>
                  </a:lnTo>
                  <a:lnTo>
                    <a:pt x="114260" y="11441"/>
                  </a:lnTo>
                  <a:lnTo>
                    <a:pt x="114599" y="9376"/>
                  </a:lnTo>
                  <a:lnTo>
                    <a:pt x="116352" y="7230"/>
                  </a:lnTo>
                  <a:lnTo>
                    <a:pt x="117147" y="6472"/>
                  </a:lnTo>
                  <a:lnTo>
                    <a:pt x="119373" y="6546"/>
                  </a:lnTo>
                  <a:lnTo>
                    <a:pt x="119922" y="4942"/>
                  </a:lnTo>
                  <a:lnTo>
                    <a:pt x="120470" y="490"/>
                  </a:lnTo>
                  <a:lnTo>
                    <a:pt x="120941" y="0"/>
                  </a:lnTo>
                  <a:lnTo>
                    <a:pt x="122563" y="93"/>
                  </a:lnTo>
                  <a:lnTo>
                    <a:pt x="124176" y="906"/>
                  </a:lnTo>
                  <a:lnTo>
                    <a:pt x="124662" y="1564"/>
                  </a:lnTo>
                  <a:lnTo>
                    <a:pt x="125500" y="1511"/>
                  </a:lnTo>
                  <a:lnTo>
                    <a:pt x="126674" y="1063"/>
                  </a:lnTo>
                  <a:lnTo>
                    <a:pt x="127961" y="773"/>
                  </a:lnTo>
                  <a:lnTo>
                    <a:pt x="129995" y="1248"/>
                  </a:lnTo>
                  <a:lnTo>
                    <a:pt x="134340" y="3272"/>
                  </a:lnTo>
                  <a:lnTo>
                    <a:pt x="136581" y="4010"/>
                  </a:lnTo>
                  <a:lnTo>
                    <a:pt x="138002" y="3869"/>
                  </a:lnTo>
                  <a:lnTo>
                    <a:pt x="139332" y="3896"/>
                  </a:lnTo>
                  <a:lnTo>
                    <a:pt x="144463" y="7019"/>
                  </a:lnTo>
                  <a:lnTo>
                    <a:pt x="148048" y="7456"/>
                  </a:lnTo>
                  <a:lnTo>
                    <a:pt x="151319" y="7469"/>
                  </a:lnTo>
                  <a:lnTo>
                    <a:pt x="152371" y="6527"/>
                  </a:lnTo>
                  <a:lnTo>
                    <a:pt x="153766" y="5729"/>
                  </a:lnTo>
                  <a:lnTo>
                    <a:pt x="155217" y="5839"/>
                  </a:lnTo>
                  <a:lnTo>
                    <a:pt x="156486" y="6248"/>
                  </a:lnTo>
                  <a:lnTo>
                    <a:pt x="158957" y="7604"/>
                  </a:lnTo>
                  <a:lnTo>
                    <a:pt x="160101" y="7951"/>
                  </a:lnTo>
                  <a:lnTo>
                    <a:pt x="161622" y="8170"/>
                  </a:lnTo>
                  <a:lnTo>
                    <a:pt x="162738" y="8472"/>
                  </a:lnTo>
                  <a:lnTo>
                    <a:pt x="163725" y="10826"/>
                  </a:lnTo>
                  <a:close/>
                </a:path>
              </a:pathLst>
            </a:custGeom>
            <a:grpFill/>
            <a:ln w="3175"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9" name="ee4p_BE_1_92573">
              <a:extLst>
                <a:ext uri="{FF2B5EF4-FFF2-40B4-BE49-F238E27FC236}">
                  <a16:creationId xmlns:a16="http://schemas.microsoft.com/office/drawing/2014/main" id="{614CD327-437A-4649-80A7-5863CE0D765F}"/>
                </a:ext>
              </a:extLst>
            </p:cNvPr>
            <p:cNvSpPr>
              <a:spLocks noChangeAspect="1"/>
            </p:cNvSpPr>
            <p:nvPr>
              <p:custDataLst>
                <p:tags r:id="rId3"/>
              </p:custDataLst>
            </p:nvPr>
          </p:nvSpPr>
          <p:spPr>
            <a:xfrm>
              <a:off x="3993038" y="4359458"/>
              <a:ext cx="336571" cy="227963"/>
            </a:xfrm>
            <a:custGeom>
              <a:avLst/>
              <a:gdLst/>
              <a:ahLst/>
              <a:cxnLst/>
              <a:rect l="0" t="0" r="0" b="0"/>
              <a:pathLst>
                <a:path w="84902" h="57505">
                  <a:moveTo>
                    <a:pt x="50661" y="1713"/>
                  </a:moveTo>
                  <a:lnTo>
                    <a:pt x="50765" y="2322"/>
                  </a:lnTo>
                  <a:lnTo>
                    <a:pt x="51370" y="2580"/>
                  </a:lnTo>
                  <a:lnTo>
                    <a:pt x="53490" y="2448"/>
                  </a:lnTo>
                  <a:lnTo>
                    <a:pt x="54566" y="1344"/>
                  </a:lnTo>
                  <a:lnTo>
                    <a:pt x="55414" y="647"/>
                  </a:lnTo>
                  <a:lnTo>
                    <a:pt x="56045" y="1116"/>
                  </a:lnTo>
                  <a:lnTo>
                    <a:pt x="56353" y="2475"/>
                  </a:lnTo>
                  <a:lnTo>
                    <a:pt x="56939" y="4246"/>
                  </a:lnTo>
                  <a:lnTo>
                    <a:pt x="59465" y="6226"/>
                  </a:lnTo>
                  <a:lnTo>
                    <a:pt x="61603" y="6790"/>
                  </a:lnTo>
                  <a:lnTo>
                    <a:pt x="64233" y="6401"/>
                  </a:lnTo>
                  <a:lnTo>
                    <a:pt x="65274" y="6048"/>
                  </a:lnTo>
                  <a:lnTo>
                    <a:pt x="65980" y="6342"/>
                  </a:lnTo>
                  <a:lnTo>
                    <a:pt x="66680" y="7388"/>
                  </a:lnTo>
                  <a:lnTo>
                    <a:pt x="68191" y="8585"/>
                  </a:lnTo>
                  <a:lnTo>
                    <a:pt x="71365" y="9433"/>
                  </a:lnTo>
                  <a:lnTo>
                    <a:pt x="72342" y="9913"/>
                  </a:lnTo>
                  <a:lnTo>
                    <a:pt x="73019" y="10716"/>
                  </a:lnTo>
                  <a:lnTo>
                    <a:pt x="72823" y="11863"/>
                  </a:lnTo>
                  <a:lnTo>
                    <a:pt x="71309" y="14717"/>
                  </a:lnTo>
                  <a:lnTo>
                    <a:pt x="71111" y="15559"/>
                  </a:lnTo>
                  <a:lnTo>
                    <a:pt x="71314" y="15842"/>
                  </a:lnTo>
                  <a:lnTo>
                    <a:pt x="71018" y="16370"/>
                  </a:lnTo>
                  <a:lnTo>
                    <a:pt x="69048" y="18281"/>
                  </a:lnTo>
                  <a:lnTo>
                    <a:pt x="68869" y="18953"/>
                  </a:lnTo>
                  <a:lnTo>
                    <a:pt x="69525" y="20050"/>
                  </a:lnTo>
                  <a:lnTo>
                    <a:pt x="70065" y="20959"/>
                  </a:lnTo>
                  <a:lnTo>
                    <a:pt x="70087" y="20776"/>
                  </a:lnTo>
                  <a:lnTo>
                    <a:pt x="73104" y="19957"/>
                  </a:lnTo>
                  <a:lnTo>
                    <a:pt x="74464" y="21606"/>
                  </a:lnTo>
                  <a:lnTo>
                    <a:pt x="76708" y="21667"/>
                  </a:lnTo>
                  <a:lnTo>
                    <a:pt x="76973" y="22198"/>
                  </a:lnTo>
                  <a:lnTo>
                    <a:pt x="79483" y="23740"/>
                  </a:lnTo>
                  <a:lnTo>
                    <a:pt x="80258" y="24961"/>
                  </a:lnTo>
                  <a:lnTo>
                    <a:pt x="82059" y="26141"/>
                  </a:lnTo>
                  <a:lnTo>
                    <a:pt x="80567" y="27633"/>
                  </a:lnTo>
                  <a:lnTo>
                    <a:pt x="80793" y="28296"/>
                  </a:lnTo>
                  <a:lnTo>
                    <a:pt x="81331" y="28975"/>
                  </a:lnTo>
                  <a:lnTo>
                    <a:pt x="83363" y="29371"/>
                  </a:lnTo>
                  <a:lnTo>
                    <a:pt x="84380" y="30350"/>
                  </a:lnTo>
                  <a:lnTo>
                    <a:pt x="84440" y="31845"/>
                  </a:lnTo>
                  <a:lnTo>
                    <a:pt x="84901" y="34282"/>
                  </a:lnTo>
                  <a:lnTo>
                    <a:pt x="80714" y="36700"/>
                  </a:lnTo>
                  <a:lnTo>
                    <a:pt x="79524" y="39399"/>
                  </a:lnTo>
                  <a:lnTo>
                    <a:pt x="79418" y="39930"/>
                  </a:lnTo>
                  <a:lnTo>
                    <a:pt x="79275" y="39850"/>
                  </a:lnTo>
                  <a:lnTo>
                    <a:pt x="78811" y="38959"/>
                  </a:lnTo>
                  <a:lnTo>
                    <a:pt x="78053" y="38967"/>
                  </a:lnTo>
                  <a:lnTo>
                    <a:pt x="76317" y="38595"/>
                  </a:lnTo>
                  <a:lnTo>
                    <a:pt x="73898" y="41034"/>
                  </a:lnTo>
                  <a:lnTo>
                    <a:pt x="72804" y="43059"/>
                  </a:lnTo>
                  <a:lnTo>
                    <a:pt x="72156" y="44544"/>
                  </a:lnTo>
                  <a:lnTo>
                    <a:pt x="71182" y="45744"/>
                  </a:lnTo>
                  <a:lnTo>
                    <a:pt x="70987" y="47012"/>
                  </a:lnTo>
                  <a:lnTo>
                    <a:pt x="71111" y="47544"/>
                  </a:lnTo>
                  <a:lnTo>
                    <a:pt x="70778" y="48231"/>
                  </a:lnTo>
                  <a:lnTo>
                    <a:pt x="70761" y="48953"/>
                  </a:lnTo>
                  <a:lnTo>
                    <a:pt x="72154" y="50375"/>
                  </a:lnTo>
                  <a:lnTo>
                    <a:pt x="72501" y="51144"/>
                  </a:lnTo>
                  <a:lnTo>
                    <a:pt x="74197" y="53658"/>
                  </a:lnTo>
                  <a:lnTo>
                    <a:pt x="73669" y="54575"/>
                  </a:lnTo>
                  <a:lnTo>
                    <a:pt x="73250" y="55567"/>
                  </a:lnTo>
                  <a:lnTo>
                    <a:pt x="72761" y="56271"/>
                  </a:lnTo>
                  <a:lnTo>
                    <a:pt x="72192" y="56717"/>
                  </a:lnTo>
                  <a:lnTo>
                    <a:pt x="70439" y="56690"/>
                  </a:lnTo>
                  <a:lnTo>
                    <a:pt x="68219" y="57006"/>
                  </a:lnTo>
                  <a:lnTo>
                    <a:pt x="66723" y="57499"/>
                  </a:lnTo>
                  <a:lnTo>
                    <a:pt x="65947" y="57504"/>
                  </a:lnTo>
                  <a:lnTo>
                    <a:pt x="64341" y="56252"/>
                  </a:lnTo>
                  <a:lnTo>
                    <a:pt x="62546" y="54375"/>
                  </a:lnTo>
                  <a:lnTo>
                    <a:pt x="61406" y="53479"/>
                  </a:lnTo>
                  <a:lnTo>
                    <a:pt x="60895" y="52705"/>
                  </a:lnTo>
                  <a:lnTo>
                    <a:pt x="59485" y="52379"/>
                  </a:lnTo>
                  <a:lnTo>
                    <a:pt x="57474" y="51452"/>
                  </a:lnTo>
                  <a:lnTo>
                    <a:pt x="56079" y="50443"/>
                  </a:lnTo>
                  <a:lnTo>
                    <a:pt x="54883" y="49815"/>
                  </a:lnTo>
                  <a:lnTo>
                    <a:pt x="53194" y="49501"/>
                  </a:lnTo>
                  <a:lnTo>
                    <a:pt x="51801" y="49533"/>
                  </a:lnTo>
                  <a:lnTo>
                    <a:pt x="51393" y="47834"/>
                  </a:lnTo>
                  <a:lnTo>
                    <a:pt x="51225" y="45892"/>
                  </a:lnTo>
                  <a:lnTo>
                    <a:pt x="50087" y="44592"/>
                  </a:lnTo>
                  <a:lnTo>
                    <a:pt x="51646" y="39500"/>
                  </a:lnTo>
                  <a:lnTo>
                    <a:pt x="50720" y="39000"/>
                  </a:lnTo>
                  <a:lnTo>
                    <a:pt x="49707" y="39408"/>
                  </a:lnTo>
                  <a:lnTo>
                    <a:pt x="48243" y="40622"/>
                  </a:lnTo>
                  <a:lnTo>
                    <a:pt x="47545" y="42072"/>
                  </a:lnTo>
                  <a:lnTo>
                    <a:pt x="47126" y="43355"/>
                  </a:lnTo>
                  <a:lnTo>
                    <a:pt x="44669" y="44572"/>
                  </a:lnTo>
                  <a:lnTo>
                    <a:pt x="40771" y="45013"/>
                  </a:lnTo>
                  <a:lnTo>
                    <a:pt x="36511" y="44572"/>
                  </a:lnTo>
                  <a:lnTo>
                    <a:pt x="35919" y="44245"/>
                  </a:lnTo>
                  <a:lnTo>
                    <a:pt x="35647" y="43873"/>
                  </a:lnTo>
                  <a:lnTo>
                    <a:pt x="35643" y="43425"/>
                  </a:lnTo>
                  <a:lnTo>
                    <a:pt x="35941" y="42736"/>
                  </a:lnTo>
                  <a:lnTo>
                    <a:pt x="36684" y="41900"/>
                  </a:lnTo>
                  <a:lnTo>
                    <a:pt x="36867" y="40706"/>
                  </a:lnTo>
                  <a:lnTo>
                    <a:pt x="36105" y="39673"/>
                  </a:lnTo>
                  <a:lnTo>
                    <a:pt x="35608" y="39271"/>
                  </a:lnTo>
                  <a:lnTo>
                    <a:pt x="35805" y="38270"/>
                  </a:lnTo>
                  <a:lnTo>
                    <a:pt x="36368" y="37015"/>
                  </a:lnTo>
                  <a:lnTo>
                    <a:pt x="36478" y="36300"/>
                  </a:lnTo>
                  <a:lnTo>
                    <a:pt x="33594" y="34132"/>
                  </a:lnTo>
                  <a:lnTo>
                    <a:pt x="31505" y="33709"/>
                  </a:lnTo>
                  <a:lnTo>
                    <a:pt x="29480" y="33633"/>
                  </a:lnTo>
                  <a:lnTo>
                    <a:pt x="27942" y="33389"/>
                  </a:lnTo>
                  <a:lnTo>
                    <a:pt x="27046" y="33490"/>
                  </a:lnTo>
                  <a:lnTo>
                    <a:pt x="26401" y="34122"/>
                  </a:lnTo>
                  <a:lnTo>
                    <a:pt x="25748" y="34575"/>
                  </a:lnTo>
                  <a:lnTo>
                    <a:pt x="25260" y="34032"/>
                  </a:lnTo>
                  <a:lnTo>
                    <a:pt x="24364" y="30189"/>
                  </a:lnTo>
                  <a:lnTo>
                    <a:pt x="23671" y="29608"/>
                  </a:lnTo>
                  <a:lnTo>
                    <a:pt x="21052" y="28966"/>
                  </a:lnTo>
                  <a:lnTo>
                    <a:pt x="17497" y="28736"/>
                  </a:lnTo>
                  <a:lnTo>
                    <a:pt x="16549" y="28034"/>
                  </a:lnTo>
                  <a:lnTo>
                    <a:pt x="16029" y="26302"/>
                  </a:lnTo>
                  <a:lnTo>
                    <a:pt x="15701" y="24214"/>
                  </a:lnTo>
                  <a:lnTo>
                    <a:pt x="14530" y="22213"/>
                  </a:lnTo>
                  <a:lnTo>
                    <a:pt x="13930" y="21712"/>
                  </a:lnTo>
                  <a:lnTo>
                    <a:pt x="12868" y="20823"/>
                  </a:lnTo>
                  <a:lnTo>
                    <a:pt x="11010" y="21188"/>
                  </a:lnTo>
                  <a:lnTo>
                    <a:pt x="8780" y="22348"/>
                  </a:lnTo>
                  <a:lnTo>
                    <a:pt x="7463" y="22670"/>
                  </a:lnTo>
                  <a:lnTo>
                    <a:pt x="6962" y="22793"/>
                  </a:lnTo>
                  <a:lnTo>
                    <a:pt x="5184" y="21662"/>
                  </a:lnTo>
                  <a:lnTo>
                    <a:pt x="3189" y="19891"/>
                  </a:lnTo>
                  <a:lnTo>
                    <a:pt x="1589" y="18010"/>
                  </a:lnTo>
                  <a:lnTo>
                    <a:pt x="1203" y="16965"/>
                  </a:lnTo>
                  <a:lnTo>
                    <a:pt x="1693" y="15695"/>
                  </a:lnTo>
                  <a:lnTo>
                    <a:pt x="1103" y="14722"/>
                  </a:lnTo>
                  <a:lnTo>
                    <a:pt x="246" y="12942"/>
                  </a:lnTo>
                  <a:lnTo>
                    <a:pt x="0" y="11550"/>
                  </a:lnTo>
                  <a:lnTo>
                    <a:pt x="9624" y="6623"/>
                  </a:lnTo>
                  <a:lnTo>
                    <a:pt x="15485" y="4096"/>
                  </a:lnTo>
                  <a:lnTo>
                    <a:pt x="18247" y="3331"/>
                  </a:lnTo>
                  <a:lnTo>
                    <a:pt x="18910" y="5870"/>
                  </a:lnTo>
                  <a:lnTo>
                    <a:pt x="19413" y="6676"/>
                  </a:lnTo>
                  <a:lnTo>
                    <a:pt x="20069" y="7199"/>
                  </a:lnTo>
                  <a:lnTo>
                    <a:pt x="20942" y="7302"/>
                  </a:lnTo>
                  <a:lnTo>
                    <a:pt x="21939" y="6676"/>
                  </a:lnTo>
                  <a:lnTo>
                    <a:pt x="23336" y="6015"/>
                  </a:lnTo>
                  <a:lnTo>
                    <a:pt x="25582" y="6322"/>
                  </a:lnTo>
                  <a:lnTo>
                    <a:pt x="27215" y="6933"/>
                  </a:lnTo>
                  <a:lnTo>
                    <a:pt x="27795" y="7567"/>
                  </a:lnTo>
                  <a:lnTo>
                    <a:pt x="28875" y="8171"/>
                  </a:lnTo>
                  <a:lnTo>
                    <a:pt x="30452" y="8315"/>
                  </a:lnTo>
                  <a:lnTo>
                    <a:pt x="33503" y="7161"/>
                  </a:lnTo>
                  <a:lnTo>
                    <a:pt x="36433" y="5402"/>
                  </a:lnTo>
                  <a:lnTo>
                    <a:pt x="37293" y="4180"/>
                  </a:lnTo>
                  <a:lnTo>
                    <a:pt x="37619" y="3073"/>
                  </a:lnTo>
                  <a:lnTo>
                    <a:pt x="39351" y="3805"/>
                  </a:lnTo>
                  <a:lnTo>
                    <a:pt x="40881" y="3967"/>
                  </a:lnTo>
                  <a:lnTo>
                    <a:pt x="41551" y="3642"/>
                  </a:lnTo>
                  <a:lnTo>
                    <a:pt x="41125" y="1866"/>
                  </a:lnTo>
                  <a:lnTo>
                    <a:pt x="42367" y="920"/>
                  </a:lnTo>
                  <a:lnTo>
                    <a:pt x="43749" y="482"/>
                  </a:lnTo>
                  <a:lnTo>
                    <a:pt x="44373" y="1250"/>
                  </a:lnTo>
                  <a:lnTo>
                    <a:pt x="45636" y="2033"/>
                  </a:lnTo>
                  <a:lnTo>
                    <a:pt x="46636" y="2038"/>
                  </a:lnTo>
                  <a:lnTo>
                    <a:pt x="49327" y="0"/>
                  </a:lnTo>
                  <a:lnTo>
                    <a:pt x="49957" y="403"/>
                  </a:lnTo>
                  <a:lnTo>
                    <a:pt x="50540" y="1128"/>
                  </a:lnTo>
                  <a:close/>
                </a:path>
              </a:pathLst>
            </a:custGeom>
            <a:grpFill/>
            <a:ln w="3175"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0" name="ee4p_BG_1_92573">
              <a:extLst>
                <a:ext uri="{FF2B5EF4-FFF2-40B4-BE49-F238E27FC236}">
                  <a16:creationId xmlns:a16="http://schemas.microsoft.com/office/drawing/2014/main" id="{772F1720-E8DE-4E99-8123-869A2334B844}"/>
                </a:ext>
              </a:extLst>
            </p:cNvPr>
            <p:cNvSpPr>
              <a:spLocks noChangeAspect="1"/>
            </p:cNvSpPr>
            <p:nvPr>
              <p:custDataLst>
                <p:tags r:id="rId4"/>
              </p:custDataLst>
            </p:nvPr>
          </p:nvSpPr>
          <p:spPr>
            <a:xfrm>
              <a:off x="5730334" y="5170321"/>
              <a:ext cx="547103" cy="317364"/>
            </a:xfrm>
            <a:custGeom>
              <a:avLst/>
              <a:gdLst/>
              <a:ahLst/>
              <a:cxnLst/>
              <a:rect l="0" t="0" r="0" b="0"/>
              <a:pathLst>
                <a:path w="138010" h="80057">
                  <a:moveTo>
                    <a:pt x="138009" y="13408"/>
                  </a:moveTo>
                  <a:lnTo>
                    <a:pt x="137488" y="19904"/>
                  </a:lnTo>
                  <a:lnTo>
                    <a:pt x="135357" y="22918"/>
                  </a:lnTo>
                  <a:lnTo>
                    <a:pt x="132133" y="21908"/>
                  </a:lnTo>
                  <a:lnTo>
                    <a:pt x="128021" y="22749"/>
                  </a:lnTo>
                  <a:lnTo>
                    <a:pt x="125843" y="26172"/>
                  </a:lnTo>
                  <a:lnTo>
                    <a:pt x="124607" y="27186"/>
                  </a:lnTo>
                  <a:lnTo>
                    <a:pt x="123493" y="28378"/>
                  </a:lnTo>
                  <a:lnTo>
                    <a:pt x="122776" y="32816"/>
                  </a:lnTo>
                  <a:lnTo>
                    <a:pt x="122608" y="40070"/>
                  </a:lnTo>
                  <a:lnTo>
                    <a:pt x="121049" y="40954"/>
                  </a:lnTo>
                  <a:lnTo>
                    <a:pt x="119619" y="41224"/>
                  </a:lnTo>
                  <a:lnTo>
                    <a:pt x="113672" y="47590"/>
                  </a:lnTo>
                  <a:lnTo>
                    <a:pt x="117095" y="49378"/>
                  </a:lnTo>
                  <a:lnTo>
                    <a:pt x="118613" y="50738"/>
                  </a:lnTo>
                  <a:lnTo>
                    <a:pt x="121115" y="54516"/>
                  </a:lnTo>
                  <a:lnTo>
                    <a:pt x="124683" y="58784"/>
                  </a:lnTo>
                  <a:lnTo>
                    <a:pt x="125385" y="60865"/>
                  </a:lnTo>
                  <a:lnTo>
                    <a:pt x="122394" y="60399"/>
                  </a:lnTo>
                  <a:lnTo>
                    <a:pt x="121349" y="60540"/>
                  </a:lnTo>
                  <a:lnTo>
                    <a:pt x="120679" y="61197"/>
                  </a:lnTo>
                  <a:lnTo>
                    <a:pt x="119291" y="61064"/>
                  </a:lnTo>
                  <a:lnTo>
                    <a:pt x="117572" y="61070"/>
                  </a:lnTo>
                  <a:lnTo>
                    <a:pt x="115775" y="61824"/>
                  </a:lnTo>
                  <a:lnTo>
                    <a:pt x="114780" y="62145"/>
                  </a:lnTo>
                  <a:lnTo>
                    <a:pt x="113452" y="61453"/>
                  </a:lnTo>
                  <a:lnTo>
                    <a:pt x="110977" y="59378"/>
                  </a:lnTo>
                  <a:lnTo>
                    <a:pt x="109474" y="57931"/>
                  </a:lnTo>
                  <a:lnTo>
                    <a:pt x="108356" y="57566"/>
                  </a:lnTo>
                  <a:lnTo>
                    <a:pt x="107229" y="57996"/>
                  </a:lnTo>
                  <a:lnTo>
                    <a:pt x="103212" y="58486"/>
                  </a:lnTo>
                  <a:lnTo>
                    <a:pt x="102262" y="59330"/>
                  </a:lnTo>
                  <a:lnTo>
                    <a:pt x="100407" y="60260"/>
                  </a:lnTo>
                  <a:lnTo>
                    <a:pt x="98539" y="60703"/>
                  </a:lnTo>
                  <a:lnTo>
                    <a:pt x="95860" y="61017"/>
                  </a:lnTo>
                  <a:lnTo>
                    <a:pt x="94447" y="60975"/>
                  </a:lnTo>
                  <a:lnTo>
                    <a:pt x="93659" y="61425"/>
                  </a:lnTo>
                  <a:lnTo>
                    <a:pt x="92996" y="62784"/>
                  </a:lnTo>
                  <a:lnTo>
                    <a:pt x="92545" y="64111"/>
                  </a:lnTo>
                  <a:lnTo>
                    <a:pt x="92150" y="64649"/>
                  </a:lnTo>
                  <a:lnTo>
                    <a:pt x="88809" y="65306"/>
                  </a:lnTo>
                  <a:lnTo>
                    <a:pt x="88077" y="66068"/>
                  </a:lnTo>
                  <a:lnTo>
                    <a:pt x="87872" y="66813"/>
                  </a:lnTo>
                  <a:lnTo>
                    <a:pt x="87936" y="67558"/>
                  </a:lnTo>
                  <a:lnTo>
                    <a:pt x="85276" y="66837"/>
                  </a:lnTo>
                  <a:lnTo>
                    <a:pt x="83216" y="67316"/>
                  </a:lnTo>
                  <a:lnTo>
                    <a:pt x="82732" y="67887"/>
                  </a:lnTo>
                  <a:lnTo>
                    <a:pt x="82301" y="68705"/>
                  </a:lnTo>
                  <a:lnTo>
                    <a:pt x="82543" y="69580"/>
                  </a:lnTo>
                  <a:lnTo>
                    <a:pt x="83300" y="70426"/>
                  </a:lnTo>
                  <a:lnTo>
                    <a:pt x="84015" y="72718"/>
                  </a:lnTo>
                  <a:lnTo>
                    <a:pt x="84272" y="75007"/>
                  </a:lnTo>
                  <a:lnTo>
                    <a:pt x="83834" y="76304"/>
                  </a:lnTo>
                  <a:lnTo>
                    <a:pt x="82309" y="77230"/>
                  </a:lnTo>
                  <a:lnTo>
                    <a:pt x="79146" y="78253"/>
                  </a:lnTo>
                  <a:lnTo>
                    <a:pt x="76086" y="77764"/>
                  </a:lnTo>
                  <a:lnTo>
                    <a:pt x="74736" y="78170"/>
                  </a:lnTo>
                  <a:lnTo>
                    <a:pt x="72471" y="78300"/>
                  </a:lnTo>
                  <a:lnTo>
                    <a:pt x="70383" y="78572"/>
                  </a:lnTo>
                  <a:lnTo>
                    <a:pt x="67174" y="79507"/>
                  </a:lnTo>
                  <a:lnTo>
                    <a:pt x="64283" y="80056"/>
                  </a:lnTo>
                  <a:lnTo>
                    <a:pt x="61678" y="78151"/>
                  </a:lnTo>
                  <a:lnTo>
                    <a:pt x="58586" y="76852"/>
                  </a:lnTo>
                  <a:lnTo>
                    <a:pt x="55343" y="76080"/>
                  </a:lnTo>
                  <a:lnTo>
                    <a:pt x="54214" y="76643"/>
                  </a:lnTo>
                  <a:lnTo>
                    <a:pt x="53725" y="77087"/>
                  </a:lnTo>
                  <a:lnTo>
                    <a:pt x="51013" y="75401"/>
                  </a:lnTo>
                  <a:lnTo>
                    <a:pt x="49795" y="74800"/>
                  </a:lnTo>
                  <a:lnTo>
                    <a:pt x="49206" y="74148"/>
                  </a:lnTo>
                  <a:lnTo>
                    <a:pt x="48076" y="71898"/>
                  </a:lnTo>
                  <a:lnTo>
                    <a:pt x="47405" y="71827"/>
                  </a:lnTo>
                  <a:lnTo>
                    <a:pt x="45168" y="72665"/>
                  </a:lnTo>
                  <a:lnTo>
                    <a:pt x="43017" y="72625"/>
                  </a:lnTo>
                  <a:lnTo>
                    <a:pt x="41711" y="72472"/>
                  </a:lnTo>
                  <a:lnTo>
                    <a:pt x="37856" y="72566"/>
                  </a:lnTo>
                  <a:lnTo>
                    <a:pt x="37345" y="74103"/>
                  </a:lnTo>
                  <a:lnTo>
                    <a:pt x="36867" y="74342"/>
                  </a:lnTo>
                  <a:lnTo>
                    <a:pt x="36031" y="74547"/>
                  </a:lnTo>
                  <a:lnTo>
                    <a:pt x="33982" y="74450"/>
                  </a:lnTo>
                  <a:lnTo>
                    <a:pt x="31361" y="75585"/>
                  </a:lnTo>
                  <a:lnTo>
                    <a:pt x="28549" y="76277"/>
                  </a:lnTo>
                  <a:lnTo>
                    <a:pt x="26353" y="76296"/>
                  </a:lnTo>
                  <a:lnTo>
                    <a:pt x="24088" y="75961"/>
                  </a:lnTo>
                  <a:lnTo>
                    <a:pt x="22732" y="76201"/>
                  </a:lnTo>
                  <a:lnTo>
                    <a:pt x="19808" y="76325"/>
                  </a:lnTo>
                  <a:lnTo>
                    <a:pt x="17953" y="77985"/>
                  </a:lnTo>
                  <a:lnTo>
                    <a:pt x="15070" y="77891"/>
                  </a:lnTo>
                  <a:lnTo>
                    <a:pt x="12648" y="77610"/>
                  </a:lnTo>
                  <a:lnTo>
                    <a:pt x="12950" y="77087"/>
                  </a:lnTo>
                  <a:lnTo>
                    <a:pt x="13431" y="70494"/>
                  </a:lnTo>
                  <a:lnTo>
                    <a:pt x="14630" y="67548"/>
                  </a:lnTo>
                  <a:lnTo>
                    <a:pt x="14584" y="66942"/>
                  </a:lnTo>
                  <a:lnTo>
                    <a:pt x="14327" y="66482"/>
                  </a:lnTo>
                  <a:lnTo>
                    <a:pt x="13265" y="66008"/>
                  </a:lnTo>
                  <a:lnTo>
                    <a:pt x="12496" y="64415"/>
                  </a:lnTo>
                  <a:lnTo>
                    <a:pt x="10896" y="60213"/>
                  </a:lnTo>
                  <a:lnTo>
                    <a:pt x="9996" y="59361"/>
                  </a:lnTo>
                  <a:lnTo>
                    <a:pt x="7480" y="58473"/>
                  </a:lnTo>
                  <a:lnTo>
                    <a:pt x="5277" y="57259"/>
                  </a:lnTo>
                  <a:lnTo>
                    <a:pt x="3410" y="55657"/>
                  </a:lnTo>
                  <a:lnTo>
                    <a:pt x="0" y="51696"/>
                  </a:lnTo>
                  <a:lnTo>
                    <a:pt x="1725" y="51300"/>
                  </a:lnTo>
                  <a:lnTo>
                    <a:pt x="2248" y="50493"/>
                  </a:lnTo>
                  <a:lnTo>
                    <a:pt x="3969" y="48313"/>
                  </a:lnTo>
                  <a:lnTo>
                    <a:pt x="4166" y="47240"/>
                  </a:lnTo>
                  <a:lnTo>
                    <a:pt x="3984" y="46634"/>
                  </a:lnTo>
                  <a:lnTo>
                    <a:pt x="2831" y="45583"/>
                  </a:lnTo>
                  <a:lnTo>
                    <a:pt x="2039" y="43293"/>
                  </a:lnTo>
                  <a:lnTo>
                    <a:pt x="2637" y="41146"/>
                  </a:lnTo>
                  <a:lnTo>
                    <a:pt x="2688" y="40042"/>
                  </a:lnTo>
                  <a:lnTo>
                    <a:pt x="2105" y="38949"/>
                  </a:lnTo>
                  <a:lnTo>
                    <a:pt x="2714" y="37589"/>
                  </a:lnTo>
                  <a:lnTo>
                    <a:pt x="3952" y="36844"/>
                  </a:lnTo>
                  <a:lnTo>
                    <a:pt x="4733" y="36626"/>
                  </a:lnTo>
                  <a:lnTo>
                    <a:pt x="8007" y="36480"/>
                  </a:lnTo>
                  <a:lnTo>
                    <a:pt x="10080" y="33753"/>
                  </a:lnTo>
                  <a:lnTo>
                    <a:pt x="11339" y="32881"/>
                  </a:lnTo>
                  <a:lnTo>
                    <a:pt x="12630" y="31334"/>
                  </a:lnTo>
                  <a:lnTo>
                    <a:pt x="13229" y="30768"/>
                  </a:lnTo>
                  <a:lnTo>
                    <a:pt x="13796" y="29562"/>
                  </a:lnTo>
                  <a:lnTo>
                    <a:pt x="13993" y="28328"/>
                  </a:lnTo>
                  <a:lnTo>
                    <a:pt x="11399" y="26600"/>
                  </a:lnTo>
                  <a:lnTo>
                    <a:pt x="10518" y="25300"/>
                  </a:lnTo>
                  <a:lnTo>
                    <a:pt x="9365" y="23864"/>
                  </a:lnTo>
                  <a:lnTo>
                    <a:pt x="7804" y="22871"/>
                  </a:lnTo>
                  <a:lnTo>
                    <a:pt x="4655" y="21165"/>
                  </a:lnTo>
                  <a:lnTo>
                    <a:pt x="3429" y="19432"/>
                  </a:lnTo>
                  <a:lnTo>
                    <a:pt x="2876" y="17185"/>
                  </a:lnTo>
                  <a:lnTo>
                    <a:pt x="2040" y="15480"/>
                  </a:lnTo>
                  <a:lnTo>
                    <a:pt x="1123" y="14369"/>
                  </a:lnTo>
                  <a:lnTo>
                    <a:pt x="948" y="13465"/>
                  </a:lnTo>
                  <a:lnTo>
                    <a:pt x="566" y="12354"/>
                  </a:lnTo>
                  <a:lnTo>
                    <a:pt x="473" y="10171"/>
                  </a:lnTo>
                  <a:lnTo>
                    <a:pt x="1216" y="7267"/>
                  </a:lnTo>
                  <a:lnTo>
                    <a:pt x="1697" y="6241"/>
                  </a:lnTo>
                  <a:lnTo>
                    <a:pt x="2764" y="5955"/>
                  </a:lnTo>
                  <a:lnTo>
                    <a:pt x="5603" y="4404"/>
                  </a:lnTo>
                  <a:lnTo>
                    <a:pt x="5735" y="2418"/>
                  </a:lnTo>
                  <a:lnTo>
                    <a:pt x="6247" y="1185"/>
                  </a:lnTo>
                  <a:lnTo>
                    <a:pt x="7152" y="477"/>
                  </a:lnTo>
                  <a:lnTo>
                    <a:pt x="7983" y="0"/>
                  </a:lnTo>
                  <a:lnTo>
                    <a:pt x="9534" y="1155"/>
                  </a:lnTo>
                  <a:lnTo>
                    <a:pt x="13298" y="2996"/>
                  </a:lnTo>
                  <a:lnTo>
                    <a:pt x="15135" y="4331"/>
                  </a:lnTo>
                  <a:lnTo>
                    <a:pt x="15044" y="5164"/>
                  </a:lnTo>
                  <a:lnTo>
                    <a:pt x="14181" y="5983"/>
                  </a:lnTo>
                  <a:lnTo>
                    <a:pt x="12544" y="6788"/>
                  </a:lnTo>
                  <a:lnTo>
                    <a:pt x="11591" y="7852"/>
                  </a:lnTo>
                  <a:lnTo>
                    <a:pt x="11330" y="9173"/>
                  </a:lnTo>
                  <a:lnTo>
                    <a:pt x="11579" y="10105"/>
                  </a:lnTo>
                  <a:lnTo>
                    <a:pt x="12714" y="10918"/>
                  </a:lnTo>
                  <a:lnTo>
                    <a:pt x="19471" y="9853"/>
                  </a:lnTo>
                  <a:lnTo>
                    <a:pt x="26325" y="10402"/>
                  </a:lnTo>
                  <a:lnTo>
                    <a:pt x="35528" y="12209"/>
                  </a:lnTo>
                  <a:lnTo>
                    <a:pt x="41631" y="12835"/>
                  </a:lnTo>
                  <a:lnTo>
                    <a:pt x="46137" y="12000"/>
                  </a:lnTo>
                  <a:lnTo>
                    <a:pt x="54488" y="13512"/>
                  </a:lnTo>
                  <a:lnTo>
                    <a:pt x="62259" y="14917"/>
                  </a:lnTo>
                  <a:lnTo>
                    <a:pt x="69720" y="15336"/>
                  </a:lnTo>
                  <a:lnTo>
                    <a:pt x="73900" y="14231"/>
                  </a:lnTo>
                  <a:lnTo>
                    <a:pt x="76835" y="12744"/>
                  </a:lnTo>
                  <a:lnTo>
                    <a:pt x="79368" y="9943"/>
                  </a:lnTo>
                  <a:lnTo>
                    <a:pt x="85613" y="6245"/>
                  </a:lnTo>
                  <a:lnTo>
                    <a:pt x="91659" y="4169"/>
                  </a:lnTo>
                  <a:lnTo>
                    <a:pt x="99586" y="2484"/>
                  </a:lnTo>
                  <a:lnTo>
                    <a:pt x="104875" y="1909"/>
                  </a:lnTo>
                  <a:lnTo>
                    <a:pt x="105622" y="2485"/>
                  </a:lnTo>
                  <a:lnTo>
                    <a:pt x="112359" y="5887"/>
                  </a:lnTo>
                  <a:lnTo>
                    <a:pt x="115359" y="5899"/>
                  </a:lnTo>
                  <a:lnTo>
                    <a:pt x="117788" y="6502"/>
                  </a:lnTo>
                  <a:lnTo>
                    <a:pt x="118669" y="7400"/>
                  </a:lnTo>
                  <a:lnTo>
                    <a:pt x="119284" y="7625"/>
                  </a:lnTo>
                  <a:lnTo>
                    <a:pt x="122506" y="6784"/>
                  </a:lnTo>
                  <a:lnTo>
                    <a:pt x="123936" y="8644"/>
                  </a:lnTo>
                  <a:lnTo>
                    <a:pt x="126170" y="11243"/>
                  </a:lnTo>
                  <a:lnTo>
                    <a:pt x="129973" y="12582"/>
                  </a:lnTo>
                  <a:lnTo>
                    <a:pt x="133362" y="13340"/>
                  </a:lnTo>
                  <a:lnTo>
                    <a:pt x="134428" y="13456"/>
                  </a:lnTo>
                  <a:close/>
                </a:path>
              </a:pathLst>
            </a:custGeom>
            <a:grpFill/>
            <a:ln w="3175"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1" name="ee4p_CZ_1_92573">
              <a:extLst>
                <a:ext uri="{FF2B5EF4-FFF2-40B4-BE49-F238E27FC236}">
                  <a16:creationId xmlns:a16="http://schemas.microsoft.com/office/drawing/2014/main" id="{94258B24-AC88-4181-851C-8F9221B943CD}"/>
                </a:ext>
              </a:extLst>
            </p:cNvPr>
            <p:cNvSpPr>
              <a:spLocks noChangeAspect="1"/>
            </p:cNvSpPr>
            <p:nvPr>
              <p:custDataLst>
                <p:tags r:id="rId5"/>
              </p:custDataLst>
            </p:nvPr>
          </p:nvSpPr>
          <p:spPr>
            <a:xfrm>
              <a:off x="4831469" y="4412119"/>
              <a:ext cx="591031" cy="281080"/>
            </a:xfrm>
            <a:custGeom>
              <a:avLst/>
              <a:gdLst/>
              <a:ahLst/>
              <a:cxnLst/>
              <a:rect l="0" t="0" r="0" b="0"/>
              <a:pathLst>
                <a:path w="149091" h="70904">
                  <a:moveTo>
                    <a:pt x="60137" y="5220"/>
                  </a:moveTo>
                  <a:lnTo>
                    <a:pt x="62048" y="5150"/>
                  </a:lnTo>
                  <a:lnTo>
                    <a:pt x="63974" y="4416"/>
                  </a:lnTo>
                  <a:lnTo>
                    <a:pt x="64129" y="3229"/>
                  </a:lnTo>
                  <a:lnTo>
                    <a:pt x="64008" y="1005"/>
                  </a:lnTo>
                  <a:lnTo>
                    <a:pt x="64214" y="685"/>
                  </a:lnTo>
                  <a:lnTo>
                    <a:pt x="67137" y="1313"/>
                  </a:lnTo>
                  <a:lnTo>
                    <a:pt x="70070" y="2315"/>
                  </a:lnTo>
                  <a:lnTo>
                    <a:pt x="70478" y="4520"/>
                  </a:lnTo>
                  <a:lnTo>
                    <a:pt x="71264" y="5606"/>
                  </a:lnTo>
                  <a:lnTo>
                    <a:pt x="72188" y="6597"/>
                  </a:lnTo>
                  <a:lnTo>
                    <a:pt x="73078" y="7048"/>
                  </a:lnTo>
                  <a:lnTo>
                    <a:pt x="74611" y="7119"/>
                  </a:lnTo>
                  <a:lnTo>
                    <a:pt x="78591" y="8429"/>
                  </a:lnTo>
                  <a:lnTo>
                    <a:pt x="80506" y="8696"/>
                  </a:lnTo>
                  <a:lnTo>
                    <a:pt x="82467" y="9599"/>
                  </a:lnTo>
                  <a:lnTo>
                    <a:pt x="84118" y="10524"/>
                  </a:lnTo>
                  <a:lnTo>
                    <a:pt x="85326" y="10717"/>
                  </a:lnTo>
                  <a:lnTo>
                    <a:pt x="85885" y="11730"/>
                  </a:lnTo>
                  <a:lnTo>
                    <a:pt x="86623" y="12423"/>
                  </a:lnTo>
                  <a:lnTo>
                    <a:pt x="87932" y="11891"/>
                  </a:lnTo>
                  <a:lnTo>
                    <a:pt x="92704" y="11143"/>
                  </a:lnTo>
                  <a:lnTo>
                    <a:pt x="94423" y="12139"/>
                  </a:lnTo>
                  <a:lnTo>
                    <a:pt x="95585" y="13192"/>
                  </a:lnTo>
                  <a:lnTo>
                    <a:pt x="95745" y="13527"/>
                  </a:lnTo>
                  <a:lnTo>
                    <a:pt x="95138" y="14456"/>
                  </a:lnTo>
                  <a:lnTo>
                    <a:pt x="94847" y="15175"/>
                  </a:lnTo>
                  <a:lnTo>
                    <a:pt x="94350" y="15652"/>
                  </a:lnTo>
                  <a:lnTo>
                    <a:pt x="92711" y="16159"/>
                  </a:lnTo>
                  <a:lnTo>
                    <a:pt x="91787" y="16981"/>
                  </a:lnTo>
                  <a:lnTo>
                    <a:pt x="91115" y="17880"/>
                  </a:lnTo>
                  <a:lnTo>
                    <a:pt x="91566" y="18739"/>
                  </a:lnTo>
                  <a:lnTo>
                    <a:pt x="92905" y="19383"/>
                  </a:lnTo>
                  <a:lnTo>
                    <a:pt x="93853" y="19528"/>
                  </a:lnTo>
                  <a:lnTo>
                    <a:pt x="94214" y="20156"/>
                  </a:lnTo>
                  <a:lnTo>
                    <a:pt x="97246" y="22961"/>
                  </a:lnTo>
                  <a:lnTo>
                    <a:pt x="99657" y="26619"/>
                  </a:lnTo>
                  <a:lnTo>
                    <a:pt x="100597" y="27191"/>
                  </a:lnTo>
                  <a:lnTo>
                    <a:pt x="101480" y="27326"/>
                  </a:lnTo>
                  <a:lnTo>
                    <a:pt x="102501" y="26789"/>
                  </a:lnTo>
                  <a:lnTo>
                    <a:pt x="103680" y="25604"/>
                  </a:lnTo>
                  <a:lnTo>
                    <a:pt x="105078" y="24746"/>
                  </a:lnTo>
                  <a:lnTo>
                    <a:pt x="106261" y="24305"/>
                  </a:lnTo>
                  <a:lnTo>
                    <a:pt x="108347" y="23293"/>
                  </a:lnTo>
                  <a:lnTo>
                    <a:pt x="108429" y="22633"/>
                  </a:lnTo>
                  <a:lnTo>
                    <a:pt x="106691" y="20156"/>
                  </a:lnTo>
                  <a:lnTo>
                    <a:pt x="105682" y="18147"/>
                  </a:lnTo>
                  <a:lnTo>
                    <a:pt x="105924" y="17783"/>
                  </a:lnTo>
                  <a:lnTo>
                    <a:pt x="108150" y="18101"/>
                  </a:lnTo>
                  <a:lnTo>
                    <a:pt x="111936" y="19197"/>
                  </a:lnTo>
                  <a:lnTo>
                    <a:pt x="117758" y="22776"/>
                  </a:lnTo>
                  <a:lnTo>
                    <a:pt x="118799" y="22776"/>
                  </a:lnTo>
                  <a:lnTo>
                    <a:pt x="120839" y="22507"/>
                  </a:lnTo>
                  <a:lnTo>
                    <a:pt x="123053" y="21923"/>
                  </a:lnTo>
                  <a:lnTo>
                    <a:pt x="124104" y="21258"/>
                  </a:lnTo>
                  <a:lnTo>
                    <a:pt x="124499" y="21506"/>
                  </a:lnTo>
                  <a:lnTo>
                    <a:pt x="124838" y="23471"/>
                  </a:lnTo>
                  <a:lnTo>
                    <a:pt x="124259" y="24548"/>
                  </a:lnTo>
                  <a:lnTo>
                    <a:pt x="121608" y="25592"/>
                  </a:lnTo>
                  <a:lnTo>
                    <a:pt x="121761" y="26111"/>
                  </a:lnTo>
                  <a:lnTo>
                    <a:pt x="122441" y="26779"/>
                  </a:lnTo>
                  <a:lnTo>
                    <a:pt x="123635" y="27230"/>
                  </a:lnTo>
                  <a:lnTo>
                    <a:pt x="125084" y="28502"/>
                  </a:lnTo>
                  <a:lnTo>
                    <a:pt x="126082" y="29951"/>
                  </a:lnTo>
                  <a:lnTo>
                    <a:pt x="126957" y="30623"/>
                  </a:lnTo>
                  <a:lnTo>
                    <a:pt x="127920" y="30942"/>
                  </a:lnTo>
                  <a:lnTo>
                    <a:pt x="130330" y="30168"/>
                  </a:lnTo>
                  <a:lnTo>
                    <a:pt x="131012" y="29556"/>
                  </a:lnTo>
                  <a:lnTo>
                    <a:pt x="131314" y="29123"/>
                  </a:lnTo>
                  <a:lnTo>
                    <a:pt x="131783" y="29219"/>
                  </a:lnTo>
                  <a:lnTo>
                    <a:pt x="132627" y="29931"/>
                  </a:lnTo>
                  <a:lnTo>
                    <a:pt x="132882" y="30350"/>
                  </a:lnTo>
                  <a:lnTo>
                    <a:pt x="135227" y="31159"/>
                  </a:lnTo>
                  <a:lnTo>
                    <a:pt x="136577" y="32153"/>
                  </a:lnTo>
                  <a:lnTo>
                    <a:pt x="137438" y="32621"/>
                  </a:lnTo>
                  <a:lnTo>
                    <a:pt x="138393" y="32166"/>
                  </a:lnTo>
                  <a:lnTo>
                    <a:pt x="142103" y="32957"/>
                  </a:lnTo>
                  <a:lnTo>
                    <a:pt x="143124" y="33621"/>
                  </a:lnTo>
                  <a:lnTo>
                    <a:pt x="143450" y="34723"/>
                  </a:lnTo>
                  <a:lnTo>
                    <a:pt x="143266" y="35391"/>
                  </a:lnTo>
                  <a:lnTo>
                    <a:pt x="143837" y="37122"/>
                  </a:lnTo>
                  <a:lnTo>
                    <a:pt x="148531" y="41266"/>
                  </a:lnTo>
                  <a:lnTo>
                    <a:pt x="149025" y="43380"/>
                  </a:lnTo>
                  <a:lnTo>
                    <a:pt x="149090" y="44222"/>
                  </a:lnTo>
                  <a:lnTo>
                    <a:pt x="148533" y="44267"/>
                  </a:lnTo>
                  <a:lnTo>
                    <a:pt x="147265" y="44704"/>
                  </a:lnTo>
                  <a:lnTo>
                    <a:pt x="145640" y="44863"/>
                  </a:lnTo>
                  <a:lnTo>
                    <a:pt x="143878" y="44777"/>
                  </a:lnTo>
                  <a:lnTo>
                    <a:pt x="142508" y="45545"/>
                  </a:lnTo>
                  <a:lnTo>
                    <a:pt x="141215" y="46795"/>
                  </a:lnTo>
                  <a:lnTo>
                    <a:pt x="139883" y="47660"/>
                  </a:lnTo>
                  <a:lnTo>
                    <a:pt x="139159" y="48434"/>
                  </a:lnTo>
                  <a:lnTo>
                    <a:pt x="138755" y="49227"/>
                  </a:lnTo>
                  <a:lnTo>
                    <a:pt x="134247" y="51485"/>
                  </a:lnTo>
                  <a:lnTo>
                    <a:pt x="133621" y="52424"/>
                  </a:lnTo>
                  <a:lnTo>
                    <a:pt x="133119" y="53704"/>
                  </a:lnTo>
                  <a:lnTo>
                    <a:pt x="132908" y="55432"/>
                  </a:lnTo>
                  <a:lnTo>
                    <a:pt x="132588" y="56980"/>
                  </a:lnTo>
                  <a:lnTo>
                    <a:pt x="131813" y="57797"/>
                  </a:lnTo>
                  <a:lnTo>
                    <a:pt x="129377" y="58498"/>
                  </a:lnTo>
                  <a:lnTo>
                    <a:pt x="128770" y="58876"/>
                  </a:lnTo>
                  <a:lnTo>
                    <a:pt x="128315" y="59663"/>
                  </a:lnTo>
                  <a:lnTo>
                    <a:pt x="126948" y="60876"/>
                  </a:lnTo>
                  <a:lnTo>
                    <a:pt x="125348" y="62030"/>
                  </a:lnTo>
                  <a:lnTo>
                    <a:pt x="122405" y="63348"/>
                  </a:lnTo>
                  <a:lnTo>
                    <a:pt x="119248" y="63749"/>
                  </a:lnTo>
                  <a:lnTo>
                    <a:pt x="115140" y="63321"/>
                  </a:lnTo>
                  <a:lnTo>
                    <a:pt x="112743" y="62804"/>
                  </a:lnTo>
                  <a:lnTo>
                    <a:pt x="111575" y="63371"/>
                  </a:lnTo>
                  <a:lnTo>
                    <a:pt x="109975" y="65088"/>
                  </a:lnTo>
                  <a:lnTo>
                    <a:pt x="108250" y="68042"/>
                  </a:lnTo>
                  <a:lnTo>
                    <a:pt x="107540" y="70261"/>
                  </a:lnTo>
                  <a:lnTo>
                    <a:pt x="106991" y="69634"/>
                  </a:lnTo>
                  <a:lnTo>
                    <a:pt x="106004" y="67280"/>
                  </a:lnTo>
                  <a:lnTo>
                    <a:pt x="104888" y="66978"/>
                  </a:lnTo>
                  <a:lnTo>
                    <a:pt x="103367" y="66759"/>
                  </a:lnTo>
                  <a:lnTo>
                    <a:pt x="102223" y="66412"/>
                  </a:lnTo>
                  <a:lnTo>
                    <a:pt x="99752" y="65056"/>
                  </a:lnTo>
                  <a:lnTo>
                    <a:pt x="98483" y="64647"/>
                  </a:lnTo>
                  <a:lnTo>
                    <a:pt x="97032" y="64537"/>
                  </a:lnTo>
                  <a:lnTo>
                    <a:pt x="95637" y="65335"/>
                  </a:lnTo>
                  <a:lnTo>
                    <a:pt x="94585" y="66277"/>
                  </a:lnTo>
                  <a:lnTo>
                    <a:pt x="91314" y="66264"/>
                  </a:lnTo>
                  <a:lnTo>
                    <a:pt x="87729" y="65827"/>
                  </a:lnTo>
                  <a:lnTo>
                    <a:pt x="82598" y="62704"/>
                  </a:lnTo>
                  <a:lnTo>
                    <a:pt x="81268" y="62677"/>
                  </a:lnTo>
                  <a:lnTo>
                    <a:pt x="79847" y="62818"/>
                  </a:lnTo>
                  <a:lnTo>
                    <a:pt x="77606" y="62080"/>
                  </a:lnTo>
                  <a:lnTo>
                    <a:pt x="73261" y="60056"/>
                  </a:lnTo>
                  <a:lnTo>
                    <a:pt x="71227" y="59581"/>
                  </a:lnTo>
                  <a:lnTo>
                    <a:pt x="69940" y="59871"/>
                  </a:lnTo>
                  <a:lnTo>
                    <a:pt x="68766" y="60319"/>
                  </a:lnTo>
                  <a:lnTo>
                    <a:pt x="67928" y="60372"/>
                  </a:lnTo>
                  <a:lnTo>
                    <a:pt x="67442" y="59714"/>
                  </a:lnTo>
                  <a:lnTo>
                    <a:pt x="65829" y="58901"/>
                  </a:lnTo>
                  <a:lnTo>
                    <a:pt x="64207" y="58808"/>
                  </a:lnTo>
                  <a:lnTo>
                    <a:pt x="63736" y="59298"/>
                  </a:lnTo>
                  <a:lnTo>
                    <a:pt x="63188" y="63750"/>
                  </a:lnTo>
                  <a:lnTo>
                    <a:pt x="62639" y="65354"/>
                  </a:lnTo>
                  <a:lnTo>
                    <a:pt x="60413" y="65280"/>
                  </a:lnTo>
                  <a:lnTo>
                    <a:pt x="59618" y="66038"/>
                  </a:lnTo>
                  <a:lnTo>
                    <a:pt x="57865" y="68184"/>
                  </a:lnTo>
                  <a:lnTo>
                    <a:pt x="57526" y="70249"/>
                  </a:lnTo>
                  <a:lnTo>
                    <a:pt x="54488" y="69849"/>
                  </a:lnTo>
                  <a:lnTo>
                    <a:pt x="53045" y="69502"/>
                  </a:lnTo>
                  <a:lnTo>
                    <a:pt x="51771" y="69765"/>
                  </a:lnTo>
                  <a:lnTo>
                    <a:pt x="50367" y="70903"/>
                  </a:lnTo>
                  <a:lnTo>
                    <a:pt x="46437" y="70836"/>
                  </a:lnTo>
                  <a:lnTo>
                    <a:pt x="43326" y="70157"/>
                  </a:lnTo>
                  <a:lnTo>
                    <a:pt x="41991" y="67600"/>
                  </a:lnTo>
                  <a:lnTo>
                    <a:pt x="40566" y="66588"/>
                  </a:lnTo>
                  <a:lnTo>
                    <a:pt x="38772" y="65682"/>
                  </a:lnTo>
                  <a:lnTo>
                    <a:pt x="38143" y="65481"/>
                  </a:lnTo>
                  <a:lnTo>
                    <a:pt x="37152" y="64085"/>
                  </a:lnTo>
                  <a:lnTo>
                    <a:pt x="35273" y="62355"/>
                  </a:lnTo>
                  <a:lnTo>
                    <a:pt x="32237" y="59990"/>
                  </a:lnTo>
                  <a:lnTo>
                    <a:pt x="29873" y="60107"/>
                  </a:lnTo>
                  <a:lnTo>
                    <a:pt x="28998" y="59479"/>
                  </a:lnTo>
                  <a:lnTo>
                    <a:pt x="28612" y="58609"/>
                  </a:lnTo>
                  <a:lnTo>
                    <a:pt x="27625" y="57104"/>
                  </a:lnTo>
                  <a:lnTo>
                    <a:pt x="26513" y="56057"/>
                  </a:lnTo>
                  <a:lnTo>
                    <a:pt x="25165" y="55651"/>
                  </a:lnTo>
                  <a:lnTo>
                    <a:pt x="23235" y="54317"/>
                  </a:lnTo>
                  <a:lnTo>
                    <a:pt x="20652" y="51407"/>
                  </a:lnTo>
                  <a:lnTo>
                    <a:pt x="18285" y="49393"/>
                  </a:lnTo>
                  <a:lnTo>
                    <a:pt x="16001" y="49425"/>
                  </a:lnTo>
                  <a:lnTo>
                    <a:pt x="14552" y="48369"/>
                  </a:lnTo>
                  <a:lnTo>
                    <a:pt x="13077" y="46985"/>
                  </a:lnTo>
                  <a:lnTo>
                    <a:pt x="11991" y="45644"/>
                  </a:lnTo>
                  <a:lnTo>
                    <a:pt x="10304" y="42383"/>
                  </a:lnTo>
                  <a:lnTo>
                    <a:pt x="9078" y="40520"/>
                  </a:lnTo>
                  <a:lnTo>
                    <a:pt x="8121" y="39367"/>
                  </a:lnTo>
                  <a:lnTo>
                    <a:pt x="7041" y="38406"/>
                  </a:lnTo>
                  <a:lnTo>
                    <a:pt x="6651" y="37645"/>
                  </a:lnTo>
                  <a:lnTo>
                    <a:pt x="7970" y="35903"/>
                  </a:lnTo>
                  <a:lnTo>
                    <a:pt x="8449" y="35041"/>
                  </a:lnTo>
                  <a:lnTo>
                    <a:pt x="9017" y="34379"/>
                  </a:lnTo>
                  <a:lnTo>
                    <a:pt x="9348" y="33676"/>
                  </a:lnTo>
                  <a:lnTo>
                    <a:pt x="9337" y="33147"/>
                  </a:lnTo>
                  <a:lnTo>
                    <a:pt x="8134" y="31425"/>
                  </a:lnTo>
                  <a:lnTo>
                    <a:pt x="6510" y="30182"/>
                  </a:lnTo>
                  <a:lnTo>
                    <a:pt x="4128" y="28919"/>
                  </a:lnTo>
                  <a:lnTo>
                    <a:pt x="2610" y="27325"/>
                  </a:lnTo>
                  <a:lnTo>
                    <a:pt x="2051" y="25864"/>
                  </a:lnTo>
                  <a:lnTo>
                    <a:pt x="1885" y="25061"/>
                  </a:lnTo>
                  <a:lnTo>
                    <a:pt x="842" y="23973"/>
                  </a:lnTo>
                  <a:lnTo>
                    <a:pt x="0" y="22377"/>
                  </a:lnTo>
                  <a:lnTo>
                    <a:pt x="2" y="21416"/>
                  </a:lnTo>
                  <a:lnTo>
                    <a:pt x="209" y="21148"/>
                  </a:lnTo>
                  <a:lnTo>
                    <a:pt x="998" y="21149"/>
                  </a:lnTo>
                  <a:lnTo>
                    <a:pt x="1880" y="21803"/>
                  </a:lnTo>
                  <a:lnTo>
                    <a:pt x="3127" y="23063"/>
                  </a:lnTo>
                  <a:lnTo>
                    <a:pt x="4148" y="24898"/>
                  </a:lnTo>
                  <a:lnTo>
                    <a:pt x="4774" y="24196"/>
                  </a:lnTo>
                  <a:lnTo>
                    <a:pt x="5945" y="22241"/>
                  </a:lnTo>
                  <a:lnTo>
                    <a:pt x="8024" y="20023"/>
                  </a:lnTo>
                  <a:lnTo>
                    <a:pt x="10156" y="18759"/>
                  </a:lnTo>
                  <a:lnTo>
                    <a:pt x="12069" y="18653"/>
                  </a:lnTo>
                  <a:lnTo>
                    <a:pt x="13636" y="18303"/>
                  </a:lnTo>
                  <a:lnTo>
                    <a:pt x="14941" y="17670"/>
                  </a:lnTo>
                  <a:lnTo>
                    <a:pt x="17214" y="17923"/>
                  </a:lnTo>
                  <a:lnTo>
                    <a:pt x="18860" y="18381"/>
                  </a:lnTo>
                  <a:lnTo>
                    <a:pt x="19393" y="18098"/>
                  </a:lnTo>
                  <a:lnTo>
                    <a:pt x="20063" y="16942"/>
                  </a:lnTo>
                  <a:lnTo>
                    <a:pt x="20490" y="15945"/>
                  </a:lnTo>
                  <a:lnTo>
                    <a:pt x="24133" y="15361"/>
                  </a:lnTo>
                  <a:lnTo>
                    <a:pt x="25383" y="13436"/>
                  </a:lnTo>
                  <a:lnTo>
                    <a:pt x="26087" y="13446"/>
                  </a:lnTo>
                  <a:lnTo>
                    <a:pt x="26895" y="13158"/>
                  </a:lnTo>
                  <a:lnTo>
                    <a:pt x="27668" y="12428"/>
                  </a:lnTo>
                  <a:lnTo>
                    <a:pt x="28411" y="12129"/>
                  </a:lnTo>
                  <a:lnTo>
                    <a:pt x="28998" y="12490"/>
                  </a:lnTo>
                  <a:lnTo>
                    <a:pt x="29771" y="12729"/>
                  </a:lnTo>
                  <a:lnTo>
                    <a:pt x="30577" y="12268"/>
                  </a:lnTo>
                  <a:lnTo>
                    <a:pt x="31771" y="10061"/>
                  </a:lnTo>
                  <a:lnTo>
                    <a:pt x="32438" y="9717"/>
                  </a:lnTo>
                  <a:lnTo>
                    <a:pt x="35636" y="9371"/>
                  </a:lnTo>
                  <a:lnTo>
                    <a:pt x="39996" y="8068"/>
                  </a:lnTo>
                  <a:lnTo>
                    <a:pt x="42205" y="6907"/>
                  </a:lnTo>
                  <a:lnTo>
                    <a:pt x="44373" y="6277"/>
                  </a:lnTo>
                  <a:lnTo>
                    <a:pt x="46701" y="5155"/>
                  </a:lnTo>
                  <a:lnTo>
                    <a:pt x="50400" y="4061"/>
                  </a:lnTo>
                  <a:lnTo>
                    <a:pt x="50577" y="3614"/>
                  </a:lnTo>
                  <a:lnTo>
                    <a:pt x="48860" y="2489"/>
                  </a:lnTo>
                  <a:lnTo>
                    <a:pt x="48283" y="1779"/>
                  </a:lnTo>
                  <a:lnTo>
                    <a:pt x="47897" y="1050"/>
                  </a:lnTo>
                  <a:lnTo>
                    <a:pt x="48502" y="243"/>
                  </a:lnTo>
                  <a:lnTo>
                    <a:pt x="49309" y="0"/>
                  </a:lnTo>
                  <a:lnTo>
                    <a:pt x="50361" y="337"/>
                  </a:lnTo>
                  <a:lnTo>
                    <a:pt x="53458" y="816"/>
                  </a:lnTo>
                  <a:lnTo>
                    <a:pt x="54306" y="1281"/>
                  </a:lnTo>
                  <a:lnTo>
                    <a:pt x="54615" y="2421"/>
                  </a:lnTo>
                  <a:lnTo>
                    <a:pt x="55401" y="3481"/>
                  </a:lnTo>
                  <a:lnTo>
                    <a:pt x="56034" y="3594"/>
                  </a:lnTo>
                  <a:lnTo>
                    <a:pt x="55807" y="5320"/>
                  </a:lnTo>
                  <a:lnTo>
                    <a:pt x="56794" y="5989"/>
                  </a:lnTo>
                  <a:lnTo>
                    <a:pt x="58234" y="6511"/>
                  </a:lnTo>
                  <a:lnTo>
                    <a:pt x="59189" y="6406"/>
                  </a:lnTo>
                  <a:lnTo>
                    <a:pt x="59873" y="5706"/>
                  </a:lnTo>
                  <a:close/>
                </a:path>
              </a:pathLst>
            </a:custGeom>
            <a:grpFill/>
            <a:ln w="3175"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2" name="ee4p_DE_1_92573">
              <a:extLst>
                <a:ext uri="{FF2B5EF4-FFF2-40B4-BE49-F238E27FC236}">
                  <a16:creationId xmlns:a16="http://schemas.microsoft.com/office/drawing/2014/main" id="{966266DD-648E-4472-A44E-93B4C31022B7}"/>
                </a:ext>
              </a:extLst>
            </p:cNvPr>
            <p:cNvSpPr>
              <a:spLocks noChangeAspect="1"/>
            </p:cNvSpPr>
            <p:nvPr>
              <p:custDataLst>
                <p:tags r:id="rId6"/>
              </p:custDataLst>
            </p:nvPr>
          </p:nvSpPr>
          <p:spPr>
            <a:xfrm>
              <a:off x="4285170" y="3934358"/>
              <a:ext cx="802864" cy="903840"/>
            </a:xfrm>
            <a:custGeom>
              <a:avLst/>
              <a:gdLst>
                <a:gd name="connsiteX0" fmla="*/ 176238 w 202527"/>
                <a:gd name="connsiteY0" fmla="*/ 28478 h 227999"/>
                <a:gd name="connsiteX1" fmla="*/ 180907 w 202527"/>
                <a:gd name="connsiteY1" fmla="*/ 31292 h 227999"/>
                <a:gd name="connsiteX2" fmla="*/ 184723 w 202527"/>
                <a:gd name="connsiteY2" fmla="*/ 33847 h 227999"/>
                <a:gd name="connsiteX3" fmla="*/ 184431 w 202527"/>
                <a:gd name="connsiteY3" fmla="*/ 34795 h 227999"/>
                <a:gd name="connsiteX4" fmla="*/ 184772 w 202527"/>
                <a:gd name="connsiteY4" fmla="*/ 36258 h 227999"/>
                <a:gd name="connsiteX5" fmla="*/ 183854 w 202527"/>
                <a:gd name="connsiteY5" fmla="*/ 36149 h 227999"/>
                <a:gd name="connsiteX6" fmla="*/ 181117 w 202527"/>
                <a:gd name="connsiteY6" fmla="*/ 36490 h 227999"/>
                <a:gd name="connsiteX7" fmla="*/ 178406 w 202527"/>
                <a:gd name="connsiteY7" fmla="*/ 36007 h 227999"/>
                <a:gd name="connsiteX8" fmla="*/ 177884 w 202527"/>
                <a:gd name="connsiteY8" fmla="*/ 34192 h 227999"/>
                <a:gd name="connsiteX9" fmla="*/ 178316 w 202527"/>
                <a:gd name="connsiteY9" fmla="*/ 32443 h 227999"/>
                <a:gd name="connsiteX10" fmla="*/ 177227 w 202527"/>
                <a:gd name="connsiteY10" fmla="*/ 31240 h 227999"/>
                <a:gd name="connsiteX11" fmla="*/ 176225 w 202527"/>
                <a:gd name="connsiteY11" fmla="*/ 30534 h 227999"/>
                <a:gd name="connsiteX12" fmla="*/ 176077 w 202527"/>
                <a:gd name="connsiteY12" fmla="*/ 29524 h 227999"/>
                <a:gd name="connsiteX13" fmla="*/ 115590 w 202527"/>
                <a:gd name="connsiteY13" fmla="*/ 16104 h 227999"/>
                <a:gd name="connsiteX14" fmla="*/ 118877 w 202527"/>
                <a:gd name="connsiteY14" fmla="*/ 17086 h 227999"/>
                <a:gd name="connsiteX15" fmla="*/ 119909 w 202527"/>
                <a:gd name="connsiteY15" fmla="*/ 19005 h 227999"/>
                <a:gd name="connsiteX16" fmla="*/ 119965 w 202527"/>
                <a:gd name="connsiteY16" fmla="*/ 19628 h 227999"/>
                <a:gd name="connsiteX17" fmla="*/ 116570 w 202527"/>
                <a:gd name="connsiteY17" fmla="*/ 19687 h 227999"/>
                <a:gd name="connsiteX18" fmla="*/ 115274 w 202527"/>
                <a:gd name="connsiteY18" fmla="*/ 18467 h 227999"/>
                <a:gd name="connsiteX19" fmla="*/ 113970 w 202527"/>
                <a:gd name="connsiteY19" fmla="*/ 18157 h 227999"/>
                <a:gd name="connsiteX20" fmla="*/ 114672 w 202527"/>
                <a:gd name="connsiteY20" fmla="*/ 16652 h 227999"/>
                <a:gd name="connsiteX21" fmla="*/ 167283 w 202527"/>
                <a:gd name="connsiteY21" fmla="*/ 11030 h 227999"/>
                <a:gd name="connsiteX22" fmla="*/ 167888 w 202527"/>
                <a:gd name="connsiteY22" fmla="*/ 12552 h 227999"/>
                <a:gd name="connsiteX23" fmla="*/ 168797 w 202527"/>
                <a:gd name="connsiteY23" fmla="*/ 13599 h 227999"/>
                <a:gd name="connsiteX24" fmla="*/ 171999 w 202527"/>
                <a:gd name="connsiteY24" fmla="*/ 14772 h 227999"/>
                <a:gd name="connsiteX25" fmla="*/ 172477 w 202527"/>
                <a:gd name="connsiteY25" fmla="*/ 15305 h 227999"/>
                <a:gd name="connsiteX26" fmla="*/ 172766 w 202527"/>
                <a:gd name="connsiteY26" fmla="*/ 16042 h 227999"/>
                <a:gd name="connsiteX27" fmla="*/ 171276 w 202527"/>
                <a:gd name="connsiteY27" fmla="*/ 17485 h 227999"/>
                <a:gd name="connsiteX28" fmla="*/ 170771 w 202527"/>
                <a:gd name="connsiteY28" fmla="*/ 18224 h 227999"/>
                <a:gd name="connsiteX29" fmla="*/ 171244 w 202527"/>
                <a:gd name="connsiteY29" fmla="*/ 19409 h 227999"/>
                <a:gd name="connsiteX30" fmla="*/ 173617 w 202527"/>
                <a:gd name="connsiteY30" fmla="*/ 20703 h 227999"/>
                <a:gd name="connsiteX31" fmla="*/ 174170 w 202527"/>
                <a:gd name="connsiteY31" fmla="*/ 22753 h 227999"/>
                <a:gd name="connsiteX32" fmla="*/ 173576 w 202527"/>
                <a:gd name="connsiteY32" fmla="*/ 23797 h 227999"/>
                <a:gd name="connsiteX33" fmla="*/ 171090 w 202527"/>
                <a:gd name="connsiteY33" fmla="*/ 22060 h 227999"/>
                <a:gd name="connsiteX34" fmla="*/ 168594 w 202527"/>
                <a:gd name="connsiteY34" fmla="*/ 22084 h 227999"/>
                <a:gd name="connsiteX35" fmla="*/ 167102 w 202527"/>
                <a:gd name="connsiteY35" fmla="*/ 24759 h 227999"/>
                <a:gd name="connsiteX36" fmla="*/ 165992 w 202527"/>
                <a:gd name="connsiteY36" fmla="*/ 24872 h 227999"/>
                <a:gd name="connsiteX37" fmla="*/ 162138 w 202527"/>
                <a:gd name="connsiteY37" fmla="*/ 22442 h 227999"/>
                <a:gd name="connsiteX38" fmla="*/ 161520 w 202527"/>
                <a:gd name="connsiteY38" fmla="*/ 21256 h 227999"/>
                <a:gd name="connsiteX39" fmla="*/ 161393 w 202527"/>
                <a:gd name="connsiteY39" fmla="*/ 20270 h 227999"/>
                <a:gd name="connsiteX40" fmla="*/ 161943 w 202527"/>
                <a:gd name="connsiteY40" fmla="*/ 16850 h 227999"/>
                <a:gd name="connsiteX41" fmla="*/ 161842 w 202527"/>
                <a:gd name="connsiteY41" fmla="*/ 15773 h 227999"/>
                <a:gd name="connsiteX42" fmla="*/ 163053 w 202527"/>
                <a:gd name="connsiteY42" fmla="*/ 14596 h 227999"/>
                <a:gd name="connsiteX43" fmla="*/ 163241 w 202527"/>
                <a:gd name="connsiteY43" fmla="*/ 12894 h 227999"/>
                <a:gd name="connsiteX44" fmla="*/ 165383 w 202527"/>
                <a:gd name="connsiteY44" fmla="*/ 11098 h 227999"/>
                <a:gd name="connsiteX45" fmla="*/ 58651 w 202527"/>
                <a:gd name="connsiteY45" fmla="*/ 9162 h 227999"/>
                <a:gd name="connsiteX46" fmla="*/ 60055 w 202527"/>
                <a:gd name="connsiteY46" fmla="*/ 9517 h 227999"/>
                <a:gd name="connsiteX47" fmla="*/ 60374 w 202527"/>
                <a:gd name="connsiteY47" fmla="*/ 10621 h 227999"/>
                <a:gd name="connsiteX48" fmla="*/ 59513 w 202527"/>
                <a:gd name="connsiteY48" fmla="*/ 11371 h 227999"/>
                <a:gd name="connsiteX49" fmla="*/ 57409 w 202527"/>
                <a:gd name="connsiteY49" fmla="*/ 11283 h 227999"/>
                <a:gd name="connsiteX50" fmla="*/ 56228 w 202527"/>
                <a:gd name="connsiteY50" fmla="*/ 10577 h 227999"/>
                <a:gd name="connsiteX51" fmla="*/ 56611 w 202527"/>
                <a:gd name="connsiteY51" fmla="*/ 9825 h 227999"/>
                <a:gd name="connsiteX52" fmla="*/ 57727 w 202527"/>
                <a:gd name="connsiteY52" fmla="*/ 9251 h 227999"/>
                <a:gd name="connsiteX53" fmla="*/ 62197 w 202527"/>
                <a:gd name="connsiteY53" fmla="*/ 4773 h 227999"/>
                <a:gd name="connsiteX54" fmla="*/ 62206 w 202527"/>
                <a:gd name="connsiteY54" fmla="*/ 4776 h 227999"/>
                <a:gd name="connsiteX55" fmla="*/ 66330 w 202527"/>
                <a:gd name="connsiteY55" fmla="*/ 4843 h 227999"/>
                <a:gd name="connsiteX56" fmla="*/ 67341 w 202527"/>
                <a:gd name="connsiteY56" fmla="*/ 4973 h 227999"/>
                <a:gd name="connsiteX57" fmla="*/ 73596 w 202527"/>
                <a:gd name="connsiteY57" fmla="*/ 6576 h 227999"/>
                <a:gd name="connsiteX58" fmla="*/ 75125 w 202527"/>
                <a:gd name="connsiteY58" fmla="*/ 7700 h 227999"/>
                <a:gd name="connsiteX59" fmla="*/ 77049 w 202527"/>
                <a:gd name="connsiteY59" fmla="*/ 7753 h 227999"/>
                <a:gd name="connsiteX60" fmla="*/ 80515 w 202527"/>
                <a:gd name="connsiteY60" fmla="*/ 6706 h 227999"/>
                <a:gd name="connsiteX61" fmla="*/ 83104 w 202527"/>
                <a:gd name="connsiteY61" fmla="*/ 6246 h 227999"/>
                <a:gd name="connsiteX62" fmla="*/ 84108 w 202527"/>
                <a:gd name="connsiteY62" fmla="*/ 6892 h 227999"/>
                <a:gd name="connsiteX63" fmla="*/ 85518 w 202527"/>
                <a:gd name="connsiteY63" fmla="*/ 7163 h 227999"/>
                <a:gd name="connsiteX64" fmla="*/ 85844 w 202527"/>
                <a:gd name="connsiteY64" fmla="*/ 7163 h 227999"/>
                <a:gd name="connsiteX65" fmla="*/ 85981 w 202527"/>
                <a:gd name="connsiteY65" fmla="*/ 7726 h 227999"/>
                <a:gd name="connsiteX66" fmla="*/ 89217 w 202527"/>
                <a:gd name="connsiteY66" fmla="*/ 8540 h 227999"/>
                <a:gd name="connsiteX67" fmla="*/ 90578 w 202527"/>
                <a:gd name="connsiteY67" fmla="*/ 9837 h 227999"/>
                <a:gd name="connsiteX68" fmla="*/ 92089 w 202527"/>
                <a:gd name="connsiteY68" fmla="*/ 11807 h 227999"/>
                <a:gd name="connsiteX69" fmla="*/ 92236 w 202527"/>
                <a:gd name="connsiteY69" fmla="*/ 14641 h 227999"/>
                <a:gd name="connsiteX70" fmla="*/ 90301 w 202527"/>
                <a:gd name="connsiteY70" fmla="*/ 16677 h 227999"/>
                <a:gd name="connsiteX71" fmla="*/ 88695 w 202527"/>
                <a:gd name="connsiteY71" fmla="*/ 17965 h 227999"/>
                <a:gd name="connsiteX72" fmla="*/ 94771 w 202527"/>
                <a:gd name="connsiteY72" fmla="*/ 17478 h 227999"/>
                <a:gd name="connsiteX73" fmla="*/ 95376 w 202527"/>
                <a:gd name="connsiteY73" fmla="*/ 18645 h 227999"/>
                <a:gd name="connsiteX74" fmla="*/ 96296 w 202527"/>
                <a:gd name="connsiteY74" fmla="*/ 19903 h 227999"/>
                <a:gd name="connsiteX75" fmla="*/ 99569 w 202527"/>
                <a:gd name="connsiteY75" fmla="*/ 19007 h 227999"/>
                <a:gd name="connsiteX76" fmla="*/ 107775 w 202527"/>
                <a:gd name="connsiteY76" fmla="*/ 22728 h 227999"/>
                <a:gd name="connsiteX77" fmla="*/ 112737 w 202527"/>
                <a:gd name="connsiteY77" fmla="*/ 20917 h 227999"/>
                <a:gd name="connsiteX78" fmla="*/ 114007 w 202527"/>
                <a:gd name="connsiteY78" fmla="*/ 20811 h 227999"/>
                <a:gd name="connsiteX79" fmla="*/ 115134 w 202527"/>
                <a:gd name="connsiteY79" fmla="*/ 23817 h 227999"/>
                <a:gd name="connsiteX80" fmla="*/ 113901 w 202527"/>
                <a:gd name="connsiteY80" fmla="*/ 26840 h 227999"/>
                <a:gd name="connsiteX81" fmla="*/ 109526 w 202527"/>
                <a:gd name="connsiteY81" fmla="*/ 30061 h 227999"/>
                <a:gd name="connsiteX82" fmla="*/ 110496 w 202527"/>
                <a:gd name="connsiteY82" fmla="*/ 32043 h 227999"/>
                <a:gd name="connsiteX83" fmla="*/ 111893 w 202527"/>
                <a:gd name="connsiteY83" fmla="*/ 32483 h 227999"/>
                <a:gd name="connsiteX84" fmla="*/ 116017 w 202527"/>
                <a:gd name="connsiteY84" fmla="*/ 32063 h 227999"/>
                <a:gd name="connsiteX85" fmla="*/ 122547 w 202527"/>
                <a:gd name="connsiteY85" fmla="*/ 34020 h 227999"/>
                <a:gd name="connsiteX86" fmla="*/ 123908 w 202527"/>
                <a:gd name="connsiteY86" fmla="*/ 33410 h 227999"/>
                <a:gd name="connsiteX87" fmla="*/ 129203 w 202527"/>
                <a:gd name="connsiteY87" fmla="*/ 28895 h 227999"/>
                <a:gd name="connsiteX88" fmla="*/ 131319 w 202527"/>
                <a:gd name="connsiteY88" fmla="*/ 27925 h 227999"/>
                <a:gd name="connsiteX89" fmla="*/ 138285 w 202527"/>
                <a:gd name="connsiteY89" fmla="*/ 27230 h 227999"/>
                <a:gd name="connsiteX90" fmla="*/ 139552 w 202527"/>
                <a:gd name="connsiteY90" fmla="*/ 25479 h 227999"/>
                <a:gd name="connsiteX91" fmla="*/ 142375 w 202527"/>
                <a:gd name="connsiteY91" fmla="*/ 23717 h 227999"/>
                <a:gd name="connsiteX92" fmla="*/ 144193 w 202527"/>
                <a:gd name="connsiteY92" fmla="*/ 21791 h 227999"/>
                <a:gd name="connsiteX93" fmla="*/ 148546 w 202527"/>
                <a:gd name="connsiteY93" fmla="*/ 18120 h 227999"/>
                <a:gd name="connsiteX94" fmla="*/ 153051 w 202527"/>
                <a:gd name="connsiteY94" fmla="*/ 18782 h 227999"/>
                <a:gd name="connsiteX95" fmla="*/ 155681 w 202527"/>
                <a:gd name="connsiteY95" fmla="*/ 19485 h 227999"/>
                <a:gd name="connsiteX96" fmla="*/ 158568 w 202527"/>
                <a:gd name="connsiteY96" fmla="*/ 19839 h 227999"/>
                <a:gd name="connsiteX97" fmla="*/ 161196 w 202527"/>
                <a:gd name="connsiteY97" fmla="*/ 23749 h 227999"/>
                <a:gd name="connsiteX98" fmla="*/ 167843 w 202527"/>
                <a:gd name="connsiteY98" fmla="*/ 28064 h 227999"/>
                <a:gd name="connsiteX99" fmla="*/ 173950 w 202527"/>
                <a:gd name="connsiteY99" fmla="*/ 27689 h 227999"/>
                <a:gd name="connsiteX100" fmla="*/ 176117 w 202527"/>
                <a:gd name="connsiteY100" fmla="*/ 31764 h 227999"/>
                <a:gd name="connsiteX101" fmla="*/ 177074 w 202527"/>
                <a:gd name="connsiteY101" fmla="*/ 36785 h 227999"/>
                <a:gd name="connsiteX102" fmla="*/ 178950 w 202527"/>
                <a:gd name="connsiteY102" fmla="*/ 38358 h 227999"/>
                <a:gd name="connsiteX103" fmla="*/ 180600 w 202527"/>
                <a:gd name="connsiteY103" fmla="*/ 39385 h 227999"/>
                <a:gd name="connsiteX104" fmla="*/ 185576 w 202527"/>
                <a:gd name="connsiteY104" fmla="*/ 40460 h 227999"/>
                <a:gd name="connsiteX105" fmla="*/ 185772 w 202527"/>
                <a:gd name="connsiteY105" fmla="*/ 40528 h 227999"/>
                <a:gd name="connsiteX106" fmla="*/ 185932 w 202527"/>
                <a:gd name="connsiteY106" fmla="*/ 41208 h 227999"/>
                <a:gd name="connsiteX107" fmla="*/ 186236 w 202527"/>
                <a:gd name="connsiteY107" fmla="*/ 43696 h 227999"/>
                <a:gd name="connsiteX108" fmla="*/ 186653 w 202527"/>
                <a:gd name="connsiteY108" fmla="*/ 45757 h 227999"/>
                <a:gd name="connsiteX109" fmla="*/ 189214 w 202527"/>
                <a:gd name="connsiteY109" fmla="*/ 53974 h 227999"/>
                <a:gd name="connsiteX110" fmla="*/ 189165 w 202527"/>
                <a:gd name="connsiteY110" fmla="*/ 55979 h 227999"/>
                <a:gd name="connsiteX111" fmla="*/ 189134 w 202527"/>
                <a:gd name="connsiteY111" fmla="*/ 56511 h 227999"/>
                <a:gd name="connsiteX112" fmla="*/ 188197 w 202527"/>
                <a:gd name="connsiteY112" fmla="*/ 59315 h 227999"/>
                <a:gd name="connsiteX113" fmla="*/ 186530 w 202527"/>
                <a:gd name="connsiteY113" fmla="*/ 61677 h 227999"/>
                <a:gd name="connsiteX114" fmla="*/ 184330 w 202527"/>
                <a:gd name="connsiteY114" fmla="*/ 63008 h 227999"/>
                <a:gd name="connsiteX115" fmla="*/ 183118 w 202527"/>
                <a:gd name="connsiteY115" fmla="*/ 64488 h 227999"/>
                <a:gd name="connsiteX116" fmla="*/ 182891 w 202527"/>
                <a:gd name="connsiteY116" fmla="*/ 66122 h 227999"/>
                <a:gd name="connsiteX117" fmla="*/ 185658 w 202527"/>
                <a:gd name="connsiteY117" fmla="*/ 68981 h 227999"/>
                <a:gd name="connsiteX118" fmla="*/ 191414 w 202527"/>
                <a:gd name="connsiteY118" fmla="*/ 73066 h 227999"/>
                <a:gd name="connsiteX119" fmla="*/ 193744 w 202527"/>
                <a:gd name="connsiteY119" fmla="*/ 76554 h 227999"/>
                <a:gd name="connsiteX120" fmla="*/ 192645 w 202527"/>
                <a:gd name="connsiteY120" fmla="*/ 79452 h 227999"/>
                <a:gd name="connsiteX121" fmla="*/ 192311 w 202527"/>
                <a:gd name="connsiteY121" fmla="*/ 81575 h 227999"/>
                <a:gd name="connsiteX122" fmla="*/ 192738 w 202527"/>
                <a:gd name="connsiteY122" fmla="*/ 82926 h 227999"/>
                <a:gd name="connsiteX123" fmla="*/ 193660 w 202527"/>
                <a:gd name="connsiteY123" fmla="*/ 84010 h 227999"/>
                <a:gd name="connsiteX124" fmla="*/ 195081 w 202527"/>
                <a:gd name="connsiteY124" fmla="*/ 84830 h 227999"/>
                <a:gd name="connsiteX125" fmla="*/ 195645 w 202527"/>
                <a:gd name="connsiteY125" fmla="*/ 86091 h 227999"/>
                <a:gd name="connsiteX126" fmla="*/ 195358 w 202527"/>
                <a:gd name="connsiteY126" fmla="*/ 87793 h 227999"/>
                <a:gd name="connsiteX127" fmla="*/ 195627 w 202527"/>
                <a:gd name="connsiteY127" fmla="*/ 88973 h 227999"/>
                <a:gd name="connsiteX128" fmla="*/ 196688 w 202527"/>
                <a:gd name="connsiteY128" fmla="*/ 89813 h 227999"/>
                <a:gd name="connsiteX129" fmla="*/ 196590 w 202527"/>
                <a:gd name="connsiteY129" fmla="*/ 90139 h 227999"/>
                <a:gd name="connsiteX130" fmla="*/ 196075 w 202527"/>
                <a:gd name="connsiteY130" fmla="*/ 91321 h 227999"/>
                <a:gd name="connsiteX131" fmla="*/ 195370 w 202527"/>
                <a:gd name="connsiteY131" fmla="*/ 93475 h 227999"/>
                <a:gd name="connsiteX132" fmla="*/ 194971 w 202527"/>
                <a:gd name="connsiteY132" fmla="*/ 95046 h 227999"/>
                <a:gd name="connsiteX133" fmla="*/ 193351 w 202527"/>
                <a:gd name="connsiteY133" fmla="*/ 97185 h 227999"/>
                <a:gd name="connsiteX134" fmla="*/ 193844 w 202527"/>
                <a:gd name="connsiteY134" fmla="*/ 99001 h 227999"/>
                <a:gd name="connsiteX135" fmla="*/ 195113 w 202527"/>
                <a:gd name="connsiteY135" fmla="*/ 101141 h 227999"/>
                <a:gd name="connsiteX136" fmla="*/ 196077 w 202527"/>
                <a:gd name="connsiteY136" fmla="*/ 102216 h 227999"/>
                <a:gd name="connsiteX137" fmla="*/ 196381 w 202527"/>
                <a:gd name="connsiteY137" fmla="*/ 103234 h 227999"/>
                <a:gd name="connsiteX138" fmla="*/ 195768 w 202527"/>
                <a:gd name="connsiteY138" fmla="*/ 105653 h 227999"/>
                <a:gd name="connsiteX139" fmla="*/ 196072 w 202527"/>
                <a:gd name="connsiteY139" fmla="*/ 106271 h 227999"/>
                <a:gd name="connsiteX140" fmla="*/ 200080 w 202527"/>
                <a:gd name="connsiteY140" fmla="*/ 108051 h 227999"/>
                <a:gd name="connsiteX141" fmla="*/ 200734 w 202527"/>
                <a:gd name="connsiteY141" fmla="*/ 108872 h 227999"/>
                <a:gd name="connsiteX142" fmla="*/ 201123 w 202527"/>
                <a:gd name="connsiteY142" fmla="*/ 110581 h 227999"/>
                <a:gd name="connsiteX143" fmla="*/ 202527 w 202527"/>
                <a:gd name="connsiteY143" fmla="*/ 114229 h 227999"/>
                <a:gd name="connsiteX144" fmla="*/ 201361 w 202527"/>
                <a:gd name="connsiteY144" fmla="*/ 118843 h 227999"/>
                <a:gd name="connsiteX145" fmla="*/ 200335 w 202527"/>
                <a:gd name="connsiteY145" fmla="*/ 121367 h 227999"/>
                <a:gd name="connsiteX146" fmla="*/ 198052 w 202527"/>
                <a:gd name="connsiteY146" fmla="*/ 125369 h 227999"/>
                <a:gd name="connsiteX147" fmla="*/ 197945 w 202527"/>
                <a:gd name="connsiteY147" fmla="*/ 125738 h 227999"/>
                <a:gd name="connsiteX148" fmla="*/ 197681 w 202527"/>
                <a:gd name="connsiteY148" fmla="*/ 126224 h 227999"/>
                <a:gd name="connsiteX149" fmla="*/ 196997 w 202527"/>
                <a:gd name="connsiteY149" fmla="*/ 126924 h 227999"/>
                <a:gd name="connsiteX150" fmla="*/ 196042 w 202527"/>
                <a:gd name="connsiteY150" fmla="*/ 127029 h 227999"/>
                <a:gd name="connsiteX151" fmla="*/ 194602 w 202527"/>
                <a:gd name="connsiteY151" fmla="*/ 126507 h 227999"/>
                <a:gd name="connsiteX152" fmla="*/ 193615 w 202527"/>
                <a:gd name="connsiteY152" fmla="*/ 125838 h 227999"/>
                <a:gd name="connsiteX153" fmla="*/ 193842 w 202527"/>
                <a:gd name="connsiteY153" fmla="*/ 124112 h 227999"/>
                <a:gd name="connsiteX154" fmla="*/ 193209 w 202527"/>
                <a:gd name="connsiteY154" fmla="*/ 123999 h 227999"/>
                <a:gd name="connsiteX155" fmla="*/ 192423 w 202527"/>
                <a:gd name="connsiteY155" fmla="*/ 122939 h 227999"/>
                <a:gd name="connsiteX156" fmla="*/ 192114 w 202527"/>
                <a:gd name="connsiteY156" fmla="*/ 121799 h 227999"/>
                <a:gd name="connsiteX157" fmla="*/ 191266 w 202527"/>
                <a:gd name="connsiteY157" fmla="*/ 121334 h 227999"/>
                <a:gd name="connsiteX158" fmla="*/ 188169 w 202527"/>
                <a:gd name="connsiteY158" fmla="*/ 120855 h 227999"/>
                <a:gd name="connsiteX159" fmla="*/ 187117 w 202527"/>
                <a:gd name="connsiteY159" fmla="*/ 120518 h 227999"/>
                <a:gd name="connsiteX160" fmla="*/ 186310 w 202527"/>
                <a:gd name="connsiteY160" fmla="*/ 120761 h 227999"/>
                <a:gd name="connsiteX161" fmla="*/ 185705 w 202527"/>
                <a:gd name="connsiteY161" fmla="*/ 121568 h 227999"/>
                <a:gd name="connsiteX162" fmla="*/ 186091 w 202527"/>
                <a:gd name="connsiteY162" fmla="*/ 122297 h 227999"/>
                <a:gd name="connsiteX163" fmla="*/ 186668 w 202527"/>
                <a:gd name="connsiteY163" fmla="*/ 123007 h 227999"/>
                <a:gd name="connsiteX164" fmla="*/ 188385 w 202527"/>
                <a:gd name="connsiteY164" fmla="*/ 124132 h 227999"/>
                <a:gd name="connsiteX165" fmla="*/ 188208 w 202527"/>
                <a:gd name="connsiteY165" fmla="*/ 124579 h 227999"/>
                <a:gd name="connsiteX166" fmla="*/ 184509 w 202527"/>
                <a:gd name="connsiteY166" fmla="*/ 125673 h 227999"/>
                <a:gd name="connsiteX167" fmla="*/ 182181 w 202527"/>
                <a:gd name="connsiteY167" fmla="*/ 126795 h 227999"/>
                <a:gd name="connsiteX168" fmla="*/ 180013 w 202527"/>
                <a:gd name="connsiteY168" fmla="*/ 127425 h 227999"/>
                <a:gd name="connsiteX169" fmla="*/ 177804 w 202527"/>
                <a:gd name="connsiteY169" fmla="*/ 128586 h 227999"/>
                <a:gd name="connsiteX170" fmla="*/ 173444 w 202527"/>
                <a:gd name="connsiteY170" fmla="*/ 129889 h 227999"/>
                <a:gd name="connsiteX171" fmla="*/ 170246 w 202527"/>
                <a:gd name="connsiteY171" fmla="*/ 130235 h 227999"/>
                <a:gd name="connsiteX172" fmla="*/ 169579 w 202527"/>
                <a:gd name="connsiteY172" fmla="*/ 130579 h 227999"/>
                <a:gd name="connsiteX173" fmla="*/ 168385 w 202527"/>
                <a:gd name="connsiteY173" fmla="*/ 132786 h 227999"/>
                <a:gd name="connsiteX174" fmla="*/ 167579 w 202527"/>
                <a:gd name="connsiteY174" fmla="*/ 133247 h 227999"/>
                <a:gd name="connsiteX175" fmla="*/ 166806 w 202527"/>
                <a:gd name="connsiteY175" fmla="*/ 133008 h 227999"/>
                <a:gd name="connsiteX176" fmla="*/ 166219 w 202527"/>
                <a:gd name="connsiteY176" fmla="*/ 132647 h 227999"/>
                <a:gd name="connsiteX177" fmla="*/ 165476 w 202527"/>
                <a:gd name="connsiteY177" fmla="*/ 132946 h 227999"/>
                <a:gd name="connsiteX178" fmla="*/ 164703 w 202527"/>
                <a:gd name="connsiteY178" fmla="*/ 133676 h 227999"/>
                <a:gd name="connsiteX179" fmla="*/ 163895 w 202527"/>
                <a:gd name="connsiteY179" fmla="*/ 133964 h 227999"/>
                <a:gd name="connsiteX180" fmla="*/ 163191 w 202527"/>
                <a:gd name="connsiteY180" fmla="*/ 133954 h 227999"/>
                <a:gd name="connsiteX181" fmla="*/ 161941 w 202527"/>
                <a:gd name="connsiteY181" fmla="*/ 135879 h 227999"/>
                <a:gd name="connsiteX182" fmla="*/ 158298 w 202527"/>
                <a:gd name="connsiteY182" fmla="*/ 136463 h 227999"/>
                <a:gd name="connsiteX183" fmla="*/ 157871 w 202527"/>
                <a:gd name="connsiteY183" fmla="*/ 137460 h 227999"/>
                <a:gd name="connsiteX184" fmla="*/ 157201 w 202527"/>
                <a:gd name="connsiteY184" fmla="*/ 138616 h 227999"/>
                <a:gd name="connsiteX185" fmla="*/ 156668 w 202527"/>
                <a:gd name="connsiteY185" fmla="*/ 138899 h 227999"/>
                <a:gd name="connsiteX186" fmla="*/ 155022 w 202527"/>
                <a:gd name="connsiteY186" fmla="*/ 138441 h 227999"/>
                <a:gd name="connsiteX187" fmla="*/ 152749 w 202527"/>
                <a:gd name="connsiteY187" fmla="*/ 138188 h 227999"/>
                <a:gd name="connsiteX188" fmla="*/ 151444 w 202527"/>
                <a:gd name="connsiteY188" fmla="*/ 138821 h 227999"/>
                <a:gd name="connsiteX189" fmla="*/ 149877 w 202527"/>
                <a:gd name="connsiteY189" fmla="*/ 139171 h 227999"/>
                <a:gd name="connsiteX190" fmla="*/ 147964 w 202527"/>
                <a:gd name="connsiteY190" fmla="*/ 139277 h 227999"/>
                <a:gd name="connsiteX191" fmla="*/ 145832 w 202527"/>
                <a:gd name="connsiteY191" fmla="*/ 140541 h 227999"/>
                <a:gd name="connsiteX192" fmla="*/ 143753 w 202527"/>
                <a:gd name="connsiteY192" fmla="*/ 142759 h 227999"/>
                <a:gd name="connsiteX193" fmla="*/ 142582 w 202527"/>
                <a:gd name="connsiteY193" fmla="*/ 144714 h 227999"/>
                <a:gd name="connsiteX194" fmla="*/ 141956 w 202527"/>
                <a:gd name="connsiteY194" fmla="*/ 145416 h 227999"/>
                <a:gd name="connsiteX195" fmla="*/ 140935 w 202527"/>
                <a:gd name="connsiteY195" fmla="*/ 143581 h 227999"/>
                <a:gd name="connsiteX196" fmla="*/ 139688 w 202527"/>
                <a:gd name="connsiteY196" fmla="*/ 142321 h 227999"/>
                <a:gd name="connsiteX197" fmla="*/ 138806 w 202527"/>
                <a:gd name="connsiteY197" fmla="*/ 141667 h 227999"/>
                <a:gd name="connsiteX198" fmla="*/ 138017 w 202527"/>
                <a:gd name="connsiteY198" fmla="*/ 141666 h 227999"/>
                <a:gd name="connsiteX199" fmla="*/ 137810 w 202527"/>
                <a:gd name="connsiteY199" fmla="*/ 141934 h 227999"/>
                <a:gd name="connsiteX200" fmla="*/ 137808 w 202527"/>
                <a:gd name="connsiteY200" fmla="*/ 142895 h 227999"/>
                <a:gd name="connsiteX201" fmla="*/ 138650 w 202527"/>
                <a:gd name="connsiteY201" fmla="*/ 144491 h 227999"/>
                <a:gd name="connsiteX202" fmla="*/ 139693 w 202527"/>
                <a:gd name="connsiteY202" fmla="*/ 145579 h 227999"/>
                <a:gd name="connsiteX203" fmla="*/ 139859 w 202527"/>
                <a:gd name="connsiteY203" fmla="*/ 146382 h 227999"/>
                <a:gd name="connsiteX204" fmla="*/ 140418 w 202527"/>
                <a:gd name="connsiteY204" fmla="*/ 147843 h 227999"/>
                <a:gd name="connsiteX205" fmla="*/ 141936 w 202527"/>
                <a:gd name="connsiteY205" fmla="*/ 149437 h 227999"/>
                <a:gd name="connsiteX206" fmla="*/ 144318 w 202527"/>
                <a:gd name="connsiteY206" fmla="*/ 150700 h 227999"/>
                <a:gd name="connsiteX207" fmla="*/ 145942 w 202527"/>
                <a:gd name="connsiteY207" fmla="*/ 151943 h 227999"/>
                <a:gd name="connsiteX208" fmla="*/ 147145 w 202527"/>
                <a:gd name="connsiteY208" fmla="*/ 153665 h 227999"/>
                <a:gd name="connsiteX209" fmla="*/ 147156 w 202527"/>
                <a:gd name="connsiteY209" fmla="*/ 154194 h 227999"/>
                <a:gd name="connsiteX210" fmla="*/ 146825 w 202527"/>
                <a:gd name="connsiteY210" fmla="*/ 154897 h 227999"/>
                <a:gd name="connsiteX211" fmla="*/ 146257 w 202527"/>
                <a:gd name="connsiteY211" fmla="*/ 155559 h 227999"/>
                <a:gd name="connsiteX212" fmla="*/ 145778 w 202527"/>
                <a:gd name="connsiteY212" fmla="*/ 156421 h 227999"/>
                <a:gd name="connsiteX213" fmla="*/ 144459 w 202527"/>
                <a:gd name="connsiteY213" fmla="*/ 158163 h 227999"/>
                <a:gd name="connsiteX214" fmla="*/ 144849 w 202527"/>
                <a:gd name="connsiteY214" fmla="*/ 158924 h 227999"/>
                <a:gd name="connsiteX215" fmla="*/ 145929 w 202527"/>
                <a:gd name="connsiteY215" fmla="*/ 159885 h 227999"/>
                <a:gd name="connsiteX216" fmla="*/ 146886 w 202527"/>
                <a:gd name="connsiteY216" fmla="*/ 161038 h 227999"/>
                <a:gd name="connsiteX217" fmla="*/ 148112 w 202527"/>
                <a:gd name="connsiteY217" fmla="*/ 162901 h 227999"/>
                <a:gd name="connsiteX218" fmla="*/ 149799 w 202527"/>
                <a:gd name="connsiteY218" fmla="*/ 166162 h 227999"/>
                <a:gd name="connsiteX219" fmla="*/ 150885 w 202527"/>
                <a:gd name="connsiteY219" fmla="*/ 167503 h 227999"/>
                <a:gd name="connsiteX220" fmla="*/ 152360 w 202527"/>
                <a:gd name="connsiteY220" fmla="*/ 168887 h 227999"/>
                <a:gd name="connsiteX221" fmla="*/ 153809 w 202527"/>
                <a:gd name="connsiteY221" fmla="*/ 169943 h 227999"/>
                <a:gd name="connsiteX222" fmla="*/ 156093 w 202527"/>
                <a:gd name="connsiteY222" fmla="*/ 169911 h 227999"/>
                <a:gd name="connsiteX223" fmla="*/ 158460 w 202527"/>
                <a:gd name="connsiteY223" fmla="*/ 171925 h 227999"/>
                <a:gd name="connsiteX224" fmla="*/ 161043 w 202527"/>
                <a:gd name="connsiteY224" fmla="*/ 174835 h 227999"/>
                <a:gd name="connsiteX225" fmla="*/ 162973 w 202527"/>
                <a:gd name="connsiteY225" fmla="*/ 176169 h 227999"/>
                <a:gd name="connsiteX226" fmla="*/ 164321 w 202527"/>
                <a:gd name="connsiteY226" fmla="*/ 176575 h 227999"/>
                <a:gd name="connsiteX227" fmla="*/ 165433 w 202527"/>
                <a:gd name="connsiteY227" fmla="*/ 177622 h 227999"/>
                <a:gd name="connsiteX228" fmla="*/ 166420 w 202527"/>
                <a:gd name="connsiteY228" fmla="*/ 179127 h 227999"/>
                <a:gd name="connsiteX229" fmla="*/ 166806 w 202527"/>
                <a:gd name="connsiteY229" fmla="*/ 179997 h 227999"/>
                <a:gd name="connsiteX230" fmla="*/ 167681 w 202527"/>
                <a:gd name="connsiteY230" fmla="*/ 180625 h 227999"/>
                <a:gd name="connsiteX231" fmla="*/ 170045 w 202527"/>
                <a:gd name="connsiteY231" fmla="*/ 180508 h 227999"/>
                <a:gd name="connsiteX232" fmla="*/ 173081 w 202527"/>
                <a:gd name="connsiteY232" fmla="*/ 182873 h 227999"/>
                <a:gd name="connsiteX233" fmla="*/ 174960 w 202527"/>
                <a:gd name="connsiteY233" fmla="*/ 184603 h 227999"/>
                <a:gd name="connsiteX234" fmla="*/ 175951 w 202527"/>
                <a:gd name="connsiteY234" fmla="*/ 185999 h 227999"/>
                <a:gd name="connsiteX235" fmla="*/ 175690 w 202527"/>
                <a:gd name="connsiteY235" fmla="*/ 186552 h 227999"/>
                <a:gd name="connsiteX236" fmla="*/ 175569 w 202527"/>
                <a:gd name="connsiteY236" fmla="*/ 188289 h 227999"/>
                <a:gd name="connsiteX237" fmla="*/ 175599 w 202527"/>
                <a:gd name="connsiteY237" fmla="*/ 190129 h 227999"/>
                <a:gd name="connsiteX238" fmla="*/ 175301 w 202527"/>
                <a:gd name="connsiteY238" fmla="*/ 191102 h 227999"/>
                <a:gd name="connsiteX239" fmla="*/ 173943 w 202527"/>
                <a:gd name="connsiteY239" fmla="*/ 192382 h 227999"/>
                <a:gd name="connsiteX240" fmla="*/ 173241 w 202527"/>
                <a:gd name="connsiteY240" fmla="*/ 192654 h 227999"/>
                <a:gd name="connsiteX241" fmla="*/ 172866 w 202527"/>
                <a:gd name="connsiteY241" fmla="*/ 192930 h 227999"/>
                <a:gd name="connsiteX242" fmla="*/ 168696 w 202527"/>
                <a:gd name="connsiteY242" fmla="*/ 191261 h 227999"/>
                <a:gd name="connsiteX243" fmla="*/ 168365 w 202527"/>
                <a:gd name="connsiteY243" fmla="*/ 191546 h 227999"/>
                <a:gd name="connsiteX244" fmla="*/ 168104 w 202527"/>
                <a:gd name="connsiteY244" fmla="*/ 191752 h 227999"/>
                <a:gd name="connsiteX245" fmla="*/ 166988 w 202527"/>
                <a:gd name="connsiteY245" fmla="*/ 196586 h 227999"/>
                <a:gd name="connsiteX246" fmla="*/ 166219 w 202527"/>
                <a:gd name="connsiteY246" fmla="*/ 197514 h 227999"/>
                <a:gd name="connsiteX247" fmla="*/ 165074 w 202527"/>
                <a:gd name="connsiteY247" fmla="*/ 198368 h 227999"/>
                <a:gd name="connsiteX248" fmla="*/ 162695 w 202527"/>
                <a:gd name="connsiteY248" fmla="*/ 199199 h 227999"/>
                <a:gd name="connsiteX249" fmla="*/ 161041 w 202527"/>
                <a:gd name="connsiteY249" fmla="*/ 199537 h 227999"/>
                <a:gd name="connsiteX250" fmla="*/ 159752 w 202527"/>
                <a:gd name="connsiteY250" fmla="*/ 199958 h 227999"/>
                <a:gd name="connsiteX251" fmla="*/ 155668 w 202527"/>
                <a:gd name="connsiteY251" fmla="*/ 201977 h 227999"/>
                <a:gd name="connsiteX252" fmla="*/ 153828 w 202527"/>
                <a:gd name="connsiteY252" fmla="*/ 203189 h 227999"/>
                <a:gd name="connsiteX253" fmla="*/ 152636 w 202527"/>
                <a:gd name="connsiteY253" fmla="*/ 204711 h 227999"/>
                <a:gd name="connsiteX254" fmla="*/ 152630 w 202527"/>
                <a:gd name="connsiteY254" fmla="*/ 205587 h 227999"/>
                <a:gd name="connsiteX255" fmla="*/ 154616 w 202527"/>
                <a:gd name="connsiteY255" fmla="*/ 208160 h 227999"/>
                <a:gd name="connsiteX256" fmla="*/ 156908 w 202527"/>
                <a:gd name="connsiteY256" fmla="*/ 210815 h 227999"/>
                <a:gd name="connsiteX257" fmla="*/ 156923 w 202527"/>
                <a:gd name="connsiteY257" fmla="*/ 213149 h 227999"/>
                <a:gd name="connsiteX258" fmla="*/ 155908 w 202527"/>
                <a:gd name="connsiteY258" fmla="*/ 214893 h 227999"/>
                <a:gd name="connsiteX259" fmla="*/ 155672 w 202527"/>
                <a:gd name="connsiteY259" fmla="*/ 215567 h 227999"/>
                <a:gd name="connsiteX260" fmla="*/ 156346 w 202527"/>
                <a:gd name="connsiteY260" fmla="*/ 215820 h 227999"/>
                <a:gd name="connsiteX261" fmla="*/ 157616 w 202527"/>
                <a:gd name="connsiteY261" fmla="*/ 215917 h 227999"/>
                <a:gd name="connsiteX262" fmla="*/ 158678 w 202527"/>
                <a:gd name="connsiteY262" fmla="*/ 216217 h 227999"/>
                <a:gd name="connsiteX263" fmla="*/ 159132 w 202527"/>
                <a:gd name="connsiteY263" fmla="*/ 217443 h 227999"/>
                <a:gd name="connsiteX264" fmla="*/ 158996 w 202527"/>
                <a:gd name="connsiteY264" fmla="*/ 219578 h 227999"/>
                <a:gd name="connsiteX265" fmla="*/ 158633 w 202527"/>
                <a:gd name="connsiteY265" fmla="*/ 221575 h 227999"/>
                <a:gd name="connsiteX266" fmla="*/ 158253 w 202527"/>
                <a:gd name="connsiteY266" fmla="*/ 222415 h 227999"/>
                <a:gd name="connsiteX267" fmla="*/ 157229 w 202527"/>
                <a:gd name="connsiteY267" fmla="*/ 222482 h 227999"/>
                <a:gd name="connsiteX268" fmla="*/ 155258 w 202527"/>
                <a:gd name="connsiteY268" fmla="*/ 221619 h 227999"/>
                <a:gd name="connsiteX269" fmla="*/ 153720 w 202527"/>
                <a:gd name="connsiteY269" fmla="*/ 220616 h 227999"/>
                <a:gd name="connsiteX270" fmla="*/ 153133 w 202527"/>
                <a:gd name="connsiteY270" fmla="*/ 219999 h 227999"/>
                <a:gd name="connsiteX271" fmla="*/ 153096 w 202527"/>
                <a:gd name="connsiteY271" fmla="*/ 219261 h 227999"/>
                <a:gd name="connsiteX272" fmla="*/ 153429 w 202527"/>
                <a:gd name="connsiteY272" fmla="*/ 218795 h 227999"/>
                <a:gd name="connsiteX273" fmla="*/ 152880 w 202527"/>
                <a:gd name="connsiteY273" fmla="*/ 217885 h 227999"/>
                <a:gd name="connsiteX274" fmla="*/ 150989 w 202527"/>
                <a:gd name="connsiteY274" fmla="*/ 217044 h 227999"/>
                <a:gd name="connsiteX275" fmla="*/ 148963 w 202527"/>
                <a:gd name="connsiteY275" fmla="*/ 217410 h 227999"/>
                <a:gd name="connsiteX276" fmla="*/ 147467 w 202527"/>
                <a:gd name="connsiteY276" fmla="*/ 217977 h 227999"/>
                <a:gd name="connsiteX277" fmla="*/ 146502 w 202527"/>
                <a:gd name="connsiteY277" fmla="*/ 217944 h 227999"/>
                <a:gd name="connsiteX278" fmla="*/ 145459 w 202527"/>
                <a:gd name="connsiteY278" fmla="*/ 217134 h 227999"/>
                <a:gd name="connsiteX279" fmla="*/ 143854 w 202527"/>
                <a:gd name="connsiteY279" fmla="*/ 216514 h 227999"/>
                <a:gd name="connsiteX280" fmla="*/ 141757 w 202527"/>
                <a:gd name="connsiteY280" fmla="*/ 216105 h 227999"/>
                <a:gd name="connsiteX281" fmla="*/ 140451 w 202527"/>
                <a:gd name="connsiteY281" fmla="*/ 215668 h 227999"/>
                <a:gd name="connsiteX282" fmla="*/ 140176 w 202527"/>
                <a:gd name="connsiteY282" fmla="*/ 215926 h 227999"/>
                <a:gd name="connsiteX283" fmla="*/ 140330 w 202527"/>
                <a:gd name="connsiteY283" fmla="*/ 217679 h 227999"/>
                <a:gd name="connsiteX284" fmla="*/ 139928 w 202527"/>
                <a:gd name="connsiteY284" fmla="*/ 218444 h 227999"/>
                <a:gd name="connsiteX285" fmla="*/ 129561 w 202527"/>
                <a:gd name="connsiteY285" fmla="*/ 219456 h 227999"/>
                <a:gd name="connsiteX286" fmla="*/ 126402 w 202527"/>
                <a:gd name="connsiteY286" fmla="*/ 220404 h 227999"/>
                <a:gd name="connsiteX287" fmla="*/ 124102 w 202527"/>
                <a:gd name="connsiteY287" fmla="*/ 221629 h 227999"/>
                <a:gd name="connsiteX288" fmla="*/ 122400 w 202527"/>
                <a:gd name="connsiteY288" fmla="*/ 222160 h 227999"/>
                <a:gd name="connsiteX289" fmla="*/ 121984 w 202527"/>
                <a:gd name="connsiteY289" fmla="*/ 222915 h 227999"/>
                <a:gd name="connsiteX290" fmla="*/ 120299 w 202527"/>
                <a:gd name="connsiteY290" fmla="*/ 223906 h 227999"/>
                <a:gd name="connsiteX291" fmla="*/ 118397 w 202527"/>
                <a:gd name="connsiteY291" fmla="*/ 224223 h 227999"/>
                <a:gd name="connsiteX292" fmla="*/ 117939 w 202527"/>
                <a:gd name="connsiteY292" fmla="*/ 223898 h 227999"/>
                <a:gd name="connsiteX293" fmla="*/ 116719 w 202527"/>
                <a:gd name="connsiteY293" fmla="*/ 224356 h 227999"/>
                <a:gd name="connsiteX294" fmla="*/ 114640 w 202527"/>
                <a:gd name="connsiteY294" fmla="*/ 224797 h 227999"/>
                <a:gd name="connsiteX295" fmla="*/ 113288 w 202527"/>
                <a:gd name="connsiteY295" fmla="*/ 224657 h 227999"/>
                <a:gd name="connsiteX296" fmla="*/ 112653 w 202527"/>
                <a:gd name="connsiteY296" fmla="*/ 223856 h 227999"/>
                <a:gd name="connsiteX297" fmla="*/ 111366 w 202527"/>
                <a:gd name="connsiteY297" fmla="*/ 222629 h 227999"/>
                <a:gd name="connsiteX298" fmla="*/ 110850 w 202527"/>
                <a:gd name="connsiteY298" fmla="*/ 221778 h 227999"/>
                <a:gd name="connsiteX299" fmla="*/ 110904 w 202527"/>
                <a:gd name="connsiteY299" fmla="*/ 221233 h 227999"/>
                <a:gd name="connsiteX300" fmla="*/ 107997 w 202527"/>
                <a:gd name="connsiteY300" fmla="*/ 221123 h 227999"/>
                <a:gd name="connsiteX301" fmla="*/ 106164 w 202527"/>
                <a:gd name="connsiteY301" fmla="*/ 220475 h 227999"/>
                <a:gd name="connsiteX302" fmla="*/ 102275 w 202527"/>
                <a:gd name="connsiteY302" fmla="*/ 220627 h 227999"/>
                <a:gd name="connsiteX303" fmla="*/ 101316 w 202527"/>
                <a:gd name="connsiteY303" fmla="*/ 220353 h 227999"/>
                <a:gd name="connsiteX304" fmla="*/ 101116 w 202527"/>
                <a:gd name="connsiteY304" fmla="*/ 220647 h 227999"/>
                <a:gd name="connsiteX305" fmla="*/ 100530 w 202527"/>
                <a:gd name="connsiteY305" fmla="*/ 224128 h 227999"/>
                <a:gd name="connsiteX306" fmla="*/ 99761 w 202527"/>
                <a:gd name="connsiteY306" fmla="*/ 225556 h 227999"/>
                <a:gd name="connsiteX307" fmla="*/ 98515 w 202527"/>
                <a:gd name="connsiteY307" fmla="*/ 227030 h 227999"/>
                <a:gd name="connsiteX308" fmla="*/ 96920 w 202527"/>
                <a:gd name="connsiteY308" fmla="*/ 227850 h 227999"/>
                <a:gd name="connsiteX309" fmla="*/ 95646 w 202527"/>
                <a:gd name="connsiteY309" fmla="*/ 227999 h 227999"/>
                <a:gd name="connsiteX310" fmla="*/ 95706 w 202527"/>
                <a:gd name="connsiteY310" fmla="*/ 226925 h 227999"/>
                <a:gd name="connsiteX311" fmla="*/ 96028 w 202527"/>
                <a:gd name="connsiteY311" fmla="*/ 225630 h 227999"/>
                <a:gd name="connsiteX312" fmla="*/ 95110 w 202527"/>
                <a:gd name="connsiteY312" fmla="*/ 225326 h 227999"/>
                <a:gd name="connsiteX313" fmla="*/ 93732 w 202527"/>
                <a:gd name="connsiteY313" fmla="*/ 225177 h 227999"/>
                <a:gd name="connsiteX314" fmla="*/ 93065 w 202527"/>
                <a:gd name="connsiteY314" fmla="*/ 224791 h 227999"/>
                <a:gd name="connsiteX315" fmla="*/ 93240 w 202527"/>
                <a:gd name="connsiteY315" fmla="*/ 223805 h 227999"/>
                <a:gd name="connsiteX316" fmla="*/ 92923 w 202527"/>
                <a:gd name="connsiteY316" fmla="*/ 223229 h 227999"/>
                <a:gd name="connsiteX317" fmla="*/ 92353 w 202527"/>
                <a:gd name="connsiteY317" fmla="*/ 222541 h 227999"/>
                <a:gd name="connsiteX318" fmla="*/ 90971 w 202527"/>
                <a:gd name="connsiteY318" fmla="*/ 221651 h 227999"/>
                <a:gd name="connsiteX319" fmla="*/ 88042 w 202527"/>
                <a:gd name="connsiteY319" fmla="*/ 220332 h 227999"/>
                <a:gd name="connsiteX320" fmla="*/ 86047 w 202527"/>
                <a:gd name="connsiteY320" fmla="*/ 219680 h 227999"/>
                <a:gd name="connsiteX321" fmla="*/ 85300 w 202527"/>
                <a:gd name="connsiteY321" fmla="*/ 220374 h 227999"/>
                <a:gd name="connsiteX322" fmla="*/ 83873 w 202527"/>
                <a:gd name="connsiteY322" fmla="*/ 221074 h 227999"/>
                <a:gd name="connsiteX323" fmla="*/ 81625 w 202527"/>
                <a:gd name="connsiteY323" fmla="*/ 220845 h 227999"/>
                <a:gd name="connsiteX324" fmla="*/ 81074 w 202527"/>
                <a:gd name="connsiteY324" fmla="*/ 221120 h 227999"/>
                <a:gd name="connsiteX325" fmla="*/ 77226 w 202527"/>
                <a:gd name="connsiteY325" fmla="*/ 219023 h 227999"/>
                <a:gd name="connsiteX326" fmla="*/ 73529 w 202527"/>
                <a:gd name="connsiteY326" fmla="*/ 217005 h 227999"/>
                <a:gd name="connsiteX327" fmla="*/ 72307 w 202527"/>
                <a:gd name="connsiteY327" fmla="*/ 217005 h 227999"/>
                <a:gd name="connsiteX328" fmla="*/ 66859 w 202527"/>
                <a:gd name="connsiteY328" fmla="*/ 217408 h 227999"/>
                <a:gd name="connsiteX329" fmla="*/ 66701 w 202527"/>
                <a:gd name="connsiteY329" fmla="*/ 217230 h 227999"/>
                <a:gd name="connsiteX330" fmla="*/ 65753 w 202527"/>
                <a:gd name="connsiteY330" fmla="*/ 216080 h 227999"/>
                <a:gd name="connsiteX331" fmla="*/ 64911 w 202527"/>
                <a:gd name="connsiteY331" fmla="*/ 215716 h 227999"/>
                <a:gd name="connsiteX332" fmla="*/ 64404 w 202527"/>
                <a:gd name="connsiteY332" fmla="*/ 215903 h 227999"/>
                <a:gd name="connsiteX333" fmla="*/ 64065 w 202527"/>
                <a:gd name="connsiteY333" fmla="*/ 216237 h 227999"/>
                <a:gd name="connsiteX334" fmla="*/ 63480 w 202527"/>
                <a:gd name="connsiteY334" fmla="*/ 216180 h 227999"/>
                <a:gd name="connsiteX335" fmla="*/ 61037 w 202527"/>
                <a:gd name="connsiteY335" fmla="*/ 214322 h 227999"/>
                <a:gd name="connsiteX336" fmla="*/ 60038 w 202527"/>
                <a:gd name="connsiteY336" fmla="*/ 214054 h 227999"/>
                <a:gd name="connsiteX337" fmla="*/ 58649 w 202527"/>
                <a:gd name="connsiteY337" fmla="*/ 214300 h 227999"/>
                <a:gd name="connsiteX338" fmla="*/ 57010 w 202527"/>
                <a:gd name="connsiteY338" fmla="*/ 215300 h 227999"/>
                <a:gd name="connsiteX339" fmla="*/ 56295 w 202527"/>
                <a:gd name="connsiteY339" fmla="*/ 216525 h 227999"/>
                <a:gd name="connsiteX340" fmla="*/ 56513 w 202527"/>
                <a:gd name="connsiteY340" fmla="*/ 217230 h 227999"/>
                <a:gd name="connsiteX341" fmla="*/ 57364 w 202527"/>
                <a:gd name="connsiteY341" fmla="*/ 217537 h 227999"/>
                <a:gd name="connsiteX342" fmla="*/ 59588 w 202527"/>
                <a:gd name="connsiteY342" fmla="*/ 217331 h 227999"/>
                <a:gd name="connsiteX343" fmla="*/ 59914 w 202527"/>
                <a:gd name="connsiteY343" fmla="*/ 217534 h 227999"/>
                <a:gd name="connsiteX344" fmla="*/ 59990 w 202527"/>
                <a:gd name="connsiteY344" fmla="*/ 217930 h 227999"/>
                <a:gd name="connsiteX345" fmla="*/ 59746 w 202527"/>
                <a:gd name="connsiteY345" fmla="*/ 218318 h 227999"/>
                <a:gd name="connsiteX346" fmla="*/ 57937 w 202527"/>
                <a:gd name="connsiteY346" fmla="*/ 218636 h 227999"/>
                <a:gd name="connsiteX347" fmla="*/ 57414 w 202527"/>
                <a:gd name="connsiteY347" fmla="*/ 219099 h 227999"/>
                <a:gd name="connsiteX348" fmla="*/ 56885 w 202527"/>
                <a:gd name="connsiteY348" fmla="*/ 219213 h 227999"/>
                <a:gd name="connsiteX349" fmla="*/ 56546 w 202527"/>
                <a:gd name="connsiteY349" fmla="*/ 219285 h 227999"/>
                <a:gd name="connsiteX350" fmla="*/ 54624 w 202527"/>
                <a:gd name="connsiteY350" fmla="*/ 218798 h 227999"/>
                <a:gd name="connsiteX351" fmla="*/ 51759 w 202527"/>
                <a:gd name="connsiteY351" fmla="*/ 218798 h 227999"/>
                <a:gd name="connsiteX352" fmla="*/ 49448 w 202527"/>
                <a:gd name="connsiteY352" fmla="*/ 219662 h 227999"/>
                <a:gd name="connsiteX353" fmla="*/ 45762 w 202527"/>
                <a:gd name="connsiteY353" fmla="*/ 220007 h 227999"/>
                <a:gd name="connsiteX354" fmla="*/ 40698 w 202527"/>
                <a:gd name="connsiteY354" fmla="*/ 219838 h 227999"/>
                <a:gd name="connsiteX355" fmla="*/ 38876 w 202527"/>
                <a:gd name="connsiteY355" fmla="*/ 219197 h 227999"/>
                <a:gd name="connsiteX356" fmla="*/ 37766 w 202527"/>
                <a:gd name="connsiteY356" fmla="*/ 218809 h 227999"/>
                <a:gd name="connsiteX357" fmla="*/ 36969 w 202527"/>
                <a:gd name="connsiteY357" fmla="*/ 216916 h 227999"/>
                <a:gd name="connsiteX358" fmla="*/ 37172 w 202527"/>
                <a:gd name="connsiteY358" fmla="*/ 214110 h 227999"/>
                <a:gd name="connsiteX359" fmla="*/ 38381 w 202527"/>
                <a:gd name="connsiteY359" fmla="*/ 210391 h 227999"/>
                <a:gd name="connsiteX360" fmla="*/ 38718 w 202527"/>
                <a:gd name="connsiteY360" fmla="*/ 207658 h 227999"/>
                <a:gd name="connsiteX361" fmla="*/ 38180 w 202527"/>
                <a:gd name="connsiteY361" fmla="*/ 205916 h 227999"/>
                <a:gd name="connsiteX362" fmla="*/ 38897 w 202527"/>
                <a:gd name="connsiteY362" fmla="*/ 203303 h 227999"/>
                <a:gd name="connsiteX363" fmla="*/ 40867 w 202527"/>
                <a:gd name="connsiteY363" fmla="*/ 199818 h 227999"/>
                <a:gd name="connsiteX364" fmla="*/ 42182 w 202527"/>
                <a:gd name="connsiteY364" fmla="*/ 196136 h 227999"/>
                <a:gd name="connsiteX365" fmla="*/ 42838 w 202527"/>
                <a:gd name="connsiteY365" fmla="*/ 192255 h 227999"/>
                <a:gd name="connsiteX366" fmla="*/ 43792 w 202527"/>
                <a:gd name="connsiteY366" fmla="*/ 189722 h 227999"/>
                <a:gd name="connsiteX367" fmla="*/ 45667 w 202527"/>
                <a:gd name="connsiteY367" fmla="*/ 187945 h 227999"/>
                <a:gd name="connsiteX368" fmla="*/ 50117 w 202527"/>
                <a:gd name="connsiteY368" fmla="*/ 182971 h 227999"/>
                <a:gd name="connsiteX369" fmla="*/ 50478 w 202527"/>
                <a:gd name="connsiteY369" fmla="*/ 182596 h 227999"/>
                <a:gd name="connsiteX370" fmla="*/ 50357 w 202527"/>
                <a:gd name="connsiteY370" fmla="*/ 180111 h 227999"/>
                <a:gd name="connsiteX371" fmla="*/ 49158 w 202527"/>
                <a:gd name="connsiteY371" fmla="*/ 179760 h 227999"/>
                <a:gd name="connsiteX372" fmla="*/ 47403 w 202527"/>
                <a:gd name="connsiteY372" fmla="*/ 179046 h 227999"/>
                <a:gd name="connsiteX373" fmla="*/ 42935 w 202527"/>
                <a:gd name="connsiteY373" fmla="*/ 178162 h 227999"/>
                <a:gd name="connsiteX374" fmla="*/ 38772 w 202527"/>
                <a:gd name="connsiteY374" fmla="*/ 177595 h 227999"/>
                <a:gd name="connsiteX375" fmla="*/ 36882 w 202527"/>
                <a:gd name="connsiteY375" fmla="*/ 176892 h 227999"/>
                <a:gd name="connsiteX376" fmla="*/ 35226 w 202527"/>
                <a:gd name="connsiteY376" fmla="*/ 175011 h 227999"/>
                <a:gd name="connsiteX377" fmla="*/ 34200 w 202527"/>
                <a:gd name="connsiteY377" fmla="*/ 174986 h 227999"/>
                <a:gd name="connsiteX378" fmla="*/ 32192 w 202527"/>
                <a:gd name="connsiteY378" fmla="*/ 175659 h 227999"/>
                <a:gd name="connsiteX379" fmla="*/ 29683 w 202527"/>
                <a:gd name="connsiteY379" fmla="*/ 176114 h 227999"/>
                <a:gd name="connsiteX380" fmla="*/ 27859 w 202527"/>
                <a:gd name="connsiteY380" fmla="*/ 175716 h 227999"/>
                <a:gd name="connsiteX381" fmla="*/ 26716 w 202527"/>
                <a:gd name="connsiteY381" fmla="*/ 175793 h 227999"/>
                <a:gd name="connsiteX382" fmla="*/ 26075 w 202527"/>
                <a:gd name="connsiteY382" fmla="*/ 176140 h 227999"/>
                <a:gd name="connsiteX383" fmla="*/ 25753 w 202527"/>
                <a:gd name="connsiteY383" fmla="*/ 175833 h 227999"/>
                <a:gd name="connsiteX384" fmla="*/ 25295 w 202527"/>
                <a:gd name="connsiteY384" fmla="*/ 174220 h 227999"/>
                <a:gd name="connsiteX385" fmla="*/ 24341 w 202527"/>
                <a:gd name="connsiteY385" fmla="*/ 173798 h 227999"/>
                <a:gd name="connsiteX386" fmla="*/ 22857 w 202527"/>
                <a:gd name="connsiteY386" fmla="*/ 173429 h 227999"/>
                <a:gd name="connsiteX387" fmla="*/ 21935 w 202527"/>
                <a:gd name="connsiteY387" fmla="*/ 173589 h 227999"/>
                <a:gd name="connsiteX388" fmla="*/ 21298 w 202527"/>
                <a:gd name="connsiteY388" fmla="*/ 174390 h 227999"/>
                <a:gd name="connsiteX389" fmla="*/ 20316 w 202527"/>
                <a:gd name="connsiteY389" fmla="*/ 174955 h 227999"/>
                <a:gd name="connsiteX390" fmla="*/ 19413 w 202527"/>
                <a:gd name="connsiteY390" fmla="*/ 174771 h 227999"/>
                <a:gd name="connsiteX391" fmla="*/ 16586 w 202527"/>
                <a:gd name="connsiteY391" fmla="*/ 171044 h 227999"/>
                <a:gd name="connsiteX392" fmla="*/ 15858 w 202527"/>
                <a:gd name="connsiteY392" fmla="*/ 170219 h 227999"/>
                <a:gd name="connsiteX393" fmla="*/ 15673 w 202527"/>
                <a:gd name="connsiteY393" fmla="*/ 169460 h 227999"/>
                <a:gd name="connsiteX394" fmla="*/ 14965 w 202527"/>
                <a:gd name="connsiteY394" fmla="*/ 168071 h 227999"/>
                <a:gd name="connsiteX395" fmla="*/ 13280 w 202527"/>
                <a:gd name="connsiteY395" fmla="*/ 166689 h 227999"/>
                <a:gd name="connsiteX396" fmla="*/ 11603 w 202527"/>
                <a:gd name="connsiteY396" fmla="*/ 166251 h 227999"/>
                <a:gd name="connsiteX397" fmla="*/ 10765 w 202527"/>
                <a:gd name="connsiteY397" fmla="*/ 166406 h 227999"/>
                <a:gd name="connsiteX398" fmla="*/ 10855 w 202527"/>
                <a:gd name="connsiteY398" fmla="*/ 164686 h 227999"/>
                <a:gd name="connsiteX399" fmla="*/ 11516 w 202527"/>
                <a:gd name="connsiteY399" fmla="*/ 162190 h 227999"/>
                <a:gd name="connsiteX400" fmla="*/ 12144 w 202527"/>
                <a:gd name="connsiteY400" fmla="*/ 160886 h 227999"/>
                <a:gd name="connsiteX401" fmla="*/ 12982 w 202527"/>
                <a:gd name="connsiteY401" fmla="*/ 159820 h 227999"/>
                <a:gd name="connsiteX402" fmla="*/ 13870 w 202527"/>
                <a:gd name="connsiteY402" fmla="*/ 159079 h 227999"/>
                <a:gd name="connsiteX403" fmla="*/ 14069 w 202527"/>
                <a:gd name="connsiteY403" fmla="*/ 157738 h 227999"/>
                <a:gd name="connsiteX404" fmla="*/ 13926 w 202527"/>
                <a:gd name="connsiteY404" fmla="*/ 156469 h 227999"/>
                <a:gd name="connsiteX405" fmla="*/ 12900 w 202527"/>
                <a:gd name="connsiteY405" fmla="*/ 156272 h 227999"/>
                <a:gd name="connsiteX406" fmla="*/ 10329 w 202527"/>
                <a:gd name="connsiteY406" fmla="*/ 155334 h 227999"/>
                <a:gd name="connsiteX407" fmla="*/ 8813 w 202527"/>
                <a:gd name="connsiteY407" fmla="*/ 154346 h 227999"/>
                <a:gd name="connsiteX408" fmla="*/ 7681 w 202527"/>
                <a:gd name="connsiteY408" fmla="*/ 153108 h 227999"/>
                <a:gd name="connsiteX409" fmla="*/ 6206 w 202527"/>
                <a:gd name="connsiteY409" fmla="*/ 151401 h 227999"/>
                <a:gd name="connsiteX410" fmla="*/ 5578 w 202527"/>
                <a:gd name="connsiteY410" fmla="*/ 149667 h 227999"/>
                <a:gd name="connsiteX411" fmla="*/ 5546 w 202527"/>
                <a:gd name="connsiteY411" fmla="*/ 147938 h 227999"/>
                <a:gd name="connsiteX412" fmla="*/ 5727 w 202527"/>
                <a:gd name="connsiteY412" fmla="*/ 147164 h 227999"/>
                <a:gd name="connsiteX413" fmla="*/ 5833 w 202527"/>
                <a:gd name="connsiteY413" fmla="*/ 146633 h 227999"/>
                <a:gd name="connsiteX414" fmla="*/ 7023 w 202527"/>
                <a:gd name="connsiteY414" fmla="*/ 143934 h 227999"/>
                <a:gd name="connsiteX415" fmla="*/ 11210 w 202527"/>
                <a:gd name="connsiteY415" fmla="*/ 141516 h 227999"/>
                <a:gd name="connsiteX416" fmla="*/ 10749 w 202527"/>
                <a:gd name="connsiteY416" fmla="*/ 139079 h 227999"/>
                <a:gd name="connsiteX417" fmla="*/ 10689 w 202527"/>
                <a:gd name="connsiteY417" fmla="*/ 137584 h 227999"/>
                <a:gd name="connsiteX418" fmla="*/ 9672 w 202527"/>
                <a:gd name="connsiteY418" fmla="*/ 136605 h 227999"/>
                <a:gd name="connsiteX419" fmla="*/ 7640 w 202527"/>
                <a:gd name="connsiteY419" fmla="*/ 136209 h 227999"/>
                <a:gd name="connsiteX420" fmla="*/ 7102 w 202527"/>
                <a:gd name="connsiteY420" fmla="*/ 135530 h 227999"/>
                <a:gd name="connsiteX421" fmla="*/ 6876 w 202527"/>
                <a:gd name="connsiteY421" fmla="*/ 134867 h 227999"/>
                <a:gd name="connsiteX422" fmla="*/ 8368 w 202527"/>
                <a:gd name="connsiteY422" fmla="*/ 133375 h 227999"/>
                <a:gd name="connsiteX423" fmla="*/ 6567 w 202527"/>
                <a:gd name="connsiteY423" fmla="*/ 132195 h 227999"/>
                <a:gd name="connsiteX424" fmla="*/ 5792 w 202527"/>
                <a:gd name="connsiteY424" fmla="*/ 130974 h 227999"/>
                <a:gd name="connsiteX425" fmla="*/ 3282 w 202527"/>
                <a:gd name="connsiteY425" fmla="*/ 129432 h 227999"/>
                <a:gd name="connsiteX426" fmla="*/ 3017 w 202527"/>
                <a:gd name="connsiteY426" fmla="*/ 128901 h 227999"/>
                <a:gd name="connsiteX427" fmla="*/ 4222 w 202527"/>
                <a:gd name="connsiteY427" fmla="*/ 124399 h 227999"/>
                <a:gd name="connsiteX428" fmla="*/ 3302 w 202527"/>
                <a:gd name="connsiteY428" fmla="*/ 123084 h 227999"/>
                <a:gd name="connsiteX429" fmla="*/ 2157 w 202527"/>
                <a:gd name="connsiteY429" fmla="*/ 122413 h 227999"/>
                <a:gd name="connsiteX430" fmla="*/ 823 w 202527"/>
                <a:gd name="connsiteY430" fmla="*/ 122083 h 227999"/>
                <a:gd name="connsiteX431" fmla="*/ 214 w 202527"/>
                <a:gd name="connsiteY431" fmla="*/ 121457 h 227999"/>
                <a:gd name="connsiteX432" fmla="*/ 0 w 202527"/>
                <a:gd name="connsiteY432" fmla="*/ 120742 h 227999"/>
                <a:gd name="connsiteX433" fmla="*/ 240 w 202527"/>
                <a:gd name="connsiteY433" fmla="*/ 120299 h 227999"/>
                <a:gd name="connsiteX434" fmla="*/ 1807 w 202527"/>
                <a:gd name="connsiteY434" fmla="*/ 120430 h 227999"/>
                <a:gd name="connsiteX435" fmla="*/ 2289 w 202527"/>
                <a:gd name="connsiteY435" fmla="*/ 119966 h 227999"/>
                <a:gd name="connsiteX436" fmla="*/ 6025 w 202527"/>
                <a:gd name="connsiteY436" fmla="*/ 117313 h 227999"/>
                <a:gd name="connsiteX437" fmla="*/ 6178 w 202527"/>
                <a:gd name="connsiteY437" fmla="*/ 116803 h 227999"/>
                <a:gd name="connsiteX438" fmla="*/ 5658 w 202527"/>
                <a:gd name="connsiteY438" fmla="*/ 116514 h 227999"/>
                <a:gd name="connsiteX439" fmla="*/ 4973 w 202527"/>
                <a:gd name="connsiteY439" fmla="*/ 116360 h 227999"/>
                <a:gd name="connsiteX440" fmla="*/ 4805 w 202527"/>
                <a:gd name="connsiteY440" fmla="*/ 115802 h 227999"/>
                <a:gd name="connsiteX441" fmla="*/ 4829 w 202527"/>
                <a:gd name="connsiteY441" fmla="*/ 115067 h 227999"/>
                <a:gd name="connsiteX442" fmla="*/ 6826 w 202527"/>
                <a:gd name="connsiteY442" fmla="*/ 111235 h 227999"/>
                <a:gd name="connsiteX443" fmla="*/ 7416 w 202527"/>
                <a:gd name="connsiteY443" fmla="*/ 109599 h 227999"/>
                <a:gd name="connsiteX444" fmla="*/ 7547 w 202527"/>
                <a:gd name="connsiteY444" fmla="*/ 108442 h 227999"/>
                <a:gd name="connsiteX445" fmla="*/ 7424 w 202527"/>
                <a:gd name="connsiteY445" fmla="*/ 107299 h 227999"/>
                <a:gd name="connsiteX446" fmla="*/ 6282 w 202527"/>
                <a:gd name="connsiteY446" fmla="*/ 105500 h 227999"/>
                <a:gd name="connsiteX447" fmla="*/ 5165 w 202527"/>
                <a:gd name="connsiteY447" fmla="*/ 104064 h 227999"/>
                <a:gd name="connsiteX448" fmla="*/ 5127 w 202527"/>
                <a:gd name="connsiteY448" fmla="*/ 102920 h 227999"/>
                <a:gd name="connsiteX449" fmla="*/ 4317 w 202527"/>
                <a:gd name="connsiteY449" fmla="*/ 102318 h 227999"/>
                <a:gd name="connsiteX450" fmla="*/ 2013 w 202527"/>
                <a:gd name="connsiteY450" fmla="*/ 99249 h 227999"/>
                <a:gd name="connsiteX451" fmla="*/ 2017 w 202527"/>
                <a:gd name="connsiteY451" fmla="*/ 98061 h 227999"/>
                <a:gd name="connsiteX452" fmla="*/ 3319 w 202527"/>
                <a:gd name="connsiteY452" fmla="*/ 97138 h 227999"/>
                <a:gd name="connsiteX453" fmla="*/ 5137 w 202527"/>
                <a:gd name="connsiteY453" fmla="*/ 96549 h 227999"/>
                <a:gd name="connsiteX454" fmla="*/ 5742 w 202527"/>
                <a:gd name="connsiteY454" fmla="*/ 96063 h 227999"/>
                <a:gd name="connsiteX455" fmla="*/ 6832 w 202527"/>
                <a:gd name="connsiteY455" fmla="*/ 95757 h 227999"/>
                <a:gd name="connsiteX456" fmla="*/ 9720 w 202527"/>
                <a:gd name="connsiteY456" fmla="*/ 96644 h 227999"/>
                <a:gd name="connsiteX457" fmla="*/ 11015 w 202527"/>
                <a:gd name="connsiteY457" fmla="*/ 97413 h 227999"/>
                <a:gd name="connsiteX458" fmla="*/ 11380 w 202527"/>
                <a:gd name="connsiteY458" fmla="*/ 97254 h 227999"/>
                <a:gd name="connsiteX459" fmla="*/ 12548 w 202527"/>
                <a:gd name="connsiteY459" fmla="*/ 96417 h 227999"/>
                <a:gd name="connsiteX460" fmla="*/ 14595 w 202527"/>
                <a:gd name="connsiteY460" fmla="*/ 96549 h 227999"/>
                <a:gd name="connsiteX461" fmla="*/ 19553 w 202527"/>
                <a:gd name="connsiteY461" fmla="*/ 94867 h 227999"/>
                <a:gd name="connsiteX462" fmla="*/ 20292 w 202527"/>
                <a:gd name="connsiteY462" fmla="*/ 94058 h 227999"/>
                <a:gd name="connsiteX463" fmla="*/ 20849 w 202527"/>
                <a:gd name="connsiteY463" fmla="*/ 93198 h 227999"/>
                <a:gd name="connsiteX464" fmla="*/ 20894 w 202527"/>
                <a:gd name="connsiteY464" fmla="*/ 92820 h 227999"/>
                <a:gd name="connsiteX465" fmla="*/ 18975 w 202527"/>
                <a:gd name="connsiteY465" fmla="*/ 91164 h 227999"/>
                <a:gd name="connsiteX466" fmla="*/ 18916 w 202527"/>
                <a:gd name="connsiteY466" fmla="*/ 90551 h 227999"/>
                <a:gd name="connsiteX467" fmla="*/ 19171 w 202527"/>
                <a:gd name="connsiteY467" fmla="*/ 89860 h 227999"/>
                <a:gd name="connsiteX468" fmla="*/ 19713 w 202527"/>
                <a:gd name="connsiteY468" fmla="*/ 89314 h 227999"/>
                <a:gd name="connsiteX469" fmla="*/ 20849 w 202527"/>
                <a:gd name="connsiteY469" fmla="*/ 88943 h 227999"/>
                <a:gd name="connsiteX470" fmla="*/ 22058 w 202527"/>
                <a:gd name="connsiteY470" fmla="*/ 88215 h 227999"/>
                <a:gd name="connsiteX471" fmla="*/ 24759 w 202527"/>
                <a:gd name="connsiteY471" fmla="*/ 86149 h 227999"/>
                <a:gd name="connsiteX472" fmla="*/ 25697 w 202527"/>
                <a:gd name="connsiteY472" fmla="*/ 84355 h 227999"/>
                <a:gd name="connsiteX473" fmla="*/ 25984 w 202527"/>
                <a:gd name="connsiteY473" fmla="*/ 82411 h 227999"/>
                <a:gd name="connsiteX474" fmla="*/ 26040 w 202527"/>
                <a:gd name="connsiteY474" fmla="*/ 80964 h 227999"/>
                <a:gd name="connsiteX475" fmla="*/ 25304 w 202527"/>
                <a:gd name="connsiteY475" fmla="*/ 79812 h 227999"/>
                <a:gd name="connsiteX476" fmla="*/ 24559 w 202527"/>
                <a:gd name="connsiteY476" fmla="*/ 79066 h 227999"/>
                <a:gd name="connsiteX477" fmla="*/ 23540 w 202527"/>
                <a:gd name="connsiteY477" fmla="*/ 79179 h 227999"/>
                <a:gd name="connsiteX478" fmla="*/ 21559 w 202527"/>
                <a:gd name="connsiteY478" fmla="*/ 79120 h 227999"/>
                <a:gd name="connsiteX479" fmla="*/ 19709 w 202527"/>
                <a:gd name="connsiteY479" fmla="*/ 78473 h 227999"/>
                <a:gd name="connsiteX480" fmla="*/ 18694 w 202527"/>
                <a:gd name="connsiteY480" fmla="*/ 77426 h 227999"/>
                <a:gd name="connsiteX481" fmla="*/ 18444 w 202527"/>
                <a:gd name="connsiteY481" fmla="*/ 76505 h 227999"/>
                <a:gd name="connsiteX482" fmla="*/ 18903 w 202527"/>
                <a:gd name="connsiteY482" fmla="*/ 75925 h 227999"/>
                <a:gd name="connsiteX483" fmla="*/ 19044 w 202527"/>
                <a:gd name="connsiteY483" fmla="*/ 75212 h 227999"/>
                <a:gd name="connsiteX484" fmla="*/ 18748 w 202527"/>
                <a:gd name="connsiteY484" fmla="*/ 74495 h 227999"/>
                <a:gd name="connsiteX485" fmla="*/ 18867 w 202527"/>
                <a:gd name="connsiteY485" fmla="*/ 73893 h 227999"/>
                <a:gd name="connsiteX486" fmla="*/ 19700 w 202527"/>
                <a:gd name="connsiteY486" fmla="*/ 73410 h 227999"/>
                <a:gd name="connsiteX487" fmla="*/ 25554 w 202527"/>
                <a:gd name="connsiteY487" fmla="*/ 73426 h 227999"/>
                <a:gd name="connsiteX488" fmla="*/ 25993 w 202527"/>
                <a:gd name="connsiteY488" fmla="*/ 72895 h 227999"/>
                <a:gd name="connsiteX489" fmla="*/ 26388 w 202527"/>
                <a:gd name="connsiteY489" fmla="*/ 70108 h 227999"/>
                <a:gd name="connsiteX490" fmla="*/ 27852 w 202527"/>
                <a:gd name="connsiteY490" fmla="*/ 65859 h 227999"/>
                <a:gd name="connsiteX491" fmla="*/ 29232 w 202527"/>
                <a:gd name="connsiteY491" fmla="*/ 63490 h 227999"/>
                <a:gd name="connsiteX492" fmla="*/ 29463 w 202527"/>
                <a:gd name="connsiteY492" fmla="*/ 62493 h 227999"/>
                <a:gd name="connsiteX493" fmla="*/ 29441 w 202527"/>
                <a:gd name="connsiteY493" fmla="*/ 56866 h 227999"/>
                <a:gd name="connsiteX494" fmla="*/ 29625 w 202527"/>
                <a:gd name="connsiteY494" fmla="*/ 54011 h 227999"/>
                <a:gd name="connsiteX495" fmla="*/ 28625 w 202527"/>
                <a:gd name="connsiteY495" fmla="*/ 52668 h 227999"/>
                <a:gd name="connsiteX496" fmla="*/ 26442 w 202527"/>
                <a:gd name="connsiteY496" fmla="*/ 51197 h 227999"/>
                <a:gd name="connsiteX497" fmla="*/ 26906 w 202527"/>
                <a:gd name="connsiteY497" fmla="*/ 48132 h 227999"/>
                <a:gd name="connsiteX498" fmla="*/ 27632 w 202527"/>
                <a:gd name="connsiteY498" fmla="*/ 45741 h 227999"/>
                <a:gd name="connsiteX499" fmla="*/ 29828 w 202527"/>
                <a:gd name="connsiteY499" fmla="*/ 42797 h 227999"/>
                <a:gd name="connsiteX500" fmla="*/ 31570 w 202527"/>
                <a:gd name="connsiteY500" fmla="*/ 41987 h 227999"/>
                <a:gd name="connsiteX501" fmla="*/ 39176 w 202527"/>
                <a:gd name="connsiteY501" fmla="*/ 41506 h 227999"/>
                <a:gd name="connsiteX502" fmla="*/ 47580 w 202527"/>
                <a:gd name="connsiteY502" fmla="*/ 41704 h 227999"/>
                <a:gd name="connsiteX503" fmla="*/ 51069 w 202527"/>
                <a:gd name="connsiteY503" fmla="*/ 46150 h 227999"/>
                <a:gd name="connsiteX504" fmla="*/ 49774 w 202527"/>
                <a:gd name="connsiteY504" fmla="*/ 48432 h 227999"/>
                <a:gd name="connsiteX505" fmla="*/ 51814 w 202527"/>
                <a:gd name="connsiteY505" fmla="*/ 49494 h 227999"/>
                <a:gd name="connsiteX506" fmla="*/ 52797 w 202527"/>
                <a:gd name="connsiteY506" fmla="*/ 49106 h 227999"/>
                <a:gd name="connsiteX507" fmla="*/ 53544 w 202527"/>
                <a:gd name="connsiteY507" fmla="*/ 47121 h 227999"/>
                <a:gd name="connsiteX508" fmla="*/ 54043 w 202527"/>
                <a:gd name="connsiteY508" fmla="*/ 44922 h 227999"/>
                <a:gd name="connsiteX509" fmla="*/ 54758 w 202527"/>
                <a:gd name="connsiteY509" fmla="*/ 44256 h 227999"/>
                <a:gd name="connsiteX510" fmla="*/ 57356 w 202527"/>
                <a:gd name="connsiteY510" fmla="*/ 45900 h 227999"/>
                <a:gd name="connsiteX511" fmla="*/ 58269 w 202527"/>
                <a:gd name="connsiteY511" fmla="*/ 47026 h 227999"/>
                <a:gd name="connsiteX512" fmla="*/ 58325 w 202527"/>
                <a:gd name="connsiteY512" fmla="*/ 50644 h 227999"/>
                <a:gd name="connsiteX513" fmla="*/ 59282 w 202527"/>
                <a:gd name="connsiteY513" fmla="*/ 45743 h 227999"/>
                <a:gd name="connsiteX514" fmla="*/ 58569 w 202527"/>
                <a:gd name="connsiteY514" fmla="*/ 42307 h 227999"/>
                <a:gd name="connsiteX515" fmla="*/ 59059 w 202527"/>
                <a:gd name="connsiteY515" fmla="*/ 38972 h 227999"/>
                <a:gd name="connsiteX516" fmla="*/ 60102 w 202527"/>
                <a:gd name="connsiteY516" fmla="*/ 37235 h 227999"/>
                <a:gd name="connsiteX517" fmla="*/ 61061 w 202527"/>
                <a:gd name="connsiteY517" fmla="*/ 36130 h 227999"/>
                <a:gd name="connsiteX518" fmla="*/ 67226 w 202527"/>
                <a:gd name="connsiteY518" fmla="*/ 37320 h 227999"/>
                <a:gd name="connsiteX519" fmla="*/ 74032 w 202527"/>
                <a:gd name="connsiteY519" fmla="*/ 36706 h 227999"/>
                <a:gd name="connsiteX520" fmla="*/ 76606 w 202527"/>
                <a:gd name="connsiteY520" fmla="*/ 37992 h 227999"/>
                <a:gd name="connsiteX521" fmla="*/ 82430 w 202527"/>
                <a:gd name="connsiteY521" fmla="*/ 44428 h 227999"/>
                <a:gd name="connsiteX522" fmla="*/ 84372 w 202527"/>
                <a:gd name="connsiteY522" fmla="*/ 45480 h 227999"/>
                <a:gd name="connsiteX523" fmla="*/ 86822 w 202527"/>
                <a:gd name="connsiteY523" fmla="*/ 45811 h 227999"/>
                <a:gd name="connsiteX524" fmla="*/ 83445 w 202527"/>
                <a:gd name="connsiteY524" fmla="*/ 44437 h 227999"/>
                <a:gd name="connsiteX525" fmla="*/ 76386 w 202527"/>
                <a:gd name="connsiteY525" fmla="*/ 36610 h 227999"/>
                <a:gd name="connsiteX526" fmla="*/ 74272 w 202527"/>
                <a:gd name="connsiteY526" fmla="*/ 35639 h 227999"/>
                <a:gd name="connsiteX527" fmla="*/ 71027 w 202527"/>
                <a:gd name="connsiteY527" fmla="*/ 35344 h 227999"/>
                <a:gd name="connsiteX528" fmla="*/ 69003 w 202527"/>
                <a:gd name="connsiteY528" fmla="*/ 34578 h 227999"/>
                <a:gd name="connsiteX529" fmla="*/ 67727 w 202527"/>
                <a:gd name="connsiteY529" fmla="*/ 33392 h 227999"/>
                <a:gd name="connsiteX530" fmla="*/ 67353 w 202527"/>
                <a:gd name="connsiteY530" fmla="*/ 32332 h 227999"/>
                <a:gd name="connsiteX531" fmla="*/ 67423 w 202527"/>
                <a:gd name="connsiteY531" fmla="*/ 24417 h 227999"/>
                <a:gd name="connsiteX532" fmla="*/ 66205 w 202527"/>
                <a:gd name="connsiteY532" fmla="*/ 23237 h 227999"/>
                <a:gd name="connsiteX533" fmla="*/ 64631 w 202527"/>
                <a:gd name="connsiteY533" fmla="*/ 22826 h 227999"/>
                <a:gd name="connsiteX534" fmla="*/ 63650 w 202527"/>
                <a:gd name="connsiteY534" fmla="*/ 23369 h 227999"/>
                <a:gd name="connsiteX535" fmla="*/ 61636 w 202527"/>
                <a:gd name="connsiteY535" fmla="*/ 23376 h 227999"/>
                <a:gd name="connsiteX536" fmla="*/ 61212 w 202527"/>
                <a:gd name="connsiteY536" fmla="*/ 21579 h 227999"/>
                <a:gd name="connsiteX537" fmla="*/ 61704 w 202527"/>
                <a:gd name="connsiteY537" fmla="*/ 20247 h 227999"/>
                <a:gd name="connsiteX538" fmla="*/ 65753 w 202527"/>
                <a:gd name="connsiteY538" fmla="*/ 19336 h 227999"/>
                <a:gd name="connsiteX539" fmla="*/ 68422 w 202527"/>
                <a:gd name="connsiteY539" fmla="*/ 18114 h 227999"/>
                <a:gd name="connsiteX540" fmla="*/ 68541 w 202527"/>
                <a:gd name="connsiteY540" fmla="*/ 15954 h 227999"/>
                <a:gd name="connsiteX541" fmla="*/ 66855 w 202527"/>
                <a:gd name="connsiteY541" fmla="*/ 14254 h 227999"/>
                <a:gd name="connsiteX542" fmla="*/ 64836 w 202527"/>
                <a:gd name="connsiteY542" fmla="*/ 11133 h 227999"/>
                <a:gd name="connsiteX543" fmla="*/ 62463 w 202527"/>
                <a:gd name="connsiteY543" fmla="*/ 8196 h 227999"/>
                <a:gd name="connsiteX544" fmla="*/ 56334 w 202527"/>
                <a:gd name="connsiteY544" fmla="*/ 0 h 227999"/>
                <a:gd name="connsiteX545" fmla="*/ 57358 w 202527"/>
                <a:gd name="connsiteY545" fmla="*/ 103 h 227999"/>
                <a:gd name="connsiteX546" fmla="*/ 56310 w 202527"/>
                <a:gd name="connsiteY546" fmla="*/ 1353 h 227999"/>
                <a:gd name="connsiteX547" fmla="*/ 56008 w 202527"/>
                <a:gd name="connsiteY547" fmla="*/ 2228 h 227999"/>
                <a:gd name="connsiteX548" fmla="*/ 55583 w 202527"/>
                <a:gd name="connsiteY548" fmla="*/ 3975 h 227999"/>
                <a:gd name="connsiteX549" fmla="*/ 55775 w 202527"/>
                <a:gd name="connsiteY549" fmla="*/ 4882 h 227999"/>
                <a:gd name="connsiteX550" fmla="*/ 61296 w 202527"/>
                <a:gd name="connsiteY550" fmla="*/ 5131 h 227999"/>
                <a:gd name="connsiteX551" fmla="*/ 60655 w 202527"/>
                <a:gd name="connsiteY551" fmla="*/ 5940 h 227999"/>
                <a:gd name="connsiteX552" fmla="*/ 55056 w 202527"/>
                <a:gd name="connsiteY552" fmla="*/ 6486 h 227999"/>
                <a:gd name="connsiteX553" fmla="*/ 54179 w 202527"/>
                <a:gd name="connsiteY553" fmla="*/ 8345 h 227999"/>
                <a:gd name="connsiteX554" fmla="*/ 53669 w 202527"/>
                <a:gd name="connsiteY554" fmla="*/ 8954 h 227999"/>
                <a:gd name="connsiteX555" fmla="*/ 53913 w 202527"/>
                <a:gd name="connsiteY555" fmla="*/ 4623 h 22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Lst>
              <a:rect l="l" t="t" r="r" b="b"/>
              <a:pathLst>
                <a:path w="202527" h="227999">
                  <a:moveTo>
                    <a:pt x="176238" y="28478"/>
                  </a:moveTo>
                  <a:lnTo>
                    <a:pt x="180907" y="31292"/>
                  </a:lnTo>
                  <a:lnTo>
                    <a:pt x="184723" y="33847"/>
                  </a:lnTo>
                  <a:lnTo>
                    <a:pt x="184431" y="34795"/>
                  </a:lnTo>
                  <a:lnTo>
                    <a:pt x="184772" y="36258"/>
                  </a:lnTo>
                  <a:lnTo>
                    <a:pt x="183854" y="36149"/>
                  </a:lnTo>
                  <a:lnTo>
                    <a:pt x="181117" y="36490"/>
                  </a:lnTo>
                  <a:lnTo>
                    <a:pt x="178406" y="36007"/>
                  </a:lnTo>
                  <a:lnTo>
                    <a:pt x="177884" y="34192"/>
                  </a:lnTo>
                  <a:lnTo>
                    <a:pt x="178316" y="32443"/>
                  </a:lnTo>
                  <a:lnTo>
                    <a:pt x="177227" y="31240"/>
                  </a:lnTo>
                  <a:lnTo>
                    <a:pt x="176225" y="30534"/>
                  </a:lnTo>
                  <a:lnTo>
                    <a:pt x="176077" y="29524"/>
                  </a:lnTo>
                  <a:close/>
                  <a:moveTo>
                    <a:pt x="115590" y="16104"/>
                  </a:moveTo>
                  <a:lnTo>
                    <a:pt x="118877" y="17086"/>
                  </a:lnTo>
                  <a:lnTo>
                    <a:pt x="119909" y="19005"/>
                  </a:lnTo>
                  <a:lnTo>
                    <a:pt x="119965" y="19628"/>
                  </a:lnTo>
                  <a:lnTo>
                    <a:pt x="116570" y="19687"/>
                  </a:lnTo>
                  <a:lnTo>
                    <a:pt x="115274" y="18467"/>
                  </a:lnTo>
                  <a:lnTo>
                    <a:pt x="113970" y="18157"/>
                  </a:lnTo>
                  <a:lnTo>
                    <a:pt x="114672" y="16652"/>
                  </a:lnTo>
                  <a:close/>
                  <a:moveTo>
                    <a:pt x="167283" y="11030"/>
                  </a:moveTo>
                  <a:lnTo>
                    <a:pt x="167888" y="12552"/>
                  </a:lnTo>
                  <a:lnTo>
                    <a:pt x="168797" y="13599"/>
                  </a:lnTo>
                  <a:lnTo>
                    <a:pt x="171999" y="14772"/>
                  </a:lnTo>
                  <a:lnTo>
                    <a:pt x="172477" y="15305"/>
                  </a:lnTo>
                  <a:lnTo>
                    <a:pt x="172766" y="16042"/>
                  </a:lnTo>
                  <a:lnTo>
                    <a:pt x="171276" y="17485"/>
                  </a:lnTo>
                  <a:lnTo>
                    <a:pt x="170771" y="18224"/>
                  </a:lnTo>
                  <a:lnTo>
                    <a:pt x="171244" y="19409"/>
                  </a:lnTo>
                  <a:lnTo>
                    <a:pt x="173617" y="20703"/>
                  </a:lnTo>
                  <a:lnTo>
                    <a:pt x="174170" y="22753"/>
                  </a:lnTo>
                  <a:lnTo>
                    <a:pt x="173576" y="23797"/>
                  </a:lnTo>
                  <a:lnTo>
                    <a:pt x="171090" y="22060"/>
                  </a:lnTo>
                  <a:lnTo>
                    <a:pt x="168594" y="22084"/>
                  </a:lnTo>
                  <a:lnTo>
                    <a:pt x="167102" y="24759"/>
                  </a:lnTo>
                  <a:lnTo>
                    <a:pt x="165992" y="24872"/>
                  </a:lnTo>
                  <a:lnTo>
                    <a:pt x="162138" y="22442"/>
                  </a:lnTo>
                  <a:lnTo>
                    <a:pt x="161520" y="21256"/>
                  </a:lnTo>
                  <a:lnTo>
                    <a:pt x="161393" y="20270"/>
                  </a:lnTo>
                  <a:lnTo>
                    <a:pt x="161943" y="16850"/>
                  </a:lnTo>
                  <a:lnTo>
                    <a:pt x="161842" y="15773"/>
                  </a:lnTo>
                  <a:lnTo>
                    <a:pt x="163053" y="14596"/>
                  </a:lnTo>
                  <a:lnTo>
                    <a:pt x="163241" y="12894"/>
                  </a:lnTo>
                  <a:lnTo>
                    <a:pt x="165383" y="11098"/>
                  </a:lnTo>
                  <a:close/>
                  <a:moveTo>
                    <a:pt x="58651" y="9162"/>
                  </a:moveTo>
                  <a:lnTo>
                    <a:pt x="60055" y="9517"/>
                  </a:lnTo>
                  <a:lnTo>
                    <a:pt x="60374" y="10621"/>
                  </a:lnTo>
                  <a:lnTo>
                    <a:pt x="59513" y="11371"/>
                  </a:lnTo>
                  <a:lnTo>
                    <a:pt x="57409" y="11283"/>
                  </a:lnTo>
                  <a:lnTo>
                    <a:pt x="56228" y="10577"/>
                  </a:lnTo>
                  <a:lnTo>
                    <a:pt x="56611" y="9825"/>
                  </a:lnTo>
                  <a:lnTo>
                    <a:pt x="57727" y="9251"/>
                  </a:lnTo>
                  <a:close/>
                  <a:moveTo>
                    <a:pt x="62197" y="4773"/>
                  </a:moveTo>
                  <a:lnTo>
                    <a:pt x="62206" y="4776"/>
                  </a:lnTo>
                  <a:lnTo>
                    <a:pt x="66330" y="4843"/>
                  </a:lnTo>
                  <a:lnTo>
                    <a:pt x="67341" y="4973"/>
                  </a:lnTo>
                  <a:lnTo>
                    <a:pt x="73596" y="6576"/>
                  </a:lnTo>
                  <a:lnTo>
                    <a:pt x="75125" y="7700"/>
                  </a:lnTo>
                  <a:lnTo>
                    <a:pt x="77049" y="7753"/>
                  </a:lnTo>
                  <a:lnTo>
                    <a:pt x="80515" y="6706"/>
                  </a:lnTo>
                  <a:lnTo>
                    <a:pt x="83104" y="6246"/>
                  </a:lnTo>
                  <a:lnTo>
                    <a:pt x="84108" y="6892"/>
                  </a:lnTo>
                  <a:lnTo>
                    <a:pt x="85518" y="7163"/>
                  </a:lnTo>
                  <a:lnTo>
                    <a:pt x="85844" y="7163"/>
                  </a:lnTo>
                  <a:lnTo>
                    <a:pt x="85981" y="7726"/>
                  </a:lnTo>
                  <a:lnTo>
                    <a:pt x="89217" y="8540"/>
                  </a:lnTo>
                  <a:lnTo>
                    <a:pt x="90578" y="9837"/>
                  </a:lnTo>
                  <a:lnTo>
                    <a:pt x="92089" y="11807"/>
                  </a:lnTo>
                  <a:lnTo>
                    <a:pt x="92236" y="14641"/>
                  </a:lnTo>
                  <a:lnTo>
                    <a:pt x="90301" y="16677"/>
                  </a:lnTo>
                  <a:lnTo>
                    <a:pt x="88695" y="17965"/>
                  </a:lnTo>
                  <a:lnTo>
                    <a:pt x="94771" y="17478"/>
                  </a:lnTo>
                  <a:lnTo>
                    <a:pt x="95376" y="18645"/>
                  </a:lnTo>
                  <a:lnTo>
                    <a:pt x="96296" y="19903"/>
                  </a:lnTo>
                  <a:lnTo>
                    <a:pt x="99569" y="19007"/>
                  </a:lnTo>
                  <a:lnTo>
                    <a:pt x="107775" y="22728"/>
                  </a:lnTo>
                  <a:lnTo>
                    <a:pt x="112737" y="20917"/>
                  </a:lnTo>
                  <a:lnTo>
                    <a:pt x="114007" y="20811"/>
                  </a:lnTo>
                  <a:lnTo>
                    <a:pt x="115134" y="23817"/>
                  </a:lnTo>
                  <a:lnTo>
                    <a:pt x="113901" y="26840"/>
                  </a:lnTo>
                  <a:lnTo>
                    <a:pt x="109526" y="30061"/>
                  </a:lnTo>
                  <a:lnTo>
                    <a:pt x="110496" y="32043"/>
                  </a:lnTo>
                  <a:lnTo>
                    <a:pt x="111893" y="32483"/>
                  </a:lnTo>
                  <a:lnTo>
                    <a:pt x="116017" y="32063"/>
                  </a:lnTo>
                  <a:lnTo>
                    <a:pt x="122547" y="34020"/>
                  </a:lnTo>
                  <a:lnTo>
                    <a:pt x="123908" y="33410"/>
                  </a:lnTo>
                  <a:lnTo>
                    <a:pt x="129203" y="28895"/>
                  </a:lnTo>
                  <a:lnTo>
                    <a:pt x="131319" y="27925"/>
                  </a:lnTo>
                  <a:lnTo>
                    <a:pt x="138285" y="27230"/>
                  </a:lnTo>
                  <a:lnTo>
                    <a:pt x="139552" y="25479"/>
                  </a:lnTo>
                  <a:lnTo>
                    <a:pt x="142375" y="23717"/>
                  </a:lnTo>
                  <a:lnTo>
                    <a:pt x="144193" y="21791"/>
                  </a:lnTo>
                  <a:lnTo>
                    <a:pt x="148546" y="18120"/>
                  </a:lnTo>
                  <a:lnTo>
                    <a:pt x="153051" y="18782"/>
                  </a:lnTo>
                  <a:lnTo>
                    <a:pt x="155681" y="19485"/>
                  </a:lnTo>
                  <a:lnTo>
                    <a:pt x="158568" y="19839"/>
                  </a:lnTo>
                  <a:lnTo>
                    <a:pt x="161196" y="23749"/>
                  </a:lnTo>
                  <a:lnTo>
                    <a:pt x="167843" y="28064"/>
                  </a:lnTo>
                  <a:lnTo>
                    <a:pt x="173950" y="27689"/>
                  </a:lnTo>
                  <a:lnTo>
                    <a:pt x="176117" y="31764"/>
                  </a:lnTo>
                  <a:lnTo>
                    <a:pt x="177074" y="36785"/>
                  </a:lnTo>
                  <a:lnTo>
                    <a:pt x="178950" y="38358"/>
                  </a:lnTo>
                  <a:lnTo>
                    <a:pt x="180600" y="39385"/>
                  </a:lnTo>
                  <a:lnTo>
                    <a:pt x="185576" y="40460"/>
                  </a:lnTo>
                  <a:lnTo>
                    <a:pt x="185772" y="40528"/>
                  </a:lnTo>
                  <a:lnTo>
                    <a:pt x="185932" y="41208"/>
                  </a:lnTo>
                  <a:lnTo>
                    <a:pt x="186236" y="43696"/>
                  </a:lnTo>
                  <a:lnTo>
                    <a:pt x="186653" y="45757"/>
                  </a:lnTo>
                  <a:lnTo>
                    <a:pt x="189214" y="53974"/>
                  </a:lnTo>
                  <a:lnTo>
                    <a:pt x="189165" y="55979"/>
                  </a:lnTo>
                  <a:lnTo>
                    <a:pt x="189134" y="56511"/>
                  </a:lnTo>
                  <a:lnTo>
                    <a:pt x="188197" y="59315"/>
                  </a:lnTo>
                  <a:lnTo>
                    <a:pt x="186530" y="61677"/>
                  </a:lnTo>
                  <a:lnTo>
                    <a:pt x="184330" y="63008"/>
                  </a:lnTo>
                  <a:lnTo>
                    <a:pt x="183118" y="64488"/>
                  </a:lnTo>
                  <a:lnTo>
                    <a:pt x="182891" y="66122"/>
                  </a:lnTo>
                  <a:lnTo>
                    <a:pt x="185658" y="68981"/>
                  </a:lnTo>
                  <a:lnTo>
                    <a:pt x="191414" y="73066"/>
                  </a:lnTo>
                  <a:lnTo>
                    <a:pt x="193744" y="76554"/>
                  </a:lnTo>
                  <a:lnTo>
                    <a:pt x="192645" y="79452"/>
                  </a:lnTo>
                  <a:lnTo>
                    <a:pt x="192311" y="81575"/>
                  </a:lnTo>
                  <a:lnTo>
                    <a:pt x="192738" y="82926"/>
                  </a:lnTo>
                  <a:lnTo>
                    <a:pt x="193660" y="84010"/>
                  </a:lnTo>
                  <a:lnTo>
                    <a:pt x="195081" y="84830"/>
                  </a:lnTo>
                  <a:lnTo>
                    <a:pt x="195645" y="86091"/>
                  </a:lnTo>
                  <a:lnTo>
                    <a:pt x="195358" y="87793"/>
                  </a:lnTo>
                  <a:lnTo>
                    <a:pt x="195627" y="88973"/>
                  </a:lnTo>
                  <a:lnTo>
                    <a:pt x="196688" y="89813"/>
                  </a:lnTo>
                  <a:lnTo>
                    <a:pt x="196590" y="90139"/>
                  </a:lnTo>
                  <a:lnTo>
                    <a:pt x="196075" y="91321"/>
                  </a:lnTo>
                  <a:lnTo>
                    <a:pt x="195370" y="93475"/>
                  </a:lnTo>
                  <a:lnTo>
                    <a:pt x="194971" y="95046"/>
                  </a:lnTo>
                  <a:lnTo>
                    <a:pt x="193351" y="97185"/>
                  </a:lnTo>
                  <a:lnTo>
                    <a:pt x="193844" y="99001"/>
                  </a:lnTo>
                  <a:lnTo>
                    <a:pt x="195113" y="101141"/>
                  </a:lnTo>
                  <a:lnTo>
                    <a:pt x="196077" y="102216"/>
                  </a:lnTo>
                  <a:lnTo>
                    <a:pt x="196381" y="103234"/>
                  </a:lnTo>
                  <a:lnTo>
                    <a:pt x="195768" y="105653"/>
                  </a:lnTo>
                  <a:lnTo>
                    <a:pt x="196072" y="106271"/>
                  </a:lnTo>
                  <a:lnTo>
                    <a:pt x="200080" y="108051"/>
                  </a:lnTo>
                  <a:lnTo>
                    <a:pt x="200734" y="108872"/>
                  </a:lnTo>
                  <a:lnTo>
                    <a:pt x="201123" y="110581"/>
                  </a:lnTo>
                  <a:lnTo>
                    <a:pt x="202527" y="114229"/>
                  </a:lnTo>
                  <a:lnTo>
                    <a:pt x="201361" y="118843"/>
                  </a:lnTo>
                  <a:lnTo>
                    <a:pt x="200335" y="121367"/>
                  </a:lnTo>
                  <a:lnTo>
                    <a:pt x="198052" y="125369"/>
                  </a:lnTo>
                  <a:lnTo>
                    <a:pt x="197945" y="125738"/>
                  </a:lnTo>
                  <a:lnTo>
                    <a:pt x="197681" y="126224"/>
                  </a:lnTo>
                  <a:lnTo>
                    <a:pt x="196997" y="126924"/>
                  </a:lnTo>
                  <a:lnTo>
                    <a:pt x="196042" y="127029"/>
                  </a:lnTo>
                  <a:lnTo>
                    <a:pt x="194602" y="126507"/>
                  </a:lnTo>
                  <a:lnTo>
                    <a:pt x="193615" y="125838"/>
                  </a:lnTo>
                  <a:lnTo>
                    <a:pt x="193842" y="124112"/>
                  </a:lnTo>
                  <a:lnTo>
                    <a:pt x="193209" y="123999"/>
                  </a:lnTo>
                  <a:lnTo>
                    <a:pt x="192423" y="122939"/>
                  </a:lnTo>
                  <a:lnTo>
                    <a:pt x="192114" y="121799"/>
                  </a:lnTo>
                  <a:lnTo>
                    <a:pt x="191266" y="121334"/>
                  </a:lnTo>
                  <a:lnTo>
                    <a:pt x="188169" y="120855"/>
                  </a:lnTo>
                  <a:lnTo>
                    <a:pt x="187117" y="120518"/>
                  </a:lnTo>
                  <a:lnTo>
                    <a:pt x="186310" y="120761"/>
                  </a:lnTo>
                  <a:lnTo>
                    <a:pt x="185705" y="121568"/>
                  </a:lnTo>
                  <a:lnTo>
                    <a:pt x="186091" y="122297"/>
                  </a:lnTo>
                  <a:lnTo>
                    <a:pt x="186668" y="123007"/>
                  </a:lnTo>
                  <a:lnTo>
                    <a:pt x="188385" y="124132"/>
                  </a:lnTo>
                  <a:lnTo>
                    <a:pt x="188208" y="124579"/>
                  </a:lnTo>
                  <a:lnTo>
                    <a:pt x="184509" y="125673"/>
                  </a:lnTo>
                  <a:lnTo>
                    <a:pt x="182181" y="126795"/>
                  </a:lnTo>
                  <a:lnTo>
                    <a:pt x="180013" y="127425"/>
                  </a:lnTo>
                  <a:lnTo>
                    <a:pt x="177804" y="128586"/>
                  </a:lnTo>
                  <a:lnTo>
                    <a:pt x="173444" y="129889"/>
                  </a:lnTo>
                  <a:lnTo>
                    <a:pt x="170246" y="130235"/>
                  </a:lnTo>
                  <a:lnTo>
                    <a:pt x="169579" y="130579"/>
                  </a:lnTo>
                  <a:lnTo>
                    <a:pt x="168385" y="132786"/>
                  </a:lnTo>
                  <a:lnTo>
                    <a:pt x="167579" y="133247"/>
                  </a:lnTo>
                  <a:lnTo>
                    <a:pt x="166806" y="133008"/>
                  </a:lnTo>
                  <a:lnTo>
                    <a:pt x="166219" y="132647"/>
                  </a:lnTo>
                  <a:lnTo>
                    <a:pt x="165476" y="132946"/>
                  </a:lnTo>
                  <a:lnTo>
                    <a:pt x="164703" y="133676"/>
                  </a:lnTo>
                  <a:lnTo>
                    <a:pt x="163895" y="133964"/>
                  </a:lnTo>
                  <a:lnTo>
                    <a:pt x="163191" y="133954"/>
                  </a:lnTo>
                  <a:lnTo>
                    <a:pt x="161941" y="135879"/>
                  </a:lnTo>
                  <a:lnTo>
                    <a:pt x="158298" y="136463"/>
                  </a:lnTo>
                  <a:lnTo>
                    <a:pt x="157871" y="137460"/>
                  </a:lnTo>
                  <a:lnTo>
                    <a:pt x="157201" y="138616"/>
                  </a:lnTo>
                  <a:lnTo>
                    <a:pt x="156668" y="138899"/>
                  </a:lnTo>
                  <a:lnTo>
                    <a:pt x="155022" y="138441"/>
                  </a:lnTo>
                  <a:lnTo>
                    <a:pt x="152749" y="138188"/>
                  </a:lnTo>
                  <a:lnTo>
                    <a:pt x="151444" y="138821"/>
                  </a:lnTo>
                  <a:lnTo>
                    <a:pt x="149877" y="139171"/>
                  </a:lnTo>
                  <a:lnTo>
                    <a:pt x="147964" y="139277"/>
                  </a:lnTo>
                  <a:lnTo>
                    <a:pt x="145832" y="140541"/>
                  </a:lnTo>
                  <a:lnTo>
                    <a:pt x="143753" y="142759"/>
                  </a:lnTo>
                  <a:lnTo>
                    <a:pt x="142582" y="144714"/>
                  </a:lnTo>
                  <a:lnTo>
                    <a:pt x="141956" y="145416"/>
                  </a:lnTo>
                  <a:lnTo>
                    <a:pt x="140935" y="143581"/>
                  </a:lnTo>
                  <a:lnTo>
                    <a:pt x="139688" y="142321"/>
                  </a:lnTo>
                  <a:lnTo>
                    <a:pt x="138806" y="141667"/>
                  </a:lnTo>
                  <a:lnTo>
                    <a:pt x="138017" y="141666"/>
                  </a:lnTo>
                  <a:lnTo>
                    <a:pt x="137810" y="141934"/>
                  </a:lnTo>
                  <a:lnTo>
                    <a:pt x="137808" y="142895"/>
                  </a:lnTo>
                  <a:lnTo>
                    <a:pt x="138650" y="144491"/>
                  </a:lnTo>
                  <a:lnTo>
                    <a:pt x="139693" y="145579"/>
                  </a:lnTo>
                  <a:lnTo>
                    <a:pt x="139859" y="146382"/>
                  </a:lnTo>
                  <a:lnTo>
                    <a:pt x="140418" y="147843"/>
                  </a:lnTo>
                  <a:lnTo>
                    <a:pt x="141936" y="149437"/>
                  </a:lnTo>
                  <a:lnTo>
                    <a:pt x="144318" y="150700"/>
                  </a:lnTo>
                  <a:lnTo>
                    <a:pt x="145942" y="151943"/>
                  </a:lnTo>
                  <a:lnTo>
                    <a:pt x="147145" y="153665"/>
                  </a:lnTo>
                  <a:lnTo>
                    <a:pt x="147156" y="154194"/>
                  </a:lnTo>
                  <a:lnTo>
                    <a:pt x="146825" y="154897"/>
                  </a:lnTo>
                  <a:lnTo>
                    <a:pt x="146257" y="155559"/>
                  </a:lnTo>
                  <a:lnTo>
                    <a:pt x="145778" y="156421"/>
                  </a:lnTo>
                  <a:lnTo>
                    <a:pt x="144459" y="158163"/>
                  </a:lnTo>
                  <a:lnTo>
                    <a:pt x="144849" y="158924"/>
                  </a:lnTo>
                  <a:lnTo>
                    <a:pt x="145929" y="159885"/>
                  </a:lnTo>
                  <a:lnTo>
                    <a:pt x="146886" y="161038"/>
                  </a:lnTo>
                  <a:lnTo>
                    <a:pt x="148112" y="162901"/>
                  </a:lnTo>
                  <a:lnTo>
                    <a:pt x="149799" y="166162"/>
                  </a:lnTo>
                  <a:lnTo>
                    <a:pt x="150885" y="167503"/>
                  </a:lnTo>
                  <a:lnTo>
                    <a:pt x="152360" y="168887"/>
                  </a:lnTo>
                  <a:lnTo>
                    <a:pt x="153809" y="169943"/>
                  </a:lnTo>
                  <a:lnTo>
                    <a:pt x="156093" y="169911"/>
                  </a:lnTo>
                  <a:lnTo>
                    <a:pt x="158460" y="171925"/>
                  </a:lnTo>
                  <a:lnTo>
                    <a:pt x="161043" y="174835"/>
                  </a:lnTo>
                  <a:lnTo>
                    <a:pt x="162973" y="176169"/>
                  </a:lnTo>
                  <a:lnTo>
                    <a:pt x="164321" y="176575"/>
                  </a:lnTo>
                  <a:lnTo>
                    <a:pt x="165433" y="177622"/>
                  </a:lnTo>
                  <a:lnTo>
                    <a:pt x="166420" y="179127"/>
                  </a:lnTo>
                  <a:lnTo>
                    <a:pt x="166806" y="179997"/>
                  </a:lnTo>
                  <a:lnTo>
                    <a:pt x="167681" y="180625"/>
                  </a:lnTo>
                  <a:lnTo>
                    <a:pt x="170045" y="180508"/>
                  </a:lnTo>
                  <a:lnTo>
                    <a:pt x="173081" y="182873"/>
                  </a:lnTo>
                  <a:lnTo>
                    <a:pt x="174960" y="184603"/>
                  </a:lnTo>
                  <a:lnTo>
                    <a:pt x="175951" y="185999"/>
                  </a:lnTo>
                  <a:lnTo>
                    <a:pt x="175690" y="186552"/>
                  </a:lnTo>
                  <a:lnTo>
                    <a:pt x="175569" y="188289"/>
                  </a:lnTo>
                  <a:lnTo>
                    <a:pt x="175599" y="190129"/>
                  </a:lnTo>
                  <a:lnTo>
                    <a:pt x="175301" y="191102"/>
                  </a:lnTo>
                  <a:lnTo>
                    <a:pt x="173943" y="192382"/>
                  </a:lnTo>
                  <a:lnTo>
                    <a:pt x="173241" y="192654"/>
                  </a:lnTo>
                  <a:lnTo>
                    <a:pt x="172866" y="192930"/>
                  </a:lnTo>
                  <a:lnTo>
                    <a:pt x="168696" y="191261"/>
                  </a:lnTo>
                  <a:lnTo>
                    <a:pt x="168365" y="191546"/>
                  </a:lnTo>
                  <a:lnTo>
                    <a:pt x="168104" y="191752"/>
                  </a:lnTo>
                  <a:lnTo>
                    <a:pt x="166988" y="196586"/>
                  </a:lnTo>
                  <a:lnTo>
                    <a:pt x="166219" y="197514"/>
                  </a:lnTo>
                  <a:lnTo>
                    <a:pt x="165074" y="198368"/>
                  </a:lnTo>
                  <a:lnTo>
                    <a:pt x="162695" y="199199"/>
                  </a:lnTo>
                  <a:lnTo>
                    <a:pt x="161041" y="199537"/>
                  </a:lnTo>
                  <a:lnTo>
                    <a:pt x="159752" y="199958"/>
                  </a:lnTo>
                  <a:lnTo>
                    <a:pt x="155668" y="201977"/>
                  </a:lnTo>
                  <a:lnTo>
                    <a:pt x="153828" y="203189"/>
                  </a:lnTo>
                  <a:lnTo>
                    <a:pt x="152636" y="204711"/>
                  </a:lnTo>
                  <a:lnTo>
                    <a:pt x="152630" y="205587"/>
                  </a:lnTo>
                  <a:lnTo>
                    <a:pt x="154616" y="208160"/>
                  </a:lnTo>
                  <a:lnTo>
                    <a:pt x="156908" y="210815"/>
                  </a:lnTo>
                  <a:lnTo>
                    <a:pt x="156923" y="213149"/>
                  </a:lnTo>
                  <a:lnTo>
                    <a:pt x="155908" y="214893"/>
                  </a:lnTo>
                  <a:lnTo>
                    <a:pt x="155672" y="215567"/>
                  </a:lnTo>
                  <a:lnTo>
                    <a:pt x="156346" y="215820"/>
                  </a:lnTo>
                  <a:lnTo>
                    <a:pt x="157616" y="215917"/>
                  </a:lnTo>
                  <a:lnTo>
                    <a:pt x="158678" y="216217"/>
                  </a:lnTo>
                  <a:lnTo>
                    <a:pt x="159132" y="217443"/>
                  </a:lnTo>
                  <a:lnTo>
                    <a:pt x="158996" y="219578"/>
                  </a:lnTo>
                  <a:lnTo>
                    <a:pt x="158633" y="221575"/>
                  </a:lnTo>
                  <a:lnTo>
                    <a:pt x="158253" y="222415"/>
                  </a:lnTo>
                  <a:lnTo>
                    <a:pt x="157229" y="222482"/>
                  </a:lnTo>
                  <a:lnTo>
                    <a:pt x="155258" y="221619"/>
                  </a:lnTo>
                  <a:lnTo>
                    <a:pt x="153720" y="220616"/>
                  </a:lnTo>
                  <a:lnTo>
                    <a:pt x="153133" y="219999"/>
                  </a:lnTo>
                  <a:lnTo>
                    <a:pt x="153096" y="219261"/>
                  </a:lnTo>
                  <a:lnTo>
                    <a:pt x="153429" y="218795"/>
                  </a:lnTo>
                  <a:lnTo>
                    <a:pt x="152880" y="217885"/>
                  </a:lnTo>
                  <a:lnTo>
                    <a:pt x="150989" y="217044"/>
                  </a:lnTo>
                  <a:lnTo>
                    <a:pt x="148963" y="217410"/>
                  </a:lnTo>
                  <a:lnTo>
                    <a:pt x="147467" y="217977"/>
                  </a:lnTo>
                  <a:lnTo>
                    <a:pt x="146502" y="217944"/>
                  </a:lnTo>
                  <a:lnTo>
                    <a:pt x="145459" y="217134"/>
                  </a:lnTo>
                  <a:lnTo>
                    <a:pt x="143854" y="216514"/>
                  </a:lnTo>
                  <a:lnTo>
                    <a:pt x="141757" y="216105"/>
                  </a:lnTo>
                  <a:lnTo>
                    <a:pt x="140451" y="215668"/>
                  </a:lnTo>
                  <a:lnTo>
                    <a:pt x="140176" y="215926"/>
                  </a:lnTo>
                  <a:lnTo>
                    <a:pt x="140330" y="217679"/>
                  </a:lnTo>
                  <a:lnTo>
                    <a:pt x="139928" y="218444"/>
                  </a:lnTo>
                  <a:lnTo>
                    <a:pt x="129561" y="219456"/>
                  </a:lnTo>
                  <a:lnTo>
                    <a:pt x="126402" y="220404"/>
                  </a:lnTo>
                  <a:lnTo>
                    <a:pt x="124102" y="221629"/>
                  </a:lnTo>
                  <a:lnTo>
                    <a:pt x="122400" y="222160"/>
                  </a:lnTo>
                  <a:lnTo>
                    <a:pt x="121984" y="222915"/>
                  </a:lnTo>
                  <a:lnTo>
                    <a:pt x="120299" y="223906"/>
                  </a:lnTo>
                  <a:lnTo>
                    <a:pt x="118397" y="224223"/>
                  </a:lnTo>
                  <a:lnTo>
                    <a:pt x="117939" y="223898"/>
                  </a:lnTo>
                  <a:lnTo>
                    <a:pt x="116719" y="224356"/>
                  </a:lnTo>
                  <a:lnTo>
                    <a:pt x="114640" y="224797"/>
                  </a:lnTo>
                  <a:lnTo>
                    <a:pt x="113288" y="224657"/>
                  </a:lnTo>
                  <a:lnTo>
                    <a:pt x="112653" y="223856"/>
                  </a:lnTo>
                  <a:lnTo>
                    <a:pt x="111366" y="222629"/>
                  </a:lnTo>
                  <a:lnTo>
                    <a:pt x="110850" y="221778"/>
                  </a:lnTo>
                  <a:lnTo>
                    <a:pt x="110904" y="221233"/>
                  </a:lnTo>
                  <a:lnTo>
                    <a:pt x="107997" y="221123"/>
                  </a:lnTo>
                  <a:lnTo>
                    <a:pt x="106164" y="220475"/>
                  </a:lnTo>
                  <a:lnTo>
                    <a:pt x="102275" y="220627"/>
                  </a:lnTo>
                  <a:lnTo>
                    <a:pt x="101316" y="220353"/>
                  </a:lnTo>
                  <a:lnTo>
                    <a:pt x="101116" y="220647"/>
                  </a:lnTo>
                  <a:lnTo>
                    <a:pt x="100530" y="224128"/>
                  </a:lnTo>
                  <a:lnTo>
                    <a:pt x="99761" y="225556"/>
                  </a:lnTo>
                  <a:lnTo>
                    <a:pt x="98515" y="227030"/>
                  </a:lnTo>
                  <a:lnTo>
                    <a:pt x="96920" y="227850"/>
                  </a:lnTo>
                  <a:lnTo>
                    <a:pt x="95646" y="227999"/>
                  </a:lnTo>
                  <a:lnTo>
                    <a:pt x="95706" y="226925"/>
                  </a:lnTo>
                  <a:lnTo>
                    <a:pt x="96028" y="225630"/>
                  </a:lnTo>
                  <a:lnTo>
                    <a:pt x="95110" y="225326"/>
                  </a:lnTo>
                  <a:lnTo>
                    <a:pt x="93732" y="225177"/>
                  </a:lnTo>
                  <a:lnTo>
                    <a:pt x="93065" y="224791"/>
                  </a:lnTo>
                  <a:lnTo>
                    <a:pt x="93240" y="223805"/>
                  </a:lnTo>
                  <a:lnTo>
                    <a:pt x="92923" y="223229"/>
                  </a:lnTo>
                  <a:lnTo>
                    <a:pt x="92353" y="222541"/>
                  </a:lnTo>
                  <a:lnTo>
                    <a:pt x="90971" y="221651"/>
                  </a:lnTo>
                  <a:lnTo>
                    <a:pt x="88042" y="220332"/>
                  </a:lnTo>
                  <a:lnTo>
                    <a:pt x="86047" y="219680"/>
                  </a:lnTo>
                  <a:lnTo>
                    <a:pt x="85300" y="220374"/>
                  </a:lnTo>
                  <a:lnTo>
                    <a:pt x="83873" y="221074"/>
                  </a:lnTo>
                  <a:lnTo>
                    <a:pt x="81625" y="220845"/>
                  </a:lnTo>
                  <a:lnTo>
                    <a:pt x="81074" y="221120"/>
                  </a:lnTo>
                  <a:lnTo>
                    <a:pt x="77226" y="219023"/>
                  </a:lnTo>
                  <a:lnTo>
                    <a:pt x="73529" y="217005"/>
                  </a:lnTo>
                  <a:lnTo>
                    <a:pt x="72307" y="217005"/>
                  </a:lnTo>
                  <a:lnTo>
                    <a:pt x="66859" y="217408"/>
                  </a:lnTo>
                  <a:lnTo>
                    <a:pt x="66701" y="217230"/>
                  </a:lnTo>
                  <a:lnTo>
                    <a:pt x="65753" y="216080"/>
                  </a:lnTo>
                  <a:lnTo>
                    <a:pt x="64911" y="215716"/>
                  </a:lnTo>
                  <a:lnTo>
                    <a:pt x="64404" y="215903"/>
                  </a:lnTo>
                  <a:lnTo>
                    <a:pt x="64065" y="216237"/>
                  </a:lnTo>
                  <a:lnTo>
                    <a:pt x="63480" y="216180"/>
                  </a:lnTo>
                  <a:lnTo>
                    <a:pt x="61037" y="214322"/>
                  </a:lnTo>
                  <a:lnTo>
                    <a:pt x="60038" y="214054"/>
                  </a:lnTo>
                  <a:lnTo>
                    <a:pt x="58649" y="214300"/>
                  </a:lnTo>
                  <a:lnTo>
                    <a:pt x="57010" y="215300"/>
                  </a:lnTo>
                  <a:lnTo>
                    <a:pt x="56295" y="216525"/>
                  </a:lnTo>
                  <a:lnTo>
                    <a:pt x="56513" y="217230"/>
                  </a:lnTo>
                  <a:lnTo>
                    <a:pt x="57364" y="217537"/>
                  </a:lnTo>
                  <a:lnTo>
                    <a:pt x="59588" y="217331"/>
                  </a:lnTo>
                  <a:lnTo>
                    <a:pt x="59914" y="217534"/>
                  </a:lnTo>
                  <a:lnTo>
                    <a:pt x="59990" y="217930"/>
                  </a:lnTo>
                  <a:lnTo>
                    <a:pt x="59746" y="218318"/>
                  </a:lnTo>
                  <a:lnTo>
                    <a:pt x="57937" y="218636"/>
                  </a:lnTo>
                  <a:lnTo>
                    <a:pt x="57414" y="219099"/>
                  </a:lnTo>
                  <a:lnTo>
                    <a:pt x="56885" y="219213"/>
                  </a:lnTo>
                  <a:lnTo>
                    <a:pt x="56546" y="219285"/>
                  </a:lnTo>
                  <a:lnTo>
                    <a:pt x="54624" y="218798"/>
                  </a:lnTo>
                  <a:lnTo>
                    <a:pt x="51759" y="218798"/>
                  </a:lnTo>
                  <a:lnTo>
                    <a:pt x="49448" y="219662"/>
                  </a:lnTo>
                  <a:lnTo>
                    <a:pt x="45762" y="220007"/>
                  </a:lnTo>
                  <a:lnTo>
                    <a:pt x="40698" y="219838"/>
                  </a:lnTo>
                  <a:lnTo>
                    <a:pt x="38876" y="219197"/>
                  </a:lnTo>
                  <a:lnTo>
                    <a:pt x="37766" y="218809"/>
                  </a:lnTo>
                  <a:lnTo>
                    <a:pt x="36969" y="216916"/>
                  </a:lnTo>
                  <a:lnTo>
                    <a:pt x="37172" y="214110"/>
                  </a:lnTo>
                  <a:lnTo>
                    <a:pt x="38381" y="210391"/>
                  </a:lnTo>
                  <a:lnTo>
                    <a:pt x="38718" y="207658"/>
                  </a:lnTo>
                  <a:lnTo>
                    <a:pt x="38180" y="205916"/>
                  </a:lnTo>
                  <a:lnTo>
                    <a:pt x="38897" y="203303"/>
                  </a:lnTo>
                  <a:lnTo>
                    <a:pt x="40867" y="199818"/>
                  </a:lnTo>
                  <a:lnTo>
                    <a:pt x="42182" y="196136"/>
                  </a:lnTo>
                  <a:lnTo>
                    <a:pt x="42838" y="192255"/>
                  </a:lnTo>
                  <a:lnTo>
                    <a:pt x="43792" y="189722"/>
                  </a:lnTo>
                  <a:lnTo>
                    <a:pt x="45667" y="187945"/>
                  </a:lnTo>
                  <a:lnTo>
                    <a:pt x="50117" y="182971"/>
                  </a:lnTo>
                  <a:lnTo>
                    <a:pt x="50478" y="182596"/>
                  </a:lnTo>
                  <a:lnTo>
                    <a:pt x="50357" y="180111"/>
                  </a:lnTo>
                  <a:lnTo>
                    <a:pt x="49158" y="179760"/>
                  </a:lnTo>
                  <a:lnTo>
                    <a:pt x="47403" y="179046"/>
                  </a:lnTo>
                  <a:lnTo>
                    <a:pt x="42935" y="178162"/>
                  </a:lnTo>
                  <a:lnTo>
                    <a:pt x="38772" y="177595"/>
                  </a:lnTo>
                  <a:lnTo>
                    <a:pt x="36882" y="176892"/>
                  </a:lnTo>
                  <a:lnTo>
                    <a:pt x="35226" y="175011"/>
                  </a:lnTo>
                  <a:lnTo>
                    <a:pt x="34200" y="174986"/>
                  </a:lnTo>
                  <a:lnTo>
                    <a:pt x="32192" y="175659"/>
                  </a:lnTo>
                  <a:lnTo>
                    <a:pt x="29683" y="176114"/>
                  </a:lnTo>
                  <a:lnTo>
                    <a:pt x="27859" y="175716"/>
                  </a:lnTo>
                  <a:lnTo>
                    <a:pt x="26716" y="175793"/>
                  </a:lnTo>
                  <a:lnTo>
                    <a:pt x="26075" y="176140"/>
                  </a:lnTo>
                  <a:lnTo>
                    <a:pt x="25753" y="175833"/>
                  </a:lnTo>
                  <a:lnTo>
                    <a:pt x="25295" y="174220"/>
                  </a:lnTo>
                  <a:lnTo>
                    <a:pt x="24341" y="173798"/>
                  </a:lnTo>
                  <a:lnTo>
                    <a:pt x="22857" y="173429"/>
                  </a:lnTo>
                  <a:lnTo>
                    <a:pt x="21935" y="173589"/>
                  </a:lnTo>
                  <a:lnTo>
                    <a:pt x="21298" y="174390"/>
                  </a:lnTo>
                  <a:lnTo>
                    <a:pt x="20316" y="174955"/>
                  </a:lnTo>
                  <a:lnTo>
                    <a:pt x="19413" y="174771"/>
                  </a:lnTo>
                  <a:lnTo>
                    <a:pt x="16586" y="171044"/>
                  </a:lnTo>
                  <a:lnTo>
                    <a:pt x="15858" y="170219"/>
                  </a:lnTo>
                  <a:lnTo>
                    <a:pt x="15673" y="169460"/>
                  </a:lnTo>
                  <a:lnTo>
                    <a:pt x="14965" y="168071"/>
                  </a:lnTo>
                  <a:lnTo>
                    <a:pt x="13280" y="166689"/>
                  </a:lnTo>
                  <a:lnTo>
                    <a:pt x="11603" y="166251"/>
                  </a:lnTo>
                  <a:lnTo>
                    <a:pt x="10765" y="166406"/>
                  </a:lnTo>
                  <a:lnTo>
                    <a:pt x="10855" y="164686"/>
                  </a:lnTo>
                  <a:lnTo>
                    <a:pt x="11516" y="162190"/>
                  </a:lnTo>
                  <a:lnTo>
                    <a:pt x="12144" y="160886"/>
                  </a:lnTo>
                  <a:lnTo>
                    <a:pt x="12982" y="159820"/>
                  </a:lnTo>
                  <a:lnTo>
                    <a:pt x="13870" y="159079"/>
                  </a:lnTo>
                  <a:lnTo>
                    <a:pt x="14069" y="157738"/>
                  </a:lnTo>
                  <a:lnTo>
                    <a:pt x="13926" y="156469"/>
                  </a:lnTo>
                  <a:lnTo>
                    <a:pt x="12900" y="156272"/>
                  </a:lnTo>
                  <a:lnTo>
                    <a:pt x="10329" y="155334"/>
                  </a:lnTo>
                  <a:lnTo>
                    <a:pt x="8813" y="154346"/>
                  </a:lnTo>
                  <a:lnTo>
                    <a:pt x="7681" y="153108"/>
                  </a:lnTo>
                  <a:lnTo>
                    <a:pt x="6206" y="151401"/>
                  </a:lnTo>
                  <a:lnTo>
                    <a:pt x="5578" y="149667"/>
                  </a:lnTo>
                  <a:lnTo>
                    <a:pt x="5546" y="147938"/>
                  </a:lnTo>
                  <a:lnTo>
                    <a:pt x="5727" y="147164"/>
                  </a:lnTo>
                  <a:lnTo>
                    <a:pt x="5833" y="146633"/>
                  </a:lnTo>
                  <a:lnTo>
                    <a:pt x="7023" y="143934"/>
                  </a:lnTo>
                  <a:lnTo>
                    <a:pt x="11210" y="141516"/>
                  </a:lnTo>
                  <a:lnTo>
                    <a:pt x="10749" y="139079"/>
                  </a:lnTo>
                  <a:lnTo>
                    <a:pt x="10689" y="137584"/>
                  </a:lnTo>
                  <a:lnTo>
                    <a:pt x="9672" y="136605"/>
                  </a:lnTo>
                  <a:lnTo>
                    <a:pt x="7640" y="136209"/>
                  </a:lnTo>
                  <a:lnTo>
                    <a:pt x="7102" y="135530"/>
                  </a:lnTo>
                  <a:lnTo>
                    <a:pt x="6876" y="134867"/>
                  </a:lnTo>
                  <a:lnTo>
                    <a:pt x="8368" y="133375"/>
                  </a:lnTo>
                  <a:lnTo>
                    <a:pt x="6567" y="132195"/>
                  </a:lnTo>
                  <a:lnTo>
                    <a:pt x="5792" y="130974"/>
                  </a:lnTo>
                  <a:lnTo>
                    <a:pt x="3282" y="129432"/>
                  </a:lnTo>
                  <a:lnTo>
                    <a:pt x="3017" y="128901"/>
                  </a:lnTo>
                  <a:lnTo>
                    <a:pt x="4222" y="124399"/>
                  </a:lnTo>
                  <a:lnTo>
                    <a:pt x="3302" y="123084"/>
                  </a:lnTo>
                  <a:lnTo>
                    <a:pt x="2157" y="122413"/>
                  </a:lnTo>
                  <a:lnTo>
                    <a:pt x="823" y="122083"/>
                  </a:lnTo>
                  <a:lnTo>
                    <a:pt x="214" y="121457"/>
                  </a:lnTo>
                  <a:lnTo>
                    <a:pt x="0" y="120742"/>
                  </a:lnTo>
                  <a:lnTo>
                    <a:pt x="240" y="120299"/>
                  </a:lnTo>
                  <a:lnTo>
                    <a:pt x="1807" y="120430"/>
                  </a:lnTo>
                  <a:lnTo>
                    <a:pt x="2289" y="119966"/>
                  </a:lnTo>
                  <a:lnTo>
                    <a:pt x="6025" y="117313"/>
                  </a:lnTo>
                  <a:lnTo>
                    <a:pt x="6178" y="116803"/>
                  </a:lnTo>
                  <a:lnTo>
                    <a:pt x="5658" y="116514"/>
                  </a:lnTo>
                  <a:lnTo>
                    <a:pt x="4973" y="116360"/>
                  </a:lnTo>
                  <a:lnTo>
                    <a:pt x="4805" y="115802"/>
                  </a:lnTo>
                  <a:lnTo>
                    <a:pt x="4829" y="115067"/>
                  </a:lnTo>
                  <a:lnTo>
                    <a:pt x="6826" y="111235"/>
                  </a:lnTo>
                  <a:lnTo>
                    <a:pt x="7416" y="109599"/>
                  </a:lnTo>
                  <a:lnTo>
                    <a:pt x="7547" y="108442"/>
                  </a:lnTo>
                  <a:lnTo>
                    <a:pt x="7424" y="107299"/>
                  </a:lnTo>
                  <a:lnTo>
                    <a:pt x="6282" y="105500"/>
                  </a:lnTo>
                  <a:lnTo>
                    <a:pt x="5165" y="104064"/>
                  </a:lnTo>
                  <a:lnTo>
                    <a:pt x="5127" y="102920"/>
                  </a:lnTo>
                  <a:lnTo>
                    <a:pt x="4317" y="102318"/>
                  </a:lnTo>
                  <a:lnTo>
                    <a:pt x="2013" y="99249"/>
                  </a:lnTo>
                  <a:lnTo>
                    <a:pt x="2017" y="98061"/>
                  </a:lnTo>
                  <a:lnTo>
                    <a:pt x="3319" y="97138"/>
                  </a:lnTo>
                  <a:lnTo>
                    <a:pt x="5137" y="96549"/>
                  </a:lnTo>
                  <a:lnTo>
                    <a:pt x="5742" y="96063"/>
                  </a:lnTo>
                  <a:lnTo>
                    <a:pt x="6832" y="95757"/>
                  </a:lnTo>
                  <a:lnTo>
                    <a:pt x="9720" y="96644"/>
                  </a:lnTo>
                  <a:lnTo>
                    <a:pt x="11015" y="97413"/>
                  </a:lnTo>
                  <a:lnTo>
                    <a:pt x="11380" y="97254"/>
                  </a:lnTo>
                  <a:lnTo>
                    <a:pt x="12548" y="96417"/>
                  </a:lnTo>
                  <a:lnTo>
                    <a:pt x="14595" y="96549"/>
                  </a:lnTo>
                  <a:lnTo>
                    <a:pt x="19553" y="94867"/>
                  </a:lnTo>
                  <a:lnTo>
                    <a:pt x="20292" y="94058"/>
                  </a:lnTo>
                  <a:lnTo>
                    <a:pt x="20849" y="93198"/>
                  </a:lnTo>
                  <a:lnTo>
                    <a:pt x="20894" y="92820"/>
                  </a:lnTo>
                  <a:lnTo>
                    <a:pt x="18975" y="91164"/>
                  </a:lnTo>
                  <a:lnTo>
                    <a:pt x="18916" y="90551"/>
                  </a:lnTo>
                  <a:lnTo>
                    <a:pt x="19171" y="89860"/>
                  </a:lnTo>
                  <a:lnTo>
                    <a:pt x="19713" y="89314"/>
                  </a:lnTo>
                  <a:lnTo>
                    <a:pt x="20849" y="88943"/>
                  </a:lnTo>
                  <a:lnTo>
                    <a:pt x="22058" y="88215"/>
                  </a:lnTo>
                  <a:lnTo>
                    <a:pt x="24759" y="86149"/>
                  </a:lnTo>
                  <a:lnTo>
                    <a:pt x="25697" y="84355"/>
                  </a:lnTo>
                  <a:lnTo>
                    <a:pt x="25984" y="82411"/>
                  </a:lnTo>
                  <a:lnTo>
                    <a:pt x="26040" y="80964"/>
                  </a:lnTo>
                  <a:lnTo>
                    <a:pt x="25304" y="79812"/>
                  </a:lnTo>
                  <a:lnTo>
                    <a:pt x="24559" y="79066"/>
                  </a:lnTo>
                  <a:lnTo>
                    <a:pt x="23540" y="79179"/>
                  </a:lnTo>
                  <a:lnTo>
                    <a:pt x="21559" y="79120"/>
                  </a:lnTo>
                  <a:lnTo>
                    <a:pt x="19709" y="78473"/>
                  </a:lnTo>
                  <a:lnTo>
                    <a:pt x="18694" y="77426"/>
                  </a:lnTo>
                  <a:lnTo>
                    <a:pt x="18444" y="76505"/>
                  </a:lnTo>
                  <a:lnTo>
                    <a:pt x="18903" y="75925"/>
                  </a:lnTo>
                  <a:lnTo>
                    <a:pt x="19044" y="75212"/>
                  </a:lnTo>
                  <a:lnTo>
                    <a:pt x="18748" y="74495"/>
                  </a:lnTo>
                  <a:lnTo>
                    <a:pt x="18867" y="73893"/>
                  </a:lnTo>
                  <a:lnTo>
                    <a:pt x="19700" y="73410"/>
                  </a:lnTo>
                  <a:lnTo>
                    <a:pt x="25554" y="73426"/>
                  </a:lnTo>
                  <a:lnTo>
                    <a:pt x="25993" y="72895"/>
                  </a:lnTo>
                  <a:lnTo>
                    <a:pt x="26388" y="70108"/>
                  </a:lnTo>
                  <a:lnTo>
                    <a:pt x="27852" y="65859"/>
                  </a:lnTo>
                  <a:lnTo>
                    <a:pt x="29232" y="63490"/>
                  </a:lnTo>
                  <a:lnTo>
                    <a:pt x="29463" y="62493"/>
                  </a:lnTo>
                  <a:lnTo>
                    <a:pt x="29441" y="56866"/>
                  </a:lnTo>
                  <a:lnTo>
                    <a:pt x="29625" y="54011"/>
                  </a:lnTo>
                  <a:lnTo>
                    <a:pt x="28625" y="52668"/>
                  </a:lnTo>
                  <a:lnTo>
                    <a:pt x="26442" y="51197"/>
                  </a:lnTo>
                  <a:lnTo>
                    <a:pt x="26906" y="48132"/>
                  </a:lnTo>
                  <a:lnTo>
                    <a:pt x="27632" y="45741"/>
                  </a:lnTo>
                  <a:lnTo>
                    <a:pt x="29828" y="42797"/>
                  </a:lnTo>
                  <a:lnTo>
                    <a:pt x="31570" y="41987"/>
                  </a:lnTo>
                  <a:lnTo>
                    <a:pt x="39176" y="41506"/>
                  </a:lnTo>
                  <a:lnTo>
                    <a:pt x="47580" y="41704"/>
                  </a:lnTo>
                  <a:lnTo>
                    <a:pt x="51069" y="46150"/>
                  </a:lnTo>
                  <a:lnTo>
                    <a:pt x="49774" y="48432"/>
                  </a:lnTo>
                  <a:lnTo>
                    <a:pt x="51814" y="49494"/>
                  </a:lnTo>
                  <a:lnTo>
                    <a:pt x="52797" y="49106"/>
                  </a:lnTo>
                  <a:lnTo>
                    <a:pt x="53544" y="47121"/>
                  </a:lnTo>
                  <a:lnTo>
                    <a:pt x="54043" y="44922"/>
                  </a:lnTo>
                  <a:lnTo>
                    <a:pt x="54758" y="44256"/>
                  </a:lnTo>
                  <a:lnTo>
                    <a:pt x="57356" y="45900"/>
                  </a:lnTo>
                  <a:lnTo>
                    <a:pt x="58269" y="47026"/>
                  </a:lnTo>
                  <a:lnTo>
                    <a:pt x="58325" y="50644"/>
                  </a:lnTo>
                  <a:lnTo>
                    <a:pt x="59282" y="45743"/>
                  </a:lnTo>
                  <a:lnTo>
                    <a:pt x="58569" y="42307"/>
                  </a:lnTo>
                  <a:lnTo>
                    <a:pt x="59059" y="38972"/>
                  </a:lnTo>
                  <a:lnTo>
                    <a:pt x="60102" y="37235"/>
                  </a:lnTo>
                  <a:lnTo>
                    <a:pt x="61061" y="36130"/>
                  </a:lnTo>
                  <a:lnTo>
                    <a:pt x="67226" y="37320"/>
                  </a:lnTo>
                  <a:lnTo>
                    <a:pt x="74032" y="36706"/>
                  </a:lnTo>
                  <a:lnTo>
                    <a:pt x="76606" y="37992"/>
                  </a:lnTo>
                  <a:lnTo>
                    <a:pt x="82430" y="44428"/>
                  </a:lnTo>
                  <a:lnTo>
                    <a:pt x="84372" y="45480"/>
                  </a:lnTo>
                  <a:lnTo>
                    <a:pt x="86822" y="45811"/>
                  </a:lnTo>
                  <a:lnTo>
                    <a:pt x="83445" y="44437"/>
                  </a:lnTo>
                  <a:lnTo>
                    <a:pt x="76386" y="36610"/>
                  </a:lnTo>
                  <a:lnTo>
                    <a:pt x="74272" y="35639"/>
                  </a:lnTo>
                  <a:lnTo>
                    <a:pt x="71027" y="35344"/>
                  </a:lnTo>
                  <a:lnTo>
                    <a:pt x="69003" y="34578"/>
                  </a:lnTo>
                  <a:lnTo>
                    <a:pt x="67727" y="33392"/>
                  </a:lnTo>
                  <a:lnTo>
                    <a:pt x="67353" y="32332"/>
                  </a:lnTo>
                  <a:lnTo>
                    <a:pt x="67423" y="24417"/>
                  </a:lnTo>
                  <a:lnTo>
                    <a:pt x="66205" y="23237"/>
                  </a:lnTo>
                  <a:lnTo>
                    <a:pt x="64631" y="22826"/>
                  </a:lnTo>
                  <a:lnTo>
                    <a:pt x="63650" y="23369"/>
                  </a:lnTo>
                  <a:lnTo>
                    <a:pt x="61636" y="23376"/>
                  </a:lnTo>
                  <a:lnTo>
                    <a:pt x="61212" y="21579"/>
                  </a:lnTo>
                  <a:lnTo>
                    <a:pt x="61704" y="20247"/>
                  </a:lnTo>
                  <a:lnTo>
                    <a:pt x="65753" y="19336"/>
                  </a:lnTo>
                  <a:lnTo>
                    <a:pt x="68422" y="18114"/>
                  </a:lnTo>
                  <a:lnTo>
                    <a:pt x="68541" y="15954"/>
                  </a:lnTo>
                  <a:lnTo>
                    <a:pt x="66855" y="14254"/>
                  </a:lnTo>
                  <a:lnTo>
                    <a:pt x="64836" y="11133"/>
                  </a:lnTo>
                  <a:lnTo>
                    <a:pt x="62463" y="8196"/>
                  </a:lnTo>
                  <a:close/>
                  <a:moveTo>
                    <a:pt x="56334" y="0"/>
                  </a:moveTo>
                  <a:lnTo>
                    <a:pt x="57358" y="103"/>
                  </a:lnTo>
                  <a:lnTo>
                    <a:pt x="56310" y="1353"/>
                  </a:lnTo>
                  <a:lnTo>
                    <a:pt x="56008" y="2228"/>
                  </a:lnTo>
                  <a:lnTo>
                    <a:pt x="55583" y="3975"/>
                  </a:lnTo>
                  <a:lnTo>
                    <a:pt x="55775" y="4882"/>
                  </a:lnTo>
                  <a:lnTo>
                    <a:pt x="61296" y="5131"/>
                  </a:lnTo>
                  <a:lnTo>
                    <a:pt x="60655" y="5940"/>
                  </a:lnTo>
                  <a:lnTo>
                    <a:pt x="55056" y="6486"/>
                  </a:lnTo>
                  <a:lnTo>
                    <a:pt x="54179" y="8345"/>
                  </a:lnTo>
                  <a:lnTo>
                    <a:pt x="53669" y="8954"/>
                  </a:lnTo>
                  <a:lnTo>
                    <a:pt x="53913" y="4623"/>
                  </a:lnTo>
                  <a:close/>
                </a:path>
              </a:pathLst>
            </a:custGeom>
            <a:grpFill/>
            <a:ln w="3175"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3" name="ee4p_DK_1_92573">
              <a:extLst>
                <a:ext uri="{FF2B5EF4-FFF2-40B4-BE49-F238E27FC236}">
                  <a16:creationId xmlns:a16="http://schemas.microsoft.com/office/drawing/2014/main" id="{51002815-FE8C-469A-9B98-7A4E2381092A}"/>
                </a:ext>
              </a:extLst>
            </p:cNvPr>
            <p:cNvSpPr>
              <a:spLocks noChangeAspect="1"/>
            </p:cNvSpPr>
            <p:nvPr>
              <p:custDataLst>
                <p:tags r:id="rId7"/>
              </p:custDataLst>
            </p:nvPr>
          </p:nvSpPr>
          <p:spPr>
            <a:xfrm>
              <a:off x="4483616" y="3601608"/>
              <a:ext cx="614971" cy="385026"/>
            </a:xfrm>
            <a:custGeom>
              <a:avLst/>
              <a:gdLst>
                <a:gd name="connsiteX0" fmla="*/ 69366 w 155130"/>
                <a:gd name="connsiteY0" fmla="*/ 87225 h 97125"/>
                <a:gd name="connsiteX1" fmla="*/ 71642 w 155130"/>
                <a:gd name="connsiteY1" fmla="*/ 89072 h 97125"/>
                <a:gd name="connsiteX2" fmla="*/ 75555 w 155130"/>
                <a:gd name="connsiteY2" fmla="*/ 90976 h 97125"/>
                <a:gd name="connsiteX3" fmla="*/ 78202 w 155130"/>
                <a:gd name="connsiteY3" fmla="*/ 90867 h 97125"/>
                <a:gd name="connsiteX4" fmla="*/ 80003 w 155130"/>
                <a:gd name="connsiteY4" fmla="*/ 91656 h 97125"/>
                <a:gd name="connsiteX5" fmla="*/ 80433 w 155130"/>
                <a:gd name="connsiteY5" fmla="*/ 92874 h 97125"/>
                <a:gd name="connsiteX6" fmla="*/ 80586 w 155130"/>
                <a:gd name="connsiteY6" fmla="*/ 95577 h 97125"/>
                <a:gd name="connsiteX7" fmla="*/ 78695 w 155130"/>
                <a:gd name="connsiteY7" fmla="*/ 96364 h 97125"/>
                <a:gd name="connsiteX8" fmla="*/ 76607 w 155130"/>
                <a:gd name="connsiteY8" fmla="*/ 96097 h 97125"/>
                <a:gd name="connsiteX9" fmla="*/ 73765 w 155130"/>
                <a:gd name="connsiteY9" fmla="*/ 97125 h 97125"/>
                <a:gd name="connsiteX10" fmla="*/ 64436 w 155130"/>
                <a:gd name="connsiteY10" fmla="*/ 92708 h 97125"/>
                <a:gd name="connsiteX11" fmla="*/ 64572 w 155130"/>
                <a:gd name="connsiteY11" fmla="*/ 89020 h 97125"/>
                <a:gd name="connsiteX12" fmla="*/ 64946 w 155130"/>
                <a:gd name="connsiteY12" fmla="*/ 87570 h 97125"/>
                <a:gd name="connsiteX13" fmla="*/ 45958 w 155130"/>
                <a:gd name="connsiteY13" fmla="*/ 86889 h 97125"/>
                <a:gd name="connsiteX14" fmla="*/ 47410 w 155130"/>
                <a:gd name="connsiteY14" fmla="*/ 87316 h 97125"/>
                <a:gd name="connsiteX15" fmla="*/ 49211 w 155130"/>
                <a:gd name="connsiteY15" fmla="*/ 88633 h 97125"/>
                <a:gd name="connsiteX16" fmla="*/ 50685 w 155130"/>
                <a:gd name="connsiteY16" fmla="*/ 88913 h 97125"/>
                <a:gd name="connsiteX17" fmla="*/ 52702 w 155130"/>
                <a:gd name="connsiteY17" fmla="*/ 90027 h 97125"/>
                <a:gd name="connsiteX18" fmla="*/ 52249 w 155130"/>
                <a:gd name="connsiteY18" fmla="*/ 90425 h 97125"/>
                <a:gd name="connsiteX19" fmla="*/ 50765 w 155130"/>
                <a:gd name="connsiteY19" fmla="*/ 90744 h 97125"/>
                <a:gd name="connsiteX20" fmla="*/ 49068 w 155130"/>
                <a:gd name="connsiteY20" fmla="*/ 90076 h 97125"/>
                <a:gd name="connsiteX21" fmla="*/ 46306 w 155130"/>
                <a:gd name="connsiteY21" fmla="*/ 87558 h 97125"/>
                <a:gd name="connsiteX22" fmla="*/ 91822 w 155130"/>
                <a:gd name="connsiteY22" fmla="*/ 83772 h 97125"/>
                <a:gd name="connsiteX23" fmla="*/ 92618 w 155130"/>
                <a:gd name="connsiteY23" fmla="*/ 84486 h 97125"/>
                <a:gd name="connsiteX24" fmla="*/ 94987 w 155130"/>
                <a:gd name="connsiteY24" fmla="*/ 84785 h 97125"/>
                <a:gd name="connsiteX25" fmla="*/ 96145 w 155130"/>
                <a:gd name="connsiteY25" fmla="*/ 85207 h 97125"/>
                <a:gd name="connsiteX26" fmla="*/ 97112 w 155130"/>
                <a:gd name="connsiteY26" fmla="*/ 85827 h 97125"/>
                <a:gd name="connsiteX27" fmla="*/ 97907 w 155130"/>
                <a:gd name="connsiteY27" fmla="*/ 86796 h 97125"/>
                <a:gd name="connsiteX28" fmla="*/ 97062 w 155130"/>
                <a:gd name="connsiteY28" fmla="*/ 87254 h 97125"/>
                <a:gd name="connsiteX29" fmla="*/ 93668 w 155130"/>
                <a:gd name="connsiteY29" fmla="*/ 86918 h 97125"/>
                <a:gd name="connsiteX30" fmla="*/ 89841 w 155130"/>
                <a:gd name="connsiteY30" fmla="*/ 89047 h 97125"/>
                <a:gd name="connsiteX31" fmla="*/ 88390 w 155130"/>
                <a:gd name="connsiteY31" fmla="*/ 88374 h 97125"/>
                <a:gd name="connsiteX32" fmla="*/ 88939 w 155130"/>
                <a:gd name="connsiteY32" fmla="*/ 87014 h 97125"/>
                <a:gd name="connsiteX33" fmla="*/ 89338 w 155130"/>
                <a:gd name="connsiteY33" fmla="*/ 86518 h 97125"/>
                <a:gd name="connsiteX34" fmla="*/ 90625 w 155130"/>
                <a:gd name="connsiteY34" fmla="*/ 85941 h 97125"/>
                <a:gd name="connsiteX35" fmla="*/ 91485 w 155130"/>
                <a:gd name="connsiteY35" fmla="*/ 85096 h 97125"/>
                <a:gd name="connsiteX36" fmla="*/ 36701 w 155130"/>
                <a:gd name="connsiteY36" fmla="*/ 83621 h 97125"/>
                <a:gd name="connsiteX37" fmla="*/ 37787 w 155130"/>
                <a:gd name="connsiteY37" fmla="*/ 83953 h 97125"/>
                <a:gd name="connsiteX38" fmla="*/ 41512 w 155130"/>
                <a:gd name="connsiteY38" fmla="*/ 86160 h 97125"/>
                <a:gd name="connsiteX39" fmla="*/ 42814 w 155130"/>
                <a:gd name="connsiteY39" fmla="*/ 88573 h 97125"/>
                <a:gd name="connsiteX40" fmla="*/ 42892 w 155130"/>
                <a:gd name="connsiteY40" fmla="*/ 89234 h 97125"/>
                <a:gd name="connsiteX41" fmla="*/ 40590 w 155130"/>
                <a:gd name="connsiteY41" fmla="*/ 89661 h 97125"/>
                <a:gd name="connsiteX42" fmla="*/ 39413 w 155130"/>
                <a:gd name="connsiteY42" fmla="*/ 88919 h 97125"/>
                <a:gd name="connsiteX43" fmla="*/ 37254 w 155130"/>
                <a:gd name="connsiteY43" fmla="*/ 88632 h 97125"/>
                <a:gd name="connsiteX44" fmla="*/ 36479 w 155130"/>
                <a:gd name="connsiteY44" fmla="*/ 83902 h 97125"/>
                <a:gd name="connsiteX45" fmla="*/ 61992 w 155130"/>
                <a:gd name="connsiteY45" fmla="*/ 80886 h 97125"/>
                <a:gd name="connsiteX46" fmla="*/ 62568 w 155130"/>
                <a:gd name="connsiteY46" fmla="*/ 80938 h 97125"/>
                <a:gd name="connsiteX47" fmla="*/ 61899 w 155130"/>
                <a:gd name="connsiteY47" fmla="*/ 83834 h 97125"/>
                <a:gd name="connsiteX48" fmla="*/ 58459 w 155130"/>
                <a:gd name="connsiteY48" fmla="*/ 91894 h 97125"/>
                <a:gd name="connsiteX49" fmla="*/ 57770 w 155130"/>
                <a:gd name="connsiteY49" fmla="*/ 93394 h 97125"/>
                <a:gd name="connsiteX50" fmla="*/ 56790 w 155130"/>
                <a:gd name="connsiteY50" fmla="*/ 93567 h 97125"/>
                <a:gd name="connsiteX51" fmla="*/ 55457 w 155130"/>
                <a:gd name="connsiteY51" fmla="*/ 91084 h 97125"/>
                <a:gd name="connsiteX52" fmla="*/ 55285 w 155130"/>
                <a:gd name="connsiteY52" fmla="*/ 90307 h 97125"/>
                <a:gd name="connsiteX53" fmla="*/ 56850 w 155130"/>
                <a:gd name="connsiteY53" fmla="*/ 88716 h 97125"/>
                <a:gd name="connsiteX54" fmla="*/ 57863 w 155130"/>
                <a:gd name="connsiteY54" fmla="*/ 86912 h 97125"/>
                <a:gd name="connsiteX55" fmla="*/ 60482 w 155130"/>
                <a:gd name="connsiteY55" fmla="*/ 84139 h 97125"/>
                <a:gd name="connsiteX56" fmla="*/ 146910 w 155130"/>
                <a:gd name="connsiteY56" fmla="*/ 76604 h 97125"/>
                <a:gd name="connsiteX57" fmla="*/ 155031 w 155130"/>
                <a:gd name="connsiteY57" fmla="*/ 81297 h 97125"/>
                <a:gd name="connsiteX58" fmla="*/ 155130 w 155130"/>
                <a:gd name="connsiteY58" fmla="*/ 83063 h 97125"/>
                <a:gd name="connsiteX59" fmla="*/ 154038 w 155130"/>
                <a:gd name="connsiteY59" fmla="*/ 85072 h 97125"/>
                <a:gd name="connsiteX60" fmla="*/ 153222 w 155130"/>
                <a:gd name="connsiteY60" fmla="*/ 85592 h 97125"/>
                <a:gd name="connsiteX61" fmla="*/ 149568 w 155130"/>
                <a:gd name="connsiteY61" fmla="*/ 84731 h 97125"/>
                <a:gd name="connsiteX62" fmla="*/ 145115 w 155130"/>
                <a:gd name="connsiteY62" fmla="*/ 82599 h 97125"/>
                <a:gd name="connsiteX63" fmla="*/ 145767 w 155130"/>
                <a:gd name="connsiteY63" fmla="*/ 78415 h 97125"/>
                <a:gd name="connsiteX64" fmla="*/ 55309 w 155130"/>
                <a:gd name="connsiteY64" fmla="*/ 66827 h 97125"/>
                <a:gd name="connsiteX65" fmla="*/ 55803 w 155130"/>
                <a:gd name="connsiteY65" fmla="*/ 66921 h 97125"/>
                <a:gd name="connsiteX66" fmla="*/ 56725 w 155130"/>
                <a:gd name="connsiteY66" fmla="*/ 68538 h 97125"/>
                <a:gd name="connsiteX67" fmla="*/ 57859 w 155130"/>
                <a:gd name="connsiteY67" fmla="*/ 71982 h 97125"/>
                <a:gd name="connsiteX68" fmla="*/ 59653 w 155130"/>
                <a:gd name="connsiteY68" fmla="*/ 75828 h 97125"/>
                <a:gd name="connsiteX69" fmla="*/ 58904 w 155130"/>
                <a:gd name="connsiteY69" fmla="*/ 77436 h 97125"/>
                <a:gd name="connsiteX70" fmla="*/ 59413 w 155130"/>
                <a:gd name="connsiteY70" fmla="*/ 79495 h 97125"/>
                <a:gd name="connsiteX71" fmla="*/ 58902 w 155130"/>
                <a:gd name="connsiteY71" fmla="*/ 81640 h 97125"/>
                <a:gd name="connsiteX72" fmla="*/ 55332 w 155130"/>
                <a:gd name="connsiteY72" fmla="*/ 84132 h 97125"/>
                <a:gd name="connsiteX73" fmla="*/ 51329 w 155130"/>
                <a:gd name="connsiteY73" fmla="*/ 84244 h 97125"/>
                <a:gd name="connsiteX74" fmla="*/ 47168 w 155130"/>
                <a:gd name="connsiteY74" fmla="*/ 83041 h 97125"/>
                <a:gd name="connsiteX75" fmla="*/ 41290 w 155130"/>
                <a:gd name="connsiteY75" fmla="*/ 80722 h 97125"/>
                <a:gd name="connsiteX76" fmla="*/ 40817 w 155130"/>
                <a:gd name="connsiteY76" fmla="*/ 79419 h 97125"/>
                <a:gd name="connsiteX77" fmla="*/ 39992 w 155130"/>
                <a:gd name="connsiteY77" fmla="*/ 78697 h 97125"/>
                <a:gd name="connsiteX78" fmla="*/ 38420 w 155130"/>
                <a:gd name="connsiteY78" fmla="*/ 74737 h 97125"/>
                <a:gd name="connsiteX79" fmla="*/ 38457 w 155130"/>
                <a:gd name="connsiteY79" fmla="*/ 69843 h 97125"/>
                <a:gd name="connsiteX80" fmla="*/ 41411 w 155130"/>
                <a:gd name="connsiteY80" fmla="*/ 69229 h 97125"/>
                <a:gd name="connsiteX81" fmla="*/ 47865 w 155130"/>
                <a:gd name="connsiteY81" fmla="*/ 66889 h 97125"/>
                <a:gd name="connsiteX82" fmla="*/ 49357 w 155130"/>
                <a:gd name="connsiteY82" fmla="*/ 67257 h 97125"/>
                <a:gd name="connsiteX83" fmla="*/ 50914 w 155130"/>
                <a:gd name="connsiteY83" fmla="*/ 68454 h 97125"/>
                <a:gd name="connsiteX84" fmla="*/ 52706 w 155130"/>
                <a:gd name="connsiteY84" fmla="*/ 68525 h 97125"/>
                <a:gd name="connsiteX85" fmla="*/ 99012 w 155130"/>
                <a:gd name="connsiteY85" fmla="*/ 64738 h 97125"/>
                <a:gd name="connsiteX86" fmla="*/ 99472 w 155130"/>
                <a:gd name="connsiteY86" fmla="*/ 64765 h 97125"/>
                <a:gd name="connsiteX87" fmla="*/ 100101 w 155130"/>
                <a:gd name="connsiteY87" fmla="*/ 65775 h 97125"/>
                <a:gd name="connsiteX88" fmla="*/ 100483 w 155130"/>
                <a:gd name="connsiteY88" fmla="*/ 67333 h 97125"/>
                <a:gd name="connsiteX89" fmla="*/ 98401 w 155130"/>
                <a:gd name="connsiteY89" fmla="*/ 68650 h 97125"/>
                <a:gd name="connsiteX90" fmla="*/ 97943 w 155130"/>
                <a:gd name="connsiteY90" fmla="*/ 68581 h 97125"/>
                <a:gd name="connsiteX91" fmla="*/ 97267 w 155130"/>
                <a:gd name="connsiteY91" fmla="*/ 66773 h 97125"/>
                <a:gd name="connsiteX92" fmla="*/ 98365 w 155130"/>
                <a:gd name="connsiteY92" fmla="*/ 65672 h 97125"/>
                <a:gd name="connsiteX93" fmla="*/ 53637 w 155130"/>
                <a:gd name="connsiteY93" fmla="*/ 55046 h 97125"/>
                <a:gd name="connsiteX94" fmla="*/ 55609 w 155130"/>
                <a:gd name="connsiteY94" fmla="*/ 57468 h 97125"/>
                <a:gd name="connsiteX95" fmla="*/ 56170 w 155130"/>
                <a:gd name="connsiteY95" fmla="*/ 58606 h 97125"/>
                <a:gd name="connsiteX96" fmla="*/ 55410 w 155130"/>
                <a:gd name="connsiteY96" fmla="*/ 59965 h 97125"/>
                <a:gd name="connsiteX97" fmla="*/ 54967 w 155130"/>
                <a:gd name="connsiteY97" fmla="*/ 61545 h 97125"/>
                <a:gd name="connsiteX98" fmla="*/ 54592 w 155130"/>
                <a:gd name="connsiteY98" fmla="*/ 62103 h 97125"/>
                <a:gd name="connsiteX99" fmla="*/ 53190 w 155130"/>
                <a:gd name="connsiteY99" fmla="*/ 61522 h 97125"/>
                <a:gd name="connsiteX100" fmla="*/ 53043 w 155130"/>
                <a:gd name="connsiteY100" fmla="*/ 59511 h 97125"/>
                <a:gd name="connsiteX101" fmla="*/ 53575 w 155130"/>
                <a:gd name="connsiteY101" fmla="*/ 57704 h 97125"/>
                <a:gd name="connsiteX102" fmla="*/ 52950 w 155130"/>
                <a:gd name="connsiteY102" fmla="*/ 56086 h 97125"/>
                <a:gd name="connsiteX103" fmla="*/ 92910 w 155130"/>
                <a:gd name="connsiteY103" fmla="*/ 50986 h 97125"/>
                <a:gd name="connsiteX104" fmla="*/ 95231 w 155130"/>
                <a:gd name="connsiteY104" fmla="*/ 51493 h 97125"/>
                <a:gd name="connsiteX105" fmla="*/ 97389 w 155130"/>
                <a:gd name="connsiteY105" fmla="*/ 52194 h 97125"/>
                <a:gd name="connsiteX106" fmla="*/ 98559 w 155130"/>
                <a:gd name="connsiteY106" fmla="*/ 52797 h 97125"/>
                <a:gd name="connsiteX107" fmla="*/ 99215 w 155130"/>
                <a:gd name="connsiteY107" fmla="*/ 53766 h 97125"/>
                <a:gd name="connsiteX108" fmla="*/ 97768 w 155130"/>
                <a:gd name="connsiteY108" fmla="*/ 56072 h 97125"/>
                <a:gd name="connsiteX109" fmla="*/ 97367 w 155130"/>
                <a:gd name="connsiteY109" fmla="*/ 57334 h 97125"/>
                <a:gd name="connsiteX110" fmla="*/ 98339 w 155130"/>
                <a:gd name="connsiteY110" fmla="*/ 61483 h 97125"/>
                <a:gd name="connsiteX111" fmla="*/ 98392 w 155130"/>
                <a:gd name="connsiteY111" fmla="*/ 64591 h 97125"/>
                <a:gd name="connsiteX112" fmla="*/ 97818 w 155130"/>
                <a:gd name="connsiteY112" fmla="*/ 65495 h 97125"/>
                <a:gd name="connsiteX113" fmla="*/ 96974 w 155130"/>
                <a:gd name="connsiteY113" fmla="*/ 66090 h 97125"/>
                <a:gd name="connsiteX114" fmla="*/ 94765 w 155130"/>
                <a:gd name="connsiteY114" fmla="*/ 66721 h 97125"/>
                <a:gd name="connsiteX115" fmla="*/ 92852 w 155130"/>
                <a:gd name="connsiteY115" fmla="*/ 67602 h 97125"/>
                <a:gd name="connsiteX116" fmla="*/ 91146 w 155130"/>
                <a:gd name="connsiteY116" fmla="*/ 69149 h 97125"/>
                <a:gd name="connsiteX117" fmla="*/ 90517 w 155130"/>
                <a:gd name="connsiteY117" fmla="*/ 71359 h 97125"/>
                <a:gd name="connsiteX118" fmla="*/ 91852 w 155130"/>
                <a:gd name="connsiteY118" fmla="*/ 72974 h 97125"/>
                <a:gd name="connsiteX119" fmla="*/ 94279 w 155130"/>
                <a:gd name="connsiteY119" fmla="*/ 73859 h 97125"/>
                <a:gd name="connsiteX120" fmla="*/ 94897 w 155130"/>
                <a:gd name="connsiteY120" fmla="*/ 76930 h 97125"/>
                <a:gd name="connsiteX121" fmla="*/ 92893 w 155130"/>
                <a:gd name="connsiteY121" fmla="*/ 78444 h 97125"/>
                <a:gd name="connsiteX122" fmla="*/ 87751 w 155130"/>
                <a:gd name="connsiteY122" fmla="*/ 79954 h 97125"/>
                <a:gd name="connsiteX123" fmla="*/ 87211 w 155130"/>
                <a:gd name="connsiteY123" fmla="*/ 83594 h 97125"/>
                <a:gd name="connsiteX124" fmla="*/ 87378 w 155130"/>
                <a:gd name="connsiteY124" fmla="*/ 86459 h 97125"/>
                <a:gd name="connsiteX125" fmla="*/ 87285 w 155130"/>
                <a:gd name="connsiteY125" fmla="*/ 88539 h 97125"/>
                <a:gd name="connsiteX126" fmla="*/ 86877 w 155130"/>
                <a:gd name="connsiteY126" fmla="*/ 91414 h 97125"/>
                <a:gd name="connsiteX127" fmla="*/ 82717 w 155130"/>
                <a:gd name="connsiteY127" fmla="*/ 92723 h 97125"/>
                <a:gd name="connsiteX128" fmla="*/ 80034 w 155130"/>
                <a:gd name="connsiteY128" fmla="*/ 88345 h 97125"/>
                <a:gd name="connsiteX129" fmla="*/ 80010 w 155130"/>
                <a:gd name="connsiteY129" fmla="*/ 86590 h 97125"/>
                <a:gd name="connsiteX130" fmla="*/ 79209 w 155130"/>
                <a:gd name="connsiteY130" fmla="*/ 84540 h 97125"/>
                <a:gd name="connsiteX131" fmla="*/ 79058 w 155130"/>
                <a:gd name="connsiteY131" fmla="*/ 82791 h 97125"/>
                <a:gd name="connsiteX132" fmla="*/ 78107 w 155130"/>
                <a:gd name="connsiteY132" fmla="*/ 79991 h 97125"/>
                <a:gd name="connsiteX133" fmla="*/ 74173 w 155130"/>
                <a:gd name="connsiteY133" fmla="*/ 79233 h 97125"/>
                <a:gd name="connsiteX134" fmla="*/ 72646 w 155130"/>
                <a:gd name="connsiteY134" fmla="*/ 79133 h 97125"/>
                <a:gd name="connsiteX135" fmla="*/ 70510 w 155130"/>
                <a:gd name="connsiteY135" fmla="*/ 79654 h 97125"/>
                <a:gd name="connsiteX136" fmla="*/ 69981 w 155130"/>
                <a:gd name="connsiteY136" fmla="*/ 79451 h 97125"/>
                <a:gd name="connsiteX137" fmla="*/ 67425 w 155130"/>
                <a:gd name="connsiteY137" fmla="*/ 75620 h 97125"/>
                <a:gd name="connsiteX138" fmla="*/ 67846 w 155130"/>
                <a:gd name="connsiteY138" fmla="*/ 71386 h 97125"/>
                <a:gd name="connsiteX139" fmla="*/ 66481 w 155130"/>
                <a:gd name="connsiteY139" fmla="*/ 69246 h 97125"/>
                <a:gd name="connsiteX140" fmla="*/ 66293 w 155130"/>
                <a:gd name="connsiteY140" fmla="*/ 68277 h 97125"/>
                <a:gd name="connsiteX141" fmla="*/ 66326 w 155130"/>
                <a:gd name="connsiteY141" fmla="*/ 67203 h 97125"/>
                <a:gd name="connsiteX142" fmla="*/ 65205 w 155130"/>
                <a:gd name="connsiteY142" fmla="*/ 66317 h 97125"/>
                <a:gd name="connsiteX143" fmla="*/ 63845 w 155130"/>
                <a:gd name="connsiteY143" fmla="*/ 65848 h 97125"/>
                <a:gd name="connsiteX144" fmla="*/ 63184 w 155130"/>
                <a:gd name="connsiteY144" fmla="*/ 63455 h 97125"/>
                <a:gd name="connsiteX145" fmla="*/ 64747 w 155130"/>
                <a:gd name="connsiteY145" fmla="*/ 62875 h 97125"/>
                <a:gd name="connsiteX146" fmla="*/ 68612 w 155130"/>
                <a:gd name="connsiteY146" fmla="*/ 63155 h 97125"/>
                <a:gd name="connsiteX147" fmla="*/ 69742 w 155130"/>
                <a:gd name="connsiteY147" fmla="*/ 62992 h 97125"/>
                <a:gd name="connsiteX148" fmla="*/ 70776 w 155130"/>
                <a:gd name="connsiteY148" fmla="*/ 62493 h 97125"/>
                <a:gd name="connsiteX149" fmla="*/ 73903 w 155130"/>
                <a:gd name="connsiteY149" fmla="*/ 58553 h 97125"/>
                <a:gd name="connsiteX150" fmla="*/ 73812 w 155130"/>
                <a:gd name="connsiteY150" fmla="*/ 57684 h 97125"/>
                <a:gd name="connsiteX151" fmla="*/ 74147 w 155130"/>
                <a:gd name="connsiteY151" fmla="*/ 56556 h 97125"/>
                <a:gd name="connsiteX152" fmla="*/ 77531 w 155130"/>
                <a:gd name="connsiteY152" fmla="*/ 56138 h 97125"/>
                <a:gd name="connsiteX153" fmla="*/ 79038 w 155130"/>
                <a:gd name="connsiteY153" fmla="*/ 57662 h 97125"/>
                <a:gd name="connsiteX154" fmla="*/ 78736 w 155130"/>
                <a:gd name="connsiteY154" fmla="*/ 60102 h 97125"/>
                <a:gd name="connsiteX155" fmla="*/ 78928 w 155130"/>
                <a:gd name="connsiteY155" fmla="*/ 63224 h 97125"/>
                <a:gd name="connsiteX156" fmla="*/ 80977 w 155130"/>
                <a:gd name="connsiteY156" fmla="*/ 64072 h 97125"/>
                <a:gd name="connsiteX157" fmla="*/ 81776 w 155130"/>
                <a:gd name="connsiteY157" fmla="*/ 64197 h 97125"/>
                <a:gd name="connsiteX158" fmla="*/ 82629 w 155130"/>
                <a:gd name="connsiteY158" fmla="*/ 61892 h 97125"/>
                <a:gd name="connsiteX159" fmla="*/ 83227 w 155130"/>
                <a:gd name="connsiteY159" fmla="*/ 60771 h 97125"/>
                <a:gd name="connsiteX160" fmla="*/ 84039 w 155130"/>
                <a:gd name="connsiteY160" fmla="*/ 60146 h 97125"/>
                <a:gd name="connsiteX161" fmla="*/ 84315 w 155130"/>
                <a:gd name="connsiteY161" fmla="*/ 58036 h 97125"/>
                <a:gd name="connsiteX162" fmla="*/ 83834 w 155130"/>
                <a:gd name="connsiteY162" fmla="*/ 56747 h 97125"/>
                <a:gd name="connsiteX163" fmla="*/ 82808 w 155130"/>
                <a:gd name="connsiteY163" fmla="*/ 55786 h 97125"/>
                <a:gd name="connsiteX164" fmla="*/ 86639 w 155130"/>
                <a:gd name="connsiteY164" fmla="*/ 53169 h 97125"/>
                <a:gd name="connsiteX165" fmla="*/ 90604 w 155130"/>
                <a:gd name="connsiteY165" fmla="*/ 51094 h 97125"/>
                <a:gd name="connsiteX166" fmla="*/ 65546 w 155130"/>
                <a:gd name="connsiteY166" fmla="*/ 12961 h 97125"/>
                <a:gd name="connsiteX167" fmla="*/ 67509 w 155130"/>
                <a:gd name="connsiteY167" fmla="*/ 13184 h 97125"/>
                <a:gd name="connsiteX168" fmla="*/ 65350 w 155130"/>
                <a:gd name="connsiteY168" fmla="*/ 14644 h 97125"/>
                <a:gd name="connsiteX169" fmla="*/ 64803 w 155130"/>
                <a:gd name="connsiteY169" fmla="*/ 15417 h 97125"/>
                <a:gd name="connsiteX170" fmla="*/ 63903 w 155130"/>
                <a:gd name="connsiteY170" fmla="*/ 16160 h 97125"/>
                <a:gd name="connsiteX171" fmla="*/ 60860 w 155130"/>
                <a:gd name="connsiteY171" fmla="*/ 15109 h 97125"/>
                <a:gd name="connsiteX172" fmla="*/ 62204 w 155130"/>
                <a:gd name="connsiteY172" fmla="*/ 13639 h 97125"/>
                <a:gd name="connsiteX173" fmla="*/ 55026 w 155130"/>
                <a:gd name="connsiteY173" fmla="*/ 0 h 97125"/>
                <a:gd name="connsiteX174" fmla="*/ 52173 w 155130"/>
                <a:gd name="connsiteY174" fmla="*/ 2816 h 97125"/>
                <a:gd name="connsiteX175" fmla="*/ 51715 w 155130"/>
                <a:gd name="connsiteY175" fmla="*/ 3905 h 97125"/>
                <a:gd name="connsiteX176" fmla="*/ 51370 w 155130"/>
                <a:gd name="connsiteY176" fmla="*/ 5573 h 97125"/>
                <a:gd name="connsiteX177" fmla="*/ 53415 w 155130"/>
                <a:gd name="connsiteY177" fmla="*/ 9192 h 97125"/>
                <a:gd name="connsiteX178" fmla="*/ 52983 w 155130"/>
                <a:gd name="connsiteY178" fmla="*/ 11391 h 97125"/>
                <a:gd name="connsiteX179" fmla="*/ 53127 w 155130"/>
                <a:gd name="connsiteY179" fmla="*/ 15713 h 97125"/>
                <a:gd name="connsiteX180" fmla="*/ 51199 w 155130"/>
                <a:gd name="connsiteY180" fmla="*/ 17962 h 97125"/>
                <a:gd name="connsiteX181" fmla="*/ 49023 w 155130"/>
                <a:gd name="connsiteY181" fmla="*/ 22738 h 97125"/>
                <a:gd name="connsiteX182" fmla="*/ 48085 w 155130"/>
                <a:gd name="connsiteY182" fmla="*/ 23440 h 97125"/>
                <a:gd name="connsiteX183" fmla="*/ 47885 w 155130"/>
                <a:gd name="connsiteY183" fmla="*/ 29001 h 97125"/>
                <a:gd name="connsiteX184" fmla="*/ 48098 w 155130"/>
                <a:gd name="connsiteY184" fmla="*/ 30326 h 97125"/>
                <a:gd name="connsiteX185" fmla="*/ 47789 w 155130"/>
                <a:gd name="connsiteY185" fmla="*/ 35374 h 97125"/>
                <a:gd name="connsiteX186" fmla="*/ 50020 w 155130"/>
                <a:gd name="connsiteY186" fmla="*/ 37437 h 97125"/>
                <a:gd name="connsiteX187" fmla="*/ 52378 w 155130"/>
                <a:gd name="connsiteY187" fmla="*/ 38515 h 97125"/>
                <a:gd name="connsiteX188" fmla="*/ 60243 w 155130"/>
                <a:gd name="connsiteY188" fmla="*/ 38477 h 97125"/>
                <a:gd name="connsiteX189" fmla="*/ 61059 w 155130"/>
                <a:gd name="connsiteY189" fmla="*/ 39383 h 97125"/>
                <a:gd name="connsiteX190" fmla="*/ 62018 w 155130"/>
                <a:gd name="connsiteY190" fmla="*/ 40939 h 97125"/>
                <a:gd name="connsiteX191" fmla="*/ 61316 w 155130"/>
                <a:gd name="connsiteY191" fmla="*/ 43578 h 97125"/>
                <a:gd name="connsiteX192" fmla="*/ 60476 w 155130"/>
                <a:gd name="connsiteY192" fmla="*/ 45567 h 97125"/>
                <a:gd name="connsiteX193" fmla="*/ 58198 w 155130"/>
                <a:gd name="connsiteY193" fmla="*/ 47241 h 97125"/>
                <a:gd name="connsiteX194" fmla="*/ 55274 w 155130"/>
                <a:gd name="connsiteY194" fmla="*/ 48488 h 97125"/>
                <a:gd name="connsiteX195" fmla="*/ 53456 w 155130"/>
                <a:gd name="connsiteY195" fmla="*/ 48543 h 97125"/>
                <a:gd name="connsiteX196" fmla="*/ 50979 w 155130"/>
                <a:gd name="connsiteY196" fmla="*/ 46172 h 97125"/>
                <a:gd name="connsiteX197" fmla="*/ 49802 w 155130"/>
                <a:gd name="connsiteY197" fmla="*/ 46941 h 97125"/>
                <a:gd name="connsiteX198" fmla="*/ 48586 w 155130"/>
                <a:gd name="connsiteY198" fmla="*/ 48150 h 97125"/>
                <a:gd name="connsiteX199" fmla="*/ 46550 w 155130"/>
                <a:gd name="connsiteY199" fmla="*/ 54627 h 97125"/>
                <a:gd name="connsiteX200" fmla="*/ 45585 w 155130"/>
                <a:gd name="connsiteY200" fmla="*/ 58992 h 97125"/>
                <a:gd name="connsiteX201" fmla="*/ 45062 w 155130"/>
                <a:gd name="connsiteY201" fmla="*/ 59346 h 97125"/>
                <a:gd name="connsiteX202" fmla="*/ 43911 w 155130"/>
                <a:gd name="connsiteY202" fmla="*/ 58703 h 97125"/>
                <a:gd name="connsiteX203" fmla="*/ 41923 w 155130"/>
                <a:gd name="connsiteY203" fmla="*/ 58653 h 97125"/>
                <a:gd name="connsiteX204" fmla="*/ 39409 w 155130"/>
                <a:gd name="connsiteY204" fmla="*/ 59687 h 97125"/>
                <a:gd name="connsiteX205" fmla="*/ 40698 w 155130"/>
                <a:gd name="connsiteY205" fmla="*/ 60612 h 97125"/>
                <a:gd name="connsiteX206" fmla="*/ 42061 w 155130"/>
                <a:gd name="connsiteY206" fmla="*/ 62217 h 97125"/>
                <a:gd name="connsiteX207" fmla="*/ 41516 w 155130"/>
                <a:gd name="connsiteY207" fmla="*/ 63021 h 97125"/>
                <a:gd name="connsiteX208" fmla="*/ 39305 w 155130"/>
                <a:gd name="connsiteY208" fmla="*/ 63889 h 97125"/>
                <a:gd name="connsiteX209" fmla="*/ 37345 w 155130"/>
                <a:gd name="connsiteY209" fmla="*/ 65645 h 97125"/>
                <a:gd name="connsiteX210" fmla="*/ 36524 w 155130"/>
                <a:gd name="connsiteY210" fmla="*/ 66973 h 97125"/>
                <a:gd name="connsiteX211" fmla="*/ 34051 w 155130"/>
                <a:gd name="connsiteY211" fmla="*/ 68543 h 97125"/>
                <a:gd name="connsiteX212" fmla="*/ 32497 w 155130"/>
                <a:gd name="connsiteY212" fmla="*/ 70532 h 97125"/>
                <a:gd name="connsiteX213" fmla="*/ 33259 w 155130"/>
                <a:gd name="connsiteY213" fmla="*/ 72995 h 97125"/>
                <a:gd name="connsiteX214" fmla="*/ 33583 w 155130"/>
                <a:gd name="connsiteY214" fmla="*/ 75156 h 97125"/>
                <a:gd name="connsiteX215" fmla="*/ 34263 w 155130"/>
                <a:gd name="connsiteY215" fmla="*/ 77540 h 97125"/>
                <a:gd name="connsiteX216" fmla="*/ 33650 w 155130"/>
                <a:gd name="connsiteY216" fmla="*/ 79442 h 97125"/>
                <a:gd name="connsiteX217" fmla="*/ 30588 w 155130"/>
                <a:gd name="connsiteY217" fmla="*/ 82168 h 97125"/>
                <a:gd name="connsiteX218" fmla="*/ 29459 w 155130"/>
                <a:gd name="connsiteY218" fmla="*/ 84528 h 97125"/>
                <a:gd name="connsiteX219" fmla="*/ 32082 w 155130"/>
                <a:gd name="connsiteY219" fmla="*/ 84498 h 97125"/>
                <a:gd name="connsiteX220" fmla="*/ 33697 w 155130"/>
                <a:gd name="connsiteY220" fmla="*/ 85043 h 97125"/>
                <a:gd name="connsiteX221" fmla="*/ 34643 w 155130"/>
                <a:gd name="connsiteY221" fmla="*/ 85740 h 97125"/>
                <a:gd name="connsiteX222" fmla="*/ 35619 w 155130"/>
                <a:gd name="connsiteY222" fmla="*/ 86727 h 97125"/>
                <a:gd name="connsiteX223" fmla="*/ 35021 w 155130"/>
                <a:gd name="connsiteY223" fmla="*/ 87946 h 97125"/>
                <a:gd name="connsiteX224" fmla="*/ 35783 w 155130"/>
                <a:gd name="connsiteY224" fmla="*/ 91101 h 97125"/>
                <a:gd name="connsiteX225" fmla="*/ 35457 w 155130"/>
                <a:gd name="connsiteY225" fmla="*/ 91101 h 97125"/>
                <a:gd name="connsiteX226" fmla="*/ 34047 w 155130"/>
                <a:gd name="connsiteY226" fmla="*/ 90830 h 97125"/>
                <a:gd name="connsiteX227" fmla="*/ 33043 w 155130"/>
                <a:gd name="connsiteY227" fmla="*/ 90184 h 97125"/>
                <a:gd name="connsiteX228" fmla="*/ 30454 w 155130"/>
                <a:gd name="connsiteY228" fmla="*/ 90644 h 97125"/>
                <a:gd name="connsiteX229" fmla="*/ 26988 w 155130"/>
                <a:gd name="connsiteY229" fmla="*/ 91691 h 97125"/>
                <a:gd name="connsiteX230" fmla="*/ 25064 w 155130"/>
                <a:gd name="connsiteY230" fmla="*/ 91638 h 97125"/>
                <a:gd name="connsiteX231" fmla="*/ 23535 w 155130"/>
                <a:gd name="connsiteY231" fmla="*/ 90514 h 97125"/>
                <a:gd name="connsiteX232" fmla="*/ 17280 w 155130"/>
                <a:gd name="connsiteY232" fmla="*/ 88911 h 97125"/>
                <a:gd name="connsiteX233" fmla="*/ 16269 w 155130"/>
                <a:gd name="connsiteY233" fmla="*/ 88781 h 97125"/>
                <a:gd name="connsiteX234" fmla="*/ 12145 w 155130"/>
                <a:gd name="connsiteY234" fmla="*/ 88714 h 97125"/>
                <a:gd name="connsiteX235" fmla="*/ 12136 w 155130"/>
                <a:gd name="connsiteY235" fmla="*/ 88711 h 97125"/>
                <a:gd name="connsiteX236" fmla="*/ 11939 w 155130"/>
                <a:gd name="connsiteY236" fmla="*/ 86176 h 97125"/>
                <a:gd name="connsiteX237" fmla="*/ 11428 w 155130"/>
                <a:gd name="connsiteY237" fmla="*/ 84343 h 97125"/>
                <a:gd name="connsiteX238" fmla="*/ 9983 w 155130"/>
                <a:gd name="connsiteY238" fmla="*/ 81613 h 97125"/>
                <a:gd name="connsiteX239" fmla="*/ 12125 w 155130"/>
                <a:gd name="connsiteY239" fmla="*/ 80954 h 97125"/>
                <a:gd name="connsiteX240" fmla="*/ 11711 w 155130"/>
                <a:gd name="connsiteY240" fmla="*/ 75622 h 97125"/>
                <a:gd name="connsiteX241" fmla="*/ 10933 w 155130"/>
                <a:gd name="connsiteY241" fmla="*/ 72852 h 97125"/>
                <a:gd name="connsiteX242" fmla="*/ 4949 w 155130"/>
                <a:gd name="connsiteY242" fmla="*/ 70003 h 97125"/>
                <a:gd name="connsiteX243" fmla="*/ 236 w 155130"/>
                <a:gd name="connsiteY243" fmla="*/ 67231 h 97125"/>
                <a:gd name="connsiteX244" fmla="*/ 1324 w 155130"/>
                <a:gd name="connsiteY244" fmla="*/ 57872 h 97125"/>
                <a:gd name="connsiteX245" fmla="*/ 1788 w 155130"/>
                <a:gd name="connsiteY245" fmla="*/ 55344 h 97125"/>
                <a:gd name="connsiteX246" fmla="*/ 0 w 155130"/>
                <a:gd name="connsiteY246" fmla="*/ 50431 h 97125"/>
                <a:gd name="connsiteX247" fmla="*/ 186 w 155130"/>
                <a:gd name="connsiteY247" fmla="*/ 44763 h 97125"/>
                <a:gd name="connsiteX248" fmla="*/ 939 w 155130"/>
                <a:gd name="connsiteY248" fmla="*/ 35802 h 97125"/>
                <a:gd name="connsiteX249" fmla="*/ 2438 w 155130"/>
                <a:gd name="connsiteY249" fmla="*/ 35451 h 97125"/>
                <a:gd name="connsiteX250" fmla="*/ 3537 w 155130"/>
                <a:gd name="connsiteY250" fmla="*/ 35494 h 97125"/>
                <a:gd name="connsiteX251" fmla="*/ 7776 w 155130"/>
                <a:gd name="connsiteY251" fmla="*/ 37105 h 97125"/>
                <a:gd name="connsiteX252" fmla="*/ 9541 w 155130"/>
                <a:gd name="connsiteY252" fmla="*/ 37266 h 97125"/>
                <a:gd name="connsiteX253" fmla="*/ 10750 w 155130"/>
                <a:gd name="connsiteY253" fmla="*/ 38703 h 97125"/>
                <a:gd name="connsiteX254" fmla="*/ 12166 w 155130"/>
                <a:gd name="connsiteY254" fmla="*/ 39295 h 97125"/>
                <a:gd name="connsiteX255" fmla="*/ 13192 w 155130"/>
                <a:gd name="connsiteY255" fmla="*/ 37768 h 97125"/>
                <a:gd name="connsiteX256" fmla="*/ 13591 w 155130"/>
                <a:gd name="connsiteY256" fmla="*/ 35156 h 97125"/>
                <a:gd name="connsiteX257" fmla="*/ 16951 w 155130"/>
                <a:gd name="connsiteY257" fmla="*/ 31770 h 97125"/>
                <a:gd name="connsiteX258" fmla="*/ 19305 w 155130"/>
                <a:gd name="connsiteY258" fmla="*/ 30519 h 97125"/>
                <a:gd name="connsiteX259" fmla="*/ 20910 w 155130"/>
                <a:gd name="connsiteY259" fmla="*/ 29918 h 97125"/>
                <a:gd name="connsiteX260" fmla="*/ 22529 w 155130"/>
                <a:gd name="connsiteY260" fmla="*/ 31286 h 97125"/>
                <a:gd name="connsiteX261" fmla="*/ 23768 w 155130"/>
                <a:gd name="connsiteY261" fmla="*/ 32821 h 97125"/>
                <a:gd name="connsiteX262" fmla="*/ 24062 w 155130"/>
                <a:gd name="connsiteY262" fmla="*/ 29460 h 97125"/>
                <a:gd name="connsiteX263" fmla="*/ 25062 w 155130"/>
                <a:gd name="connsiteY263" fmla="*/ 23042 h 97125"/>
                <a:gd name="connsiteX264" fmla="*/ 21868 w 155130"/>
                <a:gd name="connsiteY264" fmla="*/ 22033 h 97125"/>
                <a:gd name="connsiteX265" fmla="*/ 19266 w 155130"/>
                <a:gd name="connsiteY265" fmla="*/ 22903 h 97125"/>
                <a:gd name="connsiteX266" fmla="*/ 16686 w 155130"/>
                <a:gd name="connsiteY266" fmla="*/ 26973 h 97125"/>
                <a:gd name="connsiteX267" fmla="*/ 14384 w 155130"/>
                <a:gd name="connsiteY267" fmla="*/ 32078 h 97125"/>
                <a:gd name="connsiteX268" fmla="*/ 10650 w 155130"/>
                <a:gd name="connsiteY268" fmla="*/ 32546 h 97125"/>
                <a:gd name="connsiteX269" fmla="*/ 7670 w 155130"/>
                <a:gd name="connsiteY269" fmla="*/ 33989 h 97125"/>
                <a:gd name="connsiteX270" fmla="*/ 4980 w 155130"/>
                <a:gd name="connsiteY270" fmla="*/ 32493 h 97125"/>
                <a:gd name="connsiteX271" fmla="*/ 3246 w 155130"/>
                <a:gd name="connsiteY271" fmla="*/ 31174 h 97125"/>
                <a:gd name="connsiteX272" fmla="*/ 3203 w 155130"/>
                <a:gd name="connsiteY272" fmla="*/ 29241 h 97125"/>
                <a:gd name="connsiteX273" fmla="*/ 3596 w 155130"/>
                <a:gd name="connsiteY273" fmla="*/ 28074 h 97125"/>
                <a:gd name="connsiteX274" fmla="*/ 6757 w 155130"/>
                <a:gd name="connsiteY274" fmla="*/ 23905 h 97125"/>
                <a:gd name="connsiteX275" fmla="*/ 10992 w 155130"/>
                <a:gd name="connsiteY275" fmla="*/ 19893 h 97125"/>
                <a:gd name="connsiteX276" fmla="*/ 15258 w 155130"/>
                <a:gd name="connsiteY276" fmla="*/ 19932 h 97125"/>
                <a:gd name="connsiteX277" fmla="*/ 18370 w 155130"/>
                <a:gd name="connsiteY277" fmla="*/ 18649 h 97125"/>
                <a:gd name="connsiteX278" fmla="*/ 20229 w 155130"/>
                <a:gd name="connsiteY278" fmla="*/ 18495 h 97125"/>
                <a:gd name="connsiteX279" fmla="*/ 26034 w 155130"/>
                <a:gd name="connsiteY279" fmla="*/ 18777 h 97125"/>
                <a:gd name="connsiteX280" fmla="*/ 29014 w 155130"/>
                <a:gd name="connsiteY280" fmla="*/ 17897 h 97125"/>
                <a:gd name="connsiteX281" fmla="*/ 31683 w 155130"/>
                <a:gd name="connsiteY281" fmla="*/ 16054 h 97125"/>
                <a:gd name="connsiteX282" fmla="*/ 37450 w 155130"/>
                <a:gd name="connsiteY282" fmla="*/ 8241 h 97125"/>
                <a:gd name="connsiteX283" fmla="*/ 40705 w 155130"/>
                <a:gd name="connsiteY283" fmla="*/ 4976 h 97125"/>
                <a:gd name="connsiteX284" fmla="*/ 47267 w 155130"/>
                <a:gd name="connsiteY284" fmla="*/ 3825 h 97125"/>
                <a:gd name="connsiteX285" fmla="*/ 53330 w 155130"/>
                <a:gd name="connsiteY285" fmla="*/ 48 h 97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155130" h="97125">
                  <a:moveTo>
                    <a:pt x="69366" y="87225"/>
                  </a:moveTo>
                  <a:lnTo>
                    <a:pt x="71642" y="89072"/>
                  </a:lnTo>
                  <a:lnTo>
                    <a:pt x="75555" y="90976"/>
                  </a:lnTo>
                  <a:lnTo>
                    <a:pt x="78202" y="90867"/>
                  </a:lnTo>
                  <a:lnTo>
                    <a:pt x="80003" y="91656"/>
                  </a:lnTo>
                  <a:lnTo>
                    <a:pt x="80433" y="92874"/>
                  </a:lnTo>
                  <a:lnTo>
                    <a:pt x="80586" y="95577"/>
                  </a:lnTo>
                  <a:lnTo>
                    <a:pt x="78695" y="96364"/>
                  </a:lnTo>
                  <a:lnTo>
                    <a:pt x="76607" y="96097"/>
                  </a:lnTo>
                  <a:lnTo>
                    <a:pt x="73765" y="97125"/>
                  </a:lnTo>
                  <a:lnTo>
                    <a:pt x="64436" y="92708"/>
                  </a:lnTo>
                  <a:lnTo>
                    <a:pt x="64572" y="89020"/>
                  </a:lnTo>
                  <a:lnTo>
                    <a:pt x="64946" y="87570"/>
                  </a:lnTo>
                  <a:close/>
                  <a:moveTo>
                    <a:pt x="45958" y="86889"/>
                  </a:moveTo>
                  <a:lnTo>
                    <a:pt x="47410" y="87316"/>
                  </a:lnTo>
                  <a:lnTo>
                    <a:pt x="49211" y="88633"/>
                  </a:lnTo>
                  <a:lnTo>
                    <a:pt x="50685" y="88913"/>
                  </a:lnTo>
                  <a:lnTo>
                    <a:pt x="52702" y="90027"/>
                  </a:lnTo>
                  <a:lnTo>
                    <a:pt x="52249" y="90425"/>
                  </a:lnTo>
                  <a:lnTo>
                    <a:pt x="50765" y="90744"/>
                  </a:lnTo>
                  <a:lnTo>
                    <a:pt x="49068" y="90076"/>
                  </a:lnTo>
                  <a:lnTo>
                    <a:pt x="46306" y="87558"/>
                  </a:lnTo>
                  <a:close/>
                  <a:moveTo>
                    <a:pt x="91822" y="83772"/>
                  </a:moveTo>
                  <a:lnTo>
                    <a:pt x="92618" y="84486"/>
                  </a:lnTo>
                  <a:lnTo>
                    <a:pt x="94987" y="84785"/>
                  </a:lnTo>
                  <a:lnTo>
                    <a:pt x="96145" y="85207"/>
                  </a:lnTo>
                  <a:lnTo>
                    <a:pt x="97112" y="85827"/>
                  </a:lnTo>
                  <a:lnTo>
                    <a:pt x="97907" y="86796"/>
                  </a:lnTo>
                  <a:lnTo>
                    <a:pt x="97062" y="87254"/>
                  </a:lnTo>
                  <a:lnTo>
                    <a:pt x="93668" y="86918"/>
                  </a:lnTo>
                  <a:lnTo>
                    <a:pt x="89841" y="89047"/>
                  </a:lnTo>
                  <a:lnTo>
                    <a:pt x="88390" y="88374"/>
                  </a:lnTo>
                  <a:lnTo>
                    <a:pt x="88939" y="87014"/>
                  </a:lnTo>
                  <a:lnTo>
                    <a:pt x="89338" y="86518"/>
                  </a:lnTo>
                  <a:lnTo>
                    <a:pt x="90625" y="85941"/>
                  </a:lnTo>
                  <a:lnTo>
                    <a:pt x="91485" y="85096"/>
                  </a:lnTo>
                  <a:close/>
                  <a:moveTo>
                    <a:pt x="36701" y="83621"/>
                  </a:moveTo>
                  <a:lnTo>
                    <a:pt x="37787" y="83953"/>
                  </a:lnTo>
                  <a:lnTo>
                    <a:pt x="41512" y="86160"/>
                  </a:lnTo>
                  <a:lnTo>
                    <a:pt x="42814" y="88573"/>
                  </a:lnTo>
                  <a:lnTo>
                    <a:pt x="42892" y="89234"/>
                  </a:lnTo>
                  <a:lnTo>
                    <a:pt x="40590" y="89661"/>
                  </a:lnTo>
                  <a:lnTo>
                    <a:pt x="39413" y="88919"/>
                  </a:lnTo>
                  <a:lnTo>
                    <a:pt x="37254" y="88632"/>
                  </a:lnTo>
                  <a:lnTo>
                    <a:pt x="36479" y="83902"/>
                  </a:lnTo>
                  <a:close/>
                  <a:moveTo>
                    <a:pt x="61992" y="80886"/>
                  </a:moveTo>
                  <a:lnTo>
                    <a:pt x="62568" y="80938"/>
                  </a:lnTo>
                  <a:lnTo>
                    <a:pt x="61899" y="83834"/>
                  </a:lnTo>
                  <a:lnTo>
                    <a:pt x="58459" y="91894"/>
                  </a:lnTo>
                  <a:lnTo>
                    <a:pt x="57770" y="93394"/>
                  </a:lnTo>
                  <a:lnTo>
                    <a:pt x="56790" y="93567"/>
                  </a:lnTo>
                  <a:lnTo>
                    <a:pt x="55457" y="91084"/>
                  </a:lnTo>
                  <a:lnTo>
                    <a:pt x="55285" y="90307"/>
                  </a:lnTo>
                  <a:lnTo>
                    <a:pt x="56850" y="88716"/>
                  </a:lnTo>
                  <a:lnTo>
                    <a:pt x="57863" y="86912"/>
                  </a:lnTo>
                  <a:lnTo>
                    <a:pt x="60482" y="84139"/>
                  </a:lnTo>
                  <a:close/>
                  <a:moveTo>
                    <a:pt x="146910" y="76604"/>
                  </a:moveTo>
                  <a:lnTo>
                    <a:pt x="155031" y="81297"/>
                  </a:lnTo>
                  <a:lnTo>
                    <a:pt x="155130" y="83063"/>
                  </a:lnTo>
                  <a:lnTo>
                    <a:pt x="154038" y="85072"/>
                  </a:lnTo>
                  <a:lnTo>
                    <a:pt x="153222" y="85592"/>
                  </a:lnTo>
                  <a:lnTo>
                    <a:pt x="149568" y="84731"/>
                  </a:lnTo>
                  <a:lnTo>
                    <a:pt x="145115" y="82599"/>
                  </a:lnTo>
                  <a:lnTo>
                    <a:pt x="145767" y="78415"/>
                  </a:lnTo>
                  <a:close/>
                  <a:moveTo>
                    <a:pt x="55309" y="66827"/>
                  </a:moveTo>
                  <a:lnTo>
                    <a:pt x="55803" y="66921"/>
                  </a:lnTo>
                  <a:lnTo>
                    <a:pt x="56725" y="68538"/>
                  </a:lnTo>
                  <a:lnTo>
                    <a:pt x="57859" y="71982"/>
                  </a:lnTo>
                  <a:lnTo>
                    <a:pt x="59653" y="75828"/>
                  </a:lnTo>
                  <a:lnTo>
                    <a:pt x="58904" y="77436"/>
                  </a:lnTo>
                  <a:lnTo>
                    <a:pt x="59413" y="79495"/>
                  </a:lnTo>
                  <a:lnTo>
                    <a:pt x="58902" y="81640"/>
                  </a:lnTo>
                  <a:lnTo>
                    <a:pt x="55332" y="84132"/>
                  </a:lnTo>
                  <a:lnTo>
                    <a:pt x="51329" y="84244"/>
                  </a:lnTo>
                  <a:lnTo>
                    <a:pt x="47168" y="83041"/>
                  </a:lnTo>
                  <a:lnTo>
                    <a:pt x="41290" y="80722"/>
                  </a:lnTo>
                  <a:lnTo>
                    <a:pt x="40817" y="79419"/>
                  </a:lnTo>
                  <a:lnTo>
                    <a:pt x="39992" y="78697"/>
                  </a:lnTo>
                  <a:lnTo>
                    <a:pt x="38420" y="74737"/>
                  </a:lnTo>
                  <a:lnTo>
                    <a:pt x="38457" y="69843"/>
                  </a:lnTo>
                  <a:lnTo>
                    <a:pt x="41411" y="69229"/>
                  </a:lnTo>
                  <a:lnTo>
                    <a:pt x="47865" y="66889"/>
                  </a:lnTo>
                  <a:lnTo>
                    <a:pt x="49357" y="67257"/>
                  </a:lnTo>
                  <a:lnTo>
                    <a:pt x="50914" y="68454"/>
                  </a:lnTo>
                  <a:lnTo>
                    <a:pt x="52706" y="68525"/>
                  </a:lnTo>
                  <a:close/>
                  <a:moveTo>
                    <a:pt x="99012" y="64738"/>
                  </a:moveTo>
                  <a:lnTo>
                    <a:pt x="99472" y="64765"/>
                  </a:lnTo>
                  <a:lnTo>
                    <a:pt x="100101" y="65775"/>
                  </a:lnTo>
                  <a:lnTo>
                    <a:pt x="100483" y="67333"/>
                  </a:lnTo>
                  <a:lnTo>
                    <a:pt x="98401" y="68650"/>
                  </a:lnTo>
                  <a:lnTo>
                    <a:pt x="97943" y="68581"/>
                  </a:lnTo>
                  <a:lnTo>
                    <a:pt x="97267" y="66773"/>
                  </a:lnTo>
                  <a:lnTo>
                    <a:pt x="98365" y="65672"/>
                  </a:lnTo>
                  <a:close/>
                  <a:moveTo>
                    <a:pt x="53637" y="55046"/>
                  </a:moveTo>
                  <a:lnTo>
                    <a:pt x="55609" y="57468"/>
                  </a:lnTo>
                  <a:lnTo>
                    <a:pt x="56170" y="58606"/>
                  </a:lnTo>
                  <a:lnTo>
                    <a:pt x="55410" y="59965"/>
                  </a:lnTo>
                  <a:lnTo>
                    <a:pt x="54967" y="61545"/>
                  </a:lnTo>
                  <a:lnTo>
                    <a:pt x="54592" y="62103"/>
                  </a:lnTo>
                  <a:lnTo>
                    <a:pt x="53190" y="61522"/>
                  </a:lnTo>
                  <a:lnTo>
                    <a:pt x="53043" y="59511"/>
                  </a:lnTo>
                  <a:lnTo>
                    <a:pt x="53575" y="57704"/>
                  </a:lnTo>
                  <a:lnTo>
                    <a:pt x="52950" y="56086"/>
                  </a:lnTo>
                  <a:close/>
                  <a:moveTo>
                    <a:pt x="92910" y="50986"/>
                  </a:moveTo>
                  <a:lnTo>
                    <a:pt x="95231" y="51493"/>
                  </a:lnTo>
                  <a:lnTo>
                    <a:pt x="97389" y="52194"/>
                  </a:lnTo>
                  <a:lnTo>
                    <a:pt x="98559" y="52797"/>
                  </a:lnTo>
                  <a:lnTo>
                    <a:pt x="99215" y="53766"/>
                  </a:lnTo>
                  <a:lnTo>
                    <a:pt x="97768" y="56072"/>
                  </a:lnTo>
                  <a:lnTo>
                    <a:pt x="97367" y="57334"/>
                  </a:lnTo>
                  <a:lnTo>
                    <a:pt x="98339" y="61483"/>
                  </a:lnTo>
                  <a:lnTo>
                    <a:pt x="98392" y="64591"/>
                  </a:lnTo>
                  <a:lnTo>
                    <a:pt x="97818" y="65495"/>
                  </a:lnTo>
                  <a:lnTo>
                    <a:pt x="96974" y="66090"/>
                  </a:lnTo>
                  <a:lnTo>
                    <a:pt x="94765" y="66721"/>
                  </a:lnTo>
                  <a:lnTo>
                    <a:pt x="92852" y="67602"/>
                  </a:lnTo>
                  <a:lnTo>
                    <a:pt x="91146" y="69149"/>
                  </a:lnTo>
                  <a:lnTo>
                    <a:pt x="90517" y="71359"/>
                  </a:lnTo>
                  <a:lnTo>
                    <a:pt x="91852" y="72974"/>
                  </a:lnTo>
                  <a:lnTo>
                    <a:pt x="94279" y="73859"/>
                  </a:lnTo>
                  <a:lnTo>
                    <a:pt x="94897" y="76930"/>
                  </a:lnTo>
                  <a:lnTo>
                    <a:pt x="92893" y="78444"/>
                  </a:lnTo>
                  <a:lnTo>
                    <a:pt x="87751" y="79954"/>
                  </a:lnTo>
                  <a:lnTo>
                    <a:pt x="87211" y="83594"/>
                  </a:lnTo>
                  <a:lnTo>
                    <a:pt x="87378" y="86459"/>
                  </a:lnTo>
                  <a:lnTo>
                    <a:pt x="87285" y="88539"/>
                  </a:lnTo>
                  <a:lnTo>
                    <a:pt x="86877" y="91414"/>
                  </a:lnTo>
                  <a:lnTo>
                    <a:pt x="82717" y="92723"/>
                  </a:lnTo>
                  <a:lnTo>
                    <a:pt x="80034" y="88345"/>
                  </a:lnTo>
                  <a:lnTo>
                    <a:pt x="80010" y="86590"/>
                  </a:lnTo>
                  <a:lnTo>
                    <a:pt x="79209" y="84540"/>
                  </a:lnTo>
                  <a:lnTo>
                    <a:pt x="79058" y="82791"/>
                  </a:lnTo>
                  <a:lnTo>
                    <a:pt x="78107" y="79991"/>
                  </a:lnTo>
                  <a:lnTo>
                    <a:pt x="74173" y="79233"/>
                  </a:lnTo>
                  <a:lnTo>
                    <a:pt x="72646" y="79133"/>
                  </a:lnTo>
                  <a:lnTo>
                    <a:pt x="70510" y="79654"/>
                  </a:lnTo>
                  <a:lnTo>
                    <a:pt x="69981" y="79451"/>
                  </a:lnTo>
                  <a:lnTo>
                    <a:pt x="67425" y="75620"/>
                  </a:lnTo>
                  <a:lnTo>
                    <a:pt x="67846" y="71386"/>
                  </a:lnTo>
                  <a:lnTo>
                    <a:pt x="66481" y="69246"/>
                  </a:lnTo>
                  <a:lnTo>
                    <a:pt x="66293" y="68277"/>
                  </a:lnTo>
                  <a:lnTo>
                    <a:pt x="66326" y="67203"/>
                  </a:lnTo>
                  <a:lnTo>
                    <a:pt x="65205" y="66317"/>
                  </a:lnTo>
                  <a:lnTo>
                    <a:pt x="63845" y="65848"/>
                  </a:lnTo>
                  <a:lnTo>
                    <a:pt x="63184" y="63455"/>
                  </a:lnTo>
                  <a:lnTo>
                    <a:pt x="64747" y="62875"/>
                  </a:lnTo>
                  <a:lnTo>
                    <a:pt x="68612" y="63155"/>
                  </a:lnTo>
                  <a:lnTo>
                    <a:pt x="69742" y="62992"/>
                  </a:lnTo>
                  <a:lnTo>
                    <a:pt x="70776" y="62493"/>
                  </a:lnTo>
                  <a:lnTo>
                    <a:pt x="73903" y="58553"/>
                  </a:lnTo>
                  <a:lnTo>
                    <a:pt x="73812" y="57684"/>
                  </a:lnTo>
                  <a:lnTo>
                    <a:pt x="74147" y="56556"/>
                  </a:lnTo>
                  <a:lnTo>
                    <a:pt x="77531" y="56138"/>
                  </a:lnTo>
                  <a:lnTo>
                    <a:pt x="79038" y="57662"/>
                  </a:lnTo>
                  <a:lnTo>
                    <a:pt x="78736" y="60102"/>
                  </a:lnTo>
                  <a:lnTo>
                    <a:pt x="78928" y="63224"/>
                  </a:lnTo>
                  <a:lnTo>
                    <a:pt x="80977" y="64072"/>
                  </a:lnTo>
                  <a:lnTo>
                    <a:pt x="81776" y="64197"/>
                  </a:lnTo>
                  <a:lnTo>
                    <a:pt x="82629" y="61892"/>
                  </a:lnTo>
                  <a:lnTo>
                    <a:pt x="83227" y="60771"/>
                  </a:lnTo>
                  <a:lnTo>
                    <a:pt x="84039" y="60146"/>
                  </a:lnTo>
                  <a:lnTo>
                    <a:pt x="84315" y="58036"/>
                  </a:lnTo>
                  <a:lnTo>
                    <a:pt x="83834" y="56747"/>
                  </a:lnTo>
                  <a:lnTo>
                    <a:pt x="82808" y="55786"/>
                  </a:lnTo>
                  <a:lnTo>
                    <a:pt x="86639" y="53169"/>
                  </a:lnTo>
                  <a:lnTo>
                    <a:pt x="90604" y="51094"/>
                  </a:lnTo>
                  <a:close/>
                  <a:moveTo>
                    <a:pt x="65546" y="12961"/>
                  </a:moveTo>
                  <a:lnTo>
                    <a:pt x="67509" y="13184"/>
                  </a:lnTo>
                  <a:lnTo>
                    <a:pt x="65350" y="14644"/>
                  </a:lnTo>
                  <a:lnTo>
                    <a:pt x="64803" y="15417"/>
                  </a:lnTo>
                  <a:lnTo>
                    <a:pt x="63903" y="16160"/>
                  </a:lnTo>
                  <a:lnTo>
                    <a:pt x="60860" y="15109"/>
                  </a:lnTo>
                  <a:lnTo>
                    <a:pt x="62204" y="13639"/>
                  </a:lnTo>
                  <a:close/>
                  <a:moveTo>
                    <a:pt x="55026" y="0"/>
                  </a:moveTo>
                  <a:lnTo>
                    <a:pt x="52173" y="2816"/>
                  </a:lnTo>
                  <a:lnTo>
                    <a:pt x="51715" y="3905"/>
                  </a:lnTo>
                  <a:lnTo>
                    <a:pt x="51370" y="5573"/>
                  </a:lnTo>
                  <a:lnTo>
                    <a:pt x="53415" y="9192"/>
                  </a:lnTo>
                  <a:lnTo>
                    <a:pt x="52983" y="11391"/>
                  </a:lnTo>
                  <a:lnTo>
                    <a:pt x="53127" y="15713"/>
                  </a:lnTo>
                  <a:lnTo>
                    <a:pt x="51199" y="17962"/>
                  </a:lnTo>
                  <a:lnTo>
                    <a:pt x="49023" y="22738"/>
                  </a:lnTo>
                  <a:lnTo>
                    <a:pt x="48085" y="23440"/>
                  </a:lnTo>
                  <a:lnTo>
                    <a:pt x="47885" y="29001"/>
                  </a:lnTo>
                  <a:lnTo>
                    <a:pt x="48098" y="30326"/>
                  </a:lnTo>
                  <a:lnTo>
                    <a:pt x="47789" y="35374"/>
                  </a:lnTo>
                  <a:lnTo>
                    <a:pt x="50020" y="37437"/>
                  </a:lnTo>
                  <a:lnTo>
                    <a:pt x="52378" y="38515"/>
                  </a:lnTo>
                  <a:lnTo>
                    <a:pt x="60243" y="38477"/>
                  </a:lnTo>
                  <a:lnTo>
                    <a:pt x="61059" y="39383"/>
                  </a:lnTo>
                  <a:lnTo>
                    <a:pt x="62018" y="40939"/>
                  </a:lnTo>
                  <a:lnTo>
                    <a:pt x="61316" y="43578"/>
                  </a:lnTo>
                  <a:lnTo>
                    <a:pt x="60476" y="45567"/>
                  </a:lnTo>
                  <a:lnTo>
                    <a:pt x="58198" y="47241"/>
                  </a:lnTo>
                  <a:lnTo>
                    <a:pt x="55274" y="48488"/>
                  </a:lnTo>
                  <a:lnTo>
                    <a:pt x="53456" y="48543"/>
                  </a:lnTo>
                  <a:lnTo>
                    <a:pt x="50979" y="46172"/>
                  </a:lnTo>
                  <a:lnTo>
                    <a:pt x="49802" y="46941"/>
                  </a:lnTo>
                  <a:lnTo>
                    <a:pt x="48586" y="48150"/>
                  </a:lnTo>
                  <a:lnTo>
                    <a:pt x="46550" y="54627"/>
                  </a:lnTo>
                  <a:lnTo>
                    <a:pt x="45585" y="58992"/>
                  </a:lnTo>
                  <a:lnTo>
                    <a:pt x="45062" y="59346"/>
                  </a:lnTo>
                  <a:lnTo>
                    <a:pt x="43911" y="58703"/>
                  </a:lnTo>
                  <a:lnTo>
                    <a:pt x="41923" y="58653"/>
                  </a:lnTo>
                  <a:lnTo>
                    <a:pt x="39409" y="59687"/>
                  </a:lnTo>
                  <a:lnTo>
                    <a:pt x="40698" y="60612"/>
                  </a:lnTo>
                  <a:lnTo>
                    <a:pt x="42061" y="62217"/>
                  </a:lnTo>
                  <a:lnTo>
                    <a:pt x="41516" y="63021"/>
                  </a:lnTo>
                  <a:lnTo>
                    <a:pt x="39305" y="63889"/>
                  </a:lnTo>
                  <a:lnTo>
                    <a:pt x="37345" y="65645"/>
                  </a:lnTo>
                  <a:lnTo>
                    <a:pt x="36524" y="66973"/>
                  </a:lnTo>
                  <a:lnTo>
                    <a:pt x="34051" y="68543"/>
                  </a:lnTo>
                  <a:lnTo>
                    <a:pt x="32497" y="70532"/>
                  </a:lnTo>
                  <a:lnTo>
                    <a:pt x="33259" y="72995"/>
                  </a:lnTo>
                  <a:lnTo>
                    <a:pt x="33583" y="75156"/>
                  </a:lnTo>
                  <a:lnTo>
                    <a:pt x="34263" y="77540"/>
                  </a:lnTo>
                  <a:lnTo>
                    <a:pt x="33650" y="79442"/>
                  </a:lnTo>
                  <a:lnTo>
                    <a:pt x="30588" y="82168"/>
                  </a:lnTo>
                  <a:lnTo>
                    <a:pt x="29459" y="84528"/>
                  </a:lnTo>
                  <a:lnTo>
                    <a:pt x="32082" y="84498"/>
                  </a:lnTo>
                  <a:lnTo>
                    <a:pt x="33697" y="85043"/>
                  </a:lnTo>
                  <a:lnTo>
                    <a:pt x="34643" y="85740"/>
                  </a:lnTo>
                  <a:lnTo>
                    <a:pt x="35619" y="86727"/>
                  </a:lnTo>
                  <a:lnTo>
                    <a:pt x="35021" y="87946"/>
                  </a:lnTo>
                  <a:lnTo>
                    <a:pt x="35783" y="91101"/>
                  </a:lnTo>
                  <a:lnTo>
                    <a:pt x="35457" y="91101"/>
                  </a:lnTo>
                  <a:lnTo>
                    <a:pt x="34047" y="90830"/>
                  </a:lnTo>
                  <a:lnTo>
                    <a:pt x="33043" y="90184"/>
                  </a:lnTo>
                  <a:lnTo>
                    <a:pt x="30454" y="90644"/>
                  </a:lnTo>
                  <a:lnTo>
                    <a:pt x="26988" y="91691"/>
                  </a:lnTo>
                  <a:lnTo>
                    <a:pt x="25064" y="91638"/>
                  </a:lnTo>
                  <a:lnTo>
                    <a:pt x="23535" y="90514"/>
                  </a:lnTo>
                  <a:lnTo>
                    <a:pt x="17280" y="88911"/>
                  </a:lnTo>
                  <a:lnTo>
                    <a:pt x="16269" y="88781"/>
                  </a:lnTo>
                  <a:lnTo>
                    <a:pt x="12145" y="88714"/>
                  </a:lnTo>
                  <a:lnTo>
                    <a:pt x="12136" y="88711"/>
                  </a:lnTo>
                  <a:lnTo>
                    <a:pt x="11939" y="86176"/>
                  </a:lnTo>
                  <a:lnTo>
                    <a:pt x="11428" y="84343"/>
                  </a:lnTo>
                  <a:lnTo>
                    <a:pt x="9983" y="81613"/>
                  </a:lnTo>
                  <a:lnTo>
                    <a:pt x="12125" y="80954"/>
                  </a:lnTo>
                  <a:lnTo>
                    <a:pt x="11711" y="75622"/>
                  </a:lnTo>
                  <a:lnTo>
                    <a:pt x="10933" y="72852"/>
                  </a:lnTo>
                  <a:lnTo>
                    <a:pt x="4949" y="70003"/>
                  </a:lnTo>
                  <a:lnTo>
                    <a:pt x="236" y="67231"/>
                  </a:lnTo>
                  <a:lnTo>
                    <a:pt x="1324" y="57872"/>
                  </a:lnTo>
                  <a:lnTo>
                    <a:pt x="1788" y="55344"/>
                  </a:lnTo>
                  <a:lnTo>
                    <a:pt x="0" y="50431"/>
                  </a:lnTo>
                  <a:lnTo>
                    <a:pt x="186" y="44763"/>
                  </a:lnTo>
                  <a:lnTo>
                    <a:pt x="939" y="35802"/>
                  </a:lnTo>
                  <a:lnTo>
                    <a:pt x="2438" y="35451"/>
                  </a:lnTo>
                  <a:lnTo>
                    <a:pt x="3537" y="35494"/>
                  </a:lnTo>
                  <a:lnTo>
                    <a:pt x="7776" y="37105"/>
                  </a:lnTo>
                  <a:lnTo>
                    <a:pt x="9541" y="37266"/>
                  </a:lnTo>
                  <a:lnTo>
                    <a:pt x="10750" y="38703"/>
                  </a:lnTo>
                  <a:lnTo>
                    <a:pt x="12166" y="39295"/>
                  </a:lnTo>
                  <a:lnTo>
                    <a:pt x="13192" y="37768"/>
                  </a:lnTo>
                  <a:lnTo>
                    <a:pt x="13591" y="35156"/>
                  </a:lnTo>
                  <a:lnTo>
                    <a:pt x="16951" y="31770"/>
                  </a:lnTo>
                  <a:lnTo>
                    <a:pt x="19305" y="30519"/>
                  </a:lnTo>
                  <a:lnTo>
                    <a:pt x="20910" y="29918"/>
                  </a:lnTo>
                  <a:lnTo>
                    <a:pt x="22529" y="31286"/>
                  </a:lnTo>
                  <a:lnTo>
                    <a:pt x="23768" y="32821"/>
                  </a:lnTo>
                  <a:lnTo>
                    <a:pt x="24062" y="29460"/>
                  </a:lnTo>
                  <a:lnTo>
                    <a:pt x="25062" y="23042"/>
                  </a:lnTo>
                  <a:lnTo>
                    <a:pt x="21868" y="22033"/>
                  </a:lnTo>
                  <a:lnTo>
                    <a:pt x="19266" y="22903"/>
                  </a:lnTo>
                  <a:lnTo>
                    <a:pt x="16686" y="26973"/>
                  </a:lnTo>
                  <a:lnTo>
                    <a:pt x="14384" y="32078"/>
                  </a:lnTo>
                  <a:lnTo>
                    <a:pt x="10650" y="32546"/>
                  </a:lnTo>
                  <a:lnTo>
                    <a:pt x="7670" y="33989"/>
                  </a:lnTo>
                  <a:lnTo>
                    <a:pt x="4980" y="32493"/>
                  </a:lnTo>
                  <a:lnTo>
                    <a:pt x="3246" y="31174"/>
                  </a:lnTo>
                  <a:lnTo>
                    <a:pt x="3203" y="29241"/>
                  </a:lnTo>
                  <a:lnTo>
                    <a:pt x="3596" y="28074"/>
                  </a:lnTo>
                  <a:lnTo>
                    <a:pt x="6757" y="23905"/>
                  </a:lnTo>
                  <a:lnTo>
                    <a:pt x="10992" y="19893"/>
                  </a:lnTo>
                  <a:lnTo>
                    <a:pt x="15258" y="19932"/>
                  </a:lnTo>
                  <a:lnTo>
                    <a:pt x="18370" y="18649"/>
                  </a:lnTo>
                  <a:lnTo>
                    <a:pt x="20229" y="18495"/>
                  </a:lnTo>
                  <a:lnTo>
                    <a:pt x="26034" y="18777"/>
                  </a:lnTo>
                  <a:lnTo>
                    <a:pt x="29014" y="17897"/>
                  </a:lnTo>
                  <a:lnTo>
                    <a:pt x="31683" y="16054"/>
                  </a:lnTo>
                  <a:lnTo>
                    <a:pt x="37450" y="8241"/>
                  </a:lnTo>
                  <a:lnTo>
                    <a:pt x="40705" y="4976"/>
                  </a:lnTo>
                  <a:lnTo>
                    <a:pt x="47267" y="3825"/>
                  </a:lnTo>
                  <a:lnTo>
                    <a:pt x="53330" y="48"/>
                  </a:lnTo>
                  <a:close/>
                </a:path>
              </a:pathLst>
            </a:custGeom>
            <a:grpFill/>
            <a:ln w="3175"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4" name="ee4p_DK_2_92573">
              <a:extLst>
                <a:ext uri="{FF2B5EF4-FFF2-40B4-BE49-F238E27FC236}">
                  <a16:creationId xmlns:a16="http://schemas.microsoft.com/office/drawing/2014/main" id="{5070AF9E-8C1F-4278-9366-C8B0F3863627}"/>
                </a:ext>
              </a:extLst>
            </p:cNvPr>
            <p:cNvSpPr>
              <a:spLocks noChangeAspect="1"/>
            </p:cNvSpPr>
            <p:nvPr>
              <p:custDataLst>
                <p:tags r:id="rId8"/>
              </p:custDataLst>
            </p:nvPr>
          </p:nvSpPr>
          <p:spPr>
            <a:xfrm>
              <a:off x="3121066" y="2995743"/>
              <a:ext cx="89108" cy="127081"/>
            </a:xfrm>
            <a:custGeom>
              <a:avLst/>
              <a:gdLst>
                <a:gd name="connsiteX0" fmla="*/ 10785 w 22478"/>
                <a:gd name="connsiteY0" fmla="*/ 24608 h 32057"/>
                <a:gd name="connsiteX1" fmla="*/ 11425 w 22478"/>
                <a:gd name="connsiteY1" fmla="*/ 24727 h 32057"/>
                <a:gd name="connsiteX2" fmla="*/ 11961 w 22478"/>
                <a:gd name="connsiteY2" fmla="*/ 25678 h 32057"/>
                <a:gd name="connsiteX3" fmla="*/ 14429 w 22478"/>
                <a:gd name="connsiteY3" fmla="*/ 26302 h 32057"/>
                <a:gd name="connsiteX4" fmla="*/ 15079 w 22478"/>
                <a:gd name="connsiteY4" fmla="*/ 26771 h 32057"/>
                <a:gd name="connsiteX5" fmla="*/ 15070 w 22478"/>
                <a:gd name="connsiteY5" fmla="*/ 27927 h 32057"/>
                <a:gd name="connsiteX6" fmla="*/ 15900 w 22478"/>
                <a:gd name="connsiteY6" fmla="*/ 29296 h 32057"/>
                <a:gd name="connsiteX7" fmla="*/ 15990 w 22478"/>
                <a:gd name="connsiteY7" fmla="*/ 31032 h 32057"/>
                <a:gd name="connsiteX8" fmla="*/ 16427 w 22478"/>
                <a:gd name="connsiteY8" fmla="*/ 32057 h 32057"/>
                <a:gd name="connsiteX9" fmla="*/ 15911 w 22478"/>
                <a:gd name="connsiteY9" fmla="*/ 31943 h 32057"/>
                <a:gd name="connsiteX10" fmla="*/ 14419 w 22478"/>
                <a:gd name="connsiteY10" fmla="*/ 30774 h 32057"/>
                <a:gd name="connsiteX11" fmla="*/ 11818 w 22478"/>
                <a:gd name="connsiteY11" fmla="*/ 27982 h 32057"/>
                <a:gd name="connsiteX12" fmla="*/ 10909 w 22478"/>
                <a:gd name="connsiteY12" fmla="*/ 25673 h 32057"/>
                <a:gd name="connsiteX13" fmla="*/ 12842 w 22478"/>
                <a:gd name="connsiteY13" fmla="*/ 15452 h 32057"/>
                <a:gd name="connsiteX14" fmla="*/ 13971 w 22478"/>
                <a:gd name="connsiteY14" fmla="*/ 15736 h 32057"/>
                <a:gd name="connsiteX15" fmla="*/ 16816 w 22478"/>
                <a:gd name="connsiteY15" fmla="*/ 16880 h 32057"/>
                <a:gd name="connsiteX16" fmla="*/ 17618 w 22478"/>
                <a:gd name="connsiteY16" fmla="*/ 18073 h 32057"/>
                <a:gd name="connsiteX17" fmla="*/ 17676 w 22478"/>
                <a:gd name="connsiteY17" fmla="*/ 18779 h 32057"/>
                <a:gd name="connsiteX18" fmla="*/ 17243 w 22478"/>
                <a:gd name="connsiteY18" fmla="*/ 20059 h 32057"/>
                <a:gd name="connsiteX19" fmla="*/ 16637 w 22478"/>
                <a:gd name="connsiteY19" fmla="*/ 20048 h 32057"/>
                <a:gd name="connsiteX20" fmla="*/ 14557 w 22478"/>
                <a:gd name="connsiteY20" fmla="*/ 18460 h 32057"/>
                <a:gd name="connsiteX21" fmla="*/ 12901 w 22478"/>
                <a:gd name="connsiteY21" fmla="*/ 17595 h 32057"/>
                <a:gd name="connsiteX22" fmla="*/ 12352 w 22478"/>
                <a:gd name="connsiteY22" fmla="*/ 16864 h 32057"/>
                <a:gd name="connsiteX23" fmla="*/ 11892 w 22478"/>
                <a:gd name="connsiteY23" fmla="*/ 15608 h 32057"/>
                <a:gd name="connsiteX24" fmla="*/ 4141 w 22478"/>
                <a:gd name="connsiteY24" fmla="*/ 7004 h 32057"/>
                <a:gd name="connsiteX25" fmla="*/ 5212 w 22478"/>
                <a:gd name="connsiteY25" fmla="*/ 7411 h 32057"/>
                <a:gd name="connsiteX26" fmla="*/ 7197 w 22478"/>
                <a:gd name="connsiteY26" fmla="*/ 8737 h 32057"/>
                <a:gd name="connsiteX27" fmla="*/ 7903 w 22478"/>
                <a:gd name="connsiteY27" fmla="*/ 9669 h 32057"/>
                <a:gd name="connsiteX28" fmla="*/ 6762 w 22478"/>
                <a:gd name="connsiteY28" fmla="*/ 10571 h 32057"/>
                <a:gd name="connsiteX29" fmla="*/ 5377 w 22478"/>
                <a:gd name="connsiteY29" fmla="*/ 10803 h 32057"/>
                <a:gd name="connsiteX30" fmla="*/ 3707 w 22478"/>
                <a:gd name="connsiteY30" fmla="*/ 10595 h 32057"/>
                <a:gd name="connsiteX31" fmla="*/ 962 w 22478"/>
                <a:gd name="connsiteY31" fmla="*/ 9616 h 32057"/>
                <a:gd name="connsiteX32" fmla="*/ 0 w 22478"/>
                <a:gd name="connsiteY32" fmla="*/ 7378 h 32057"/>
                <a:gd name="connsiteX33" fmla="*/ 1898 w 22478"/>
                <a:gd name="connsiteY33" fmla="*/ 7433 h 32057"/>
                <a:gd name="connsiteX34" fmla="*/ 10259 w 22478"/>
                <a:gd name="connsiteY34" fmla="*/ 1351 h 32057"/>
                <a:gd name="connsiteX35" fmla="*/ 13686 w 22478"/>
                <a:gd name="connsiteY35" fmla="*/ 3076 h 32057"/>
                <a:gd name="connsiteX36" fmla="*/ 17502 w 22478"/>
                <a:gd name="connsiteY36" fmla="*/ 4380 h 32057"/>
                <a:gd name="connsiteX37" fmla="*/ 16955 w 22478"/>
                <a:gd name="connsiteY37" fmla="*/ 8974 h 32057"/>
                <a:gd name="connsiteX38" fmla="*/ 16057 w 22478"/>
                <a:gd name="connsiteY38" fmla="*/ 8948 h 32057"/>
                <a:gd name="connsiteX39" fmla="*/ 14454 w 22478"/>
                <a:gd name="connsiteY39" fmla="*/ 7679 h 32057"/>
                <a:gd name="connsiteX40" fmla="*/ 13248 w 22478"/>
                <a:gd name="connsiteY40" fmla="*/ 7418 h 32057"/>
                <a:gd name="connsiteX41" fmla="*/ 12871 w 22478"/>
                <a:gd name="connsiteY41" fmla="*/ 8096 h 32057"/>
                <a:gd name="connsiteX42" fmla="*/ 12933 w 22478"/>
                <a:gd name="connsiteY42" fmla="*/ 8912 h 32057"/>
                <a:gd name="connsiteX43" fmla="*/ 13557 w 22478"/>
                <a:gd name="connsiteY43" fmla="*/ 9424 h 32057"/>
                <a:gd name="connsiteX44" fmla="*/ 15479 w 22478"/>
                <a:gd name="connsiteY44" fmla="*/ 12498 h 32057"/>
                <a:gd name="connsiteX45" fmla="*/ 15659 w 22478"/>
                <a:gd name="connsiteY45" fmla="*/ 13392 h 32057"/>
                <a:gd name="connsiteX46" fmla="*/ 15421 w 22478"/>
                <a:gd name="connsiteY46" fmla="*/ 13825 h 32057"/>
                <a:gd name="connsiteX47" fmla="*/ 13552 w 22478"/>
                <a:gd name="connsiteY47" fmla="*/ 12939 h 32057"/>
                <a:gd name="connsiteX48" fmla="*/ 9044 w 22478"/>
                <a:gd name="connsiteY48" fmla="*/ 8960 h 32057"/>
                <a:gd name="connsiteX49" fmla="*/ 5537 w 22478"/>
                <a:gd name="connsiteY49" fmla="*/ 2403 h 32057"/>
                <a:gd name="connsiteX50" fmla="*/ 19193 w 22478"/>
                <a:gd name="connsiteY50" fmla="*/ 0 h 32057"/>
                <a:gd name="connsiteX51" fmla="*/ 20996 w 22478"/>
                <a:gd name="connsiteY51" fmla="*/ 2187 h 32057"/>
                <a:gd name="connsiteX52" fmla="*/ 22478 w 22478"/>
                <a:gd name="connsiteY52" fmla="*/ 3327 h 32057"/>
                <a:gd name="connsiteX53" fmla="*/ 21420 w 22478"/>
                <a:gd name="connsiteY53" fmla="*/ 5796 h 32057"/>
                <a:gd name="connsiteX54" fmla="*/ 19854 w 22478"/>
                <a:gd name="connsiteY54" fmla="*/ 5408 h 32057"/>
                <a:gd name="connsiteX55" fmla="*/ 19424 w 22478"/>
                <a:gd name="connsiteY55" fmla="*/ 5143 h 32057"/>
                <a:gd name="connsiteX56" fmla="*/ 19085 w 22478"/>
                <a:gd name="connsiteY56" fmla="*/ 4496 h 32057"/>
                <a:gd name="connsiteX57" fmla="*/ 19249 w 22478"/>
                <a:gd name="connsiteY57" fmla="*/ 2659 h 32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2478" h="32057">
                  <a:moveTo>
                    <a:pt x="10785" y="24608"/>
                  </a:moveTo>
                  <a:lnTo>
                    <a:pt x="11425" y="24727"/>
                  </a:lnTo>
                  <a:lnTo>
                    <a:pt x="11961" y="25678"/>
                  </a:lnTo>
                  <a:lnTo>
                    <a:pt x="14429" y="26302"/>
                  </a:lnTo>
                  <a:lnTo>
                    <a:pt x="15079" y="26771"/>
                  </a:lnTo>
                  <a:lnTo>
                    <a:pt x="15070" y="27927"/>
                  </a:lnTo>
                  <a:lnTo>
                    <a:pt x="15900" y="29296"/>
                  </a:lnTo>
                  <a:lnTo>
                    <a:pt x="15990" y="31032"/>
                  </a:lnTo>
                  <a:lnTo>
                    <a:pt x="16427" y="32057"/>
                  </a:lnTo>
                  <a:lnTo>
                    <a:pt x="15911" y="31943"/>
                  </a:lnTo>
                  <a:lnTo>
                    <a:pt x="14419" y="30774"/>
                  </a:lnTo>
                  <a:lnTo>
                    <a:pt x="11818" y="27982"/>
                  </a:lnTo>
                  <a:lnTo>
                    <a:pt x="10909" y="25673"/>
                  </a:lnTo>
                  <a:close/>
                  <a:moveTo>
                    <a:pt x="12842" y="15452"/>
                  </a:moveTo>
                  <a:lnTo>
                    <a:pt x="13971" y="15736"/>
                  </a:lnTo>
                  <a:lnTo>
                    <a:pt x="16816" y="16880"/>
                  </a:lnTo>
                  <a:lnTo>
                    <a:pt x="17618" y="18073"/>
                  </a:lnTo>
                  <a:lnTo>
                    <a:pt x="17676" y="18779"/>
                  </a:lnTo>
                  <a:lnTo>
                    <a:pt x="17243" y="20059"/>
                  </a:lnTo>
                  <a:lnTo>
                    <a:pt x="16637" y="20048"/>
                  </a:lnTo>
                  <a:lnTo>
                    <a:pt x="14557" y="18460"/>
                  </a:lnTo>
                  <a:lnTo>
                    <a:pt x="12901" y="17595"/>
                  </a:lnTo>
                  <a:lnTo>
                    <a:pt x="12352" y="16864"/>
                  </a:lnTo>
                  <a:lnTo>
                    <a:pt x="11892" y="15608"/>
                  </a:lnTo>
                  <a:close/>
                  <a:moveTo>
                    <a:pt x="4141" y="7004"/>
                  </a:moveTo>
                  <a:lnTo>
                    <a:pt x="5212" y="7411"/>
                  </a:lnTo>
                  <a:lnTo>
                    <a:pt x="7197" y="8737"/>
                  </a:lnTo>
                  <a:lnTo>
                    <a:pt x="7903" y="9669"/>
                  </a:lnTo>
                  <a:lnTo>
                    <a:pt x="6762" y="10571"/>
                  </a:lnTo>
                  <a:lnTo>
                    <a:pt x="5377" y="10803"/>
                  </a:lnTo>
                  <a:lnTo>
                    <a:pt x="3707" y="10595"/>
                  </a:lnTo>
                  <a:lnTo>
                    <a:pt x="962" y="9616"/>
                  </a:lnTo>
                  <a:lnTo>
                    <a:pt x="0" y="7378"/>
                  </a:lnTo>
                  <a:lnTo>
                    <a:pt x="1898" y="7433"/>
                  </a:lnTo>
                  <a:close/>
                  <a:moveTo>
                    <a:pt x="10259" y="1351"/>
                  </a:moveTo>
                  <a:lnTo>
                    <a:pt x="13686" y="3076"/>
                  </a:lnTo>
                  <a:lnTo>
                    <a:pt x="17502" y="4380"/>
                  </a:lnTo>
                  <a:lnTo>
                    <a:pt x="16955" y="8974"/>
                  </a:lnTo>
                  <a:lnTo>
                    <a:pt x="16057" y="8948"/>
                  </a:lnTo>
                  <a:lnTo>
                    <a:pt x="14454" y="7679"/>
                  </a:lnTo>
                  <a:lnTo>
                    <a:pt x="13248" y="7418"/>
                  </a:lnTo>
                  <a:lnTo>
                    <a:pt x="12871" y="8096"/>
                  </a:lnTo>
                  <a:lnTo>
                    <a:pt x="12933" y="8912"/>
                  </a:lnTo>
                  <a:lnTo>
                    <a:pt x="13557" y="9424"/>
                  </a:lnTo>
                  <a:lnTo>
                    <a:pt x="15479" y="12498"/>
                  </a:lnTo>
                  <a:lnTo>
                    <a:pt x="15659" y="13392"/>
                  </a:lnTo>
                  <a:lnTo>
                    <a:pt x="15421" y="13825"/>
                  </a:lnTo>
                  <a:lnTo>
                    <a:pt x="13552" y="12939"/>
                  </a:lnTo>
                  <a:lnTo>
                    <a:pt x="9044" y="8960"/>
                  </a:lnTo>
                  <a:lnTo>
                    <a:pt x="5537" y="2403"/>
                  </a:lnTo>
                  <a:close/>
                  <a:moveTo>
                    <a:pt x="19193" y="0"/>
                  </a:moveTo>
                  <a:lnTo>
                    <a:pt x="20996" y="2187"/>
                  </a:lnTo>
                  <a:lnTo>
                    <a:pt x="22478" y="3327"/>
                  </a:lnTo>
                  <a:lnTo>
                    <a:pt x="21420" y="5796"/>
                  </a:lnTo>
                  <a:lnTo>
                    <a:pt x="19854" y="5408"/>
                  </a:lnTo>
                  <a:lnTo>
                    <a:pt x="19424" y="5143"/>
                  </a:lnTo>
                  <a:lnTo>
                    <a:pt x="19085" y="4496"/>
                  </a:lnTo>
                  <a:lnTo>
                    <a:pt x="19249" y="2659"/>
                  </a:lnTo>
                  <a:close/>
                </a:path>
              </a:pathLst>
            </a:custGeom>
            <a:grpFill/>
            <a:ln w="3175"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5" name="ee4p_ES_1_92573">
              <a:extLst>
                <a:ext uri="{FF2B5EF4-FFF2-40B4-BE49-F238E27FC236}">
                  <a16:creationId xmlns:a16="http://schemas.microsoft.com/office/drawing/2014/main" id="{90CCD9A6-A78F-4FDB-A859-D6443E9F20C6}"/>
                </a:ext>
              </a:extLst>
            </p:cNvPr>
            <p:cNvSpPr>
              <a:spLocks noChangeAspect="1"/>
            </p:cNvSpPr>
            <p:nvPr>
              <p:custDataLst>
                <p:tags r:id="rId9"/>
              </p:custDataLst>
            </p:nvPr>
          </p:nvSpPr>
          <p:spPr>
            <a:xfrm>
              <a:off x="3878940" y="5609161"/>
              <a:ext cx="271629" cy="145594"/>
            </a:xfrm>
            <a:custGeom>
              <a:avLst/>
              <a:gdLst>
                <a:gd name="connsiteX0" fmla="*/ 4710 w 68520"/>
                <a:gd name="connsiteY0" fmla="*/ 33907 h 36727"/>
                <a:gd name="connsiteX1" fmla="*/ 6049 w 68520"/>
                <a:gd name="connsiteY1" fmla="*/ 35359 h 36727"/>
                <a:gd name="connsiteX2" fmla="*/ 8167 w 68520"/>
                <a:gd name="connsiteY2" fmla="*/ 35628 h 36727"/>
                <a:gd name="connsiteX3" fmla="*/ 8195 w 68520"/>
                <a:gd name="connsiteY3" fmla="*/ 36386 h 36727"/>
                <a:gd name="connsiteX4" fmla="*/ 7692 w 68520"/>
                <a:gd name="connsiteY4" fmla="*/ 36727 h 36727"/>
                <a:gd name="connsiteX5" fmla="*/ 6228 w 68520"/>
                <a:gd name="connsiteY5" fmla="*/ 36414 h 36727"/>
                <a:gd name="connsiteX6" fmla="*/ 4034 w 68520"/>
                <a:gd name="connsiteY6" fmla="*/ 36414 h 36727"/>
                <a:gd name="connsiteX7" fmla="*/ 3950 w 68520"/>
                <a:gd name="connsiteY7" fmla="*/ 35372 h 36727"/>
                <a:gd name="connsiteX8" fmla="*/ 4287 w 68520"/>
                <a:gd name="connsiteY8" fmla="*/ 34644 h 36727"/>
                <a:gd name="connsiteX9" fmla="*/ 7543 w 68520"/>
                <a:gd name="connsiteY9" fmla="*/ 24790 h 36727"/>
                <a:gd name="connsiteX10" fmla="*/ 8621 w 68520"/>
                <a:gd name="connsiteY10" fmla="*/ 25661 h 36727"/>
                <a:gd name="connsiteX11" fmla="*/ 8852 w 68520"/>
                <a:gd name="connsiteY11" fmla="*/ 26917 h 36727"/>
                <a:gd name="connsiteX12" fmla="*/ 5997 w 68520"/>
                <a:gd name="connsiteY12" fmla="*/ 29665 h 36727"/>
                <a:gd name="connsiteX13" fmla="*/ 4907 w 68520"/>
                <a:gd name="connsiteY13" fmla="*/ 30022 h 36727"/>
                <a:gd name="connsiteX14" fmla="*/ 4106 w 68520"/>
                <a:gd name="connsiteY14" fmla="*/ 31608 h 36727"/>
                <a:gd name="connsiteX15" fmla="*/ 743 w 68520"/>
                <a:gd name="connsiteY15" fmla="*/ 31047 h 36727"/>
                <a:gd name="connsiteX16" fmla="*/ 0 w 68520"/>
                <a:gd name="connsiteY16" fmla="*/ 30405 h 36727"/>
                <a:gd name="connsiteX17" fmla="*/ 728 w 68520"/>
                <a:gd name="connsiteY17" fmla="*/ 28609 h 36727"/>
                <a:gd name="connsiteX18" fmla="*/ 1691 w 68520"/>
                <a:gd name="connsiteY18" fmla="*/ 28393 h 36727"/>
                <a:gd name="connsiteX19" fmla="*/ 1752 w 68520"/>
                <a:gd name="connsiteY19" fmla="*/ 27115 h 36727"/>
                <a:gd name="connsiteX20" fmla="*/ 2771 w 68520"/>
                <a:gd name="connsiteY20" fmla="*/ 25831 h 36727"/>
                <a:gd name="connsiteX21" fmla="*/ 42795 w 68520"/>
                <a:gd name="connsiteY21" fmla="*/ 2728 h 36727"/>
                <a:gd name="connsiteX22" fmla="*/ 43655 w 68520"/>
                <a:gd name="connsiteY22" fmla="*/ 2973 h 36727"/>
                <a:gd name="connsiteX23" fmla="*/ 42923 w 68520"/>
                <a:gd name="connsiteY23" fmla="*/ 3934 h 36727"/>
                <a:gd name="connsiteX24" fmla="*/ 42979 w 68520"/>
                <a:gd name="connsiteY24" fmla="*/ 4364 h 36727"/>
                <a:gd name="connsiteX25" fmla="*/ 43678 w 68520"/>
                <a:gd name="connsiteY25" fmla="*/ 4830 h 36727"/>
                <a:gd name="connsiteX26" fmla="*/ 43508 w 68520"/>
                <a:gd name="connsiteY26" fmla="*/ 5571 h 36727"/>
                <a:gd name="connsiteX27" fmla="*/ 42795 w 68520"/>
                <a:gd name="connsiteY27" fmla="*/ 6217 h 36727"/>
                <a:gd name="connsiteX28" fmla="*/ 42499 w 68520"/>
                <a:gd name="connsiteY28" fmla="*/ 7427 h 36727"/>
                <a:gd name="connsiteX29" fmla="*/ 44618 w 68520"/>
                <a:gd name="connsiteY29" fmla="*/ 8296 h 36727"/>
                <a:gd name="connsiteX30" fmla="*/ 46853 w 68520"/>
                <a:gd name="connsiteY30" fmla="*/ 7515 h 36727"/>
                <a:gd name="connsiteX31" fmla="*/ 48041 w 68520"/>
                <a:gd name="connsiteY31" fmla="*/ 7760 h 36727"/>
                <a:gd name="connsiteX32" fmla="*/ 49213 w 68520"/>
                <a:gd name="connsiteY32" fmla="*/ 8178 h 36727"/>
                <a:gd name="connsiteX33" fmla="*/ 49498 w 68520"/>
                <a:gd name="connsiteY33" fmla="*/ 9829 h 36727"/>
                <a:gd name="connsiteX34" fmla="*/ 48455 w 68520"/>
                <a:gd name="connsiteY34" fmla="*/ 11665 h 36727"/>
                <a:gd name="connsiteX35" fmla="*/ 46998 w 68520"/>
                <a:gd name="connsiteY35" fmla="*/ 13522 h 36727"/>
                <a:gd name="connsiteX36" fmla="*/ 45764 w 68520"/>
                <a:gd name="connsiteY36" fmla="*/ 15563 h 36727"/>
                <a:gd name="connsiteX37" fmla="*/ 44698 w 68520"/>
                <a:gd name="connsiteY37" fmla="*/ 17910 h 36727"/>
                <a:gd name="connsiteX38" fmla="*/ 42704 w 68520"/>
                <a:gd name="connsiteY38" fmla="*/ 19294 h 36727"/>
                <a:gd name="connsiteX39" fmla="*/ 40897 w 68520"/>
                <a:gd name="connsiteY39" fmla="*/ 20123 h 36727"/>
                <a:gd name="connsiteX40" fmla="*/ 37077 w 68520"/>
                <a:gd name="connsiteY40" fmla="*/ 18383 h 36727"/>
                <a:gd name="connsiteX41" fmla="*/ 34860 w 68520"/>
                <a:gd name="connsiteY41" fmla="*/ 17950 h 36727"/>
                <a:gd name="connsiteX42" fmla="*/ 34197 w 68520"/>
                <a:gd name="connsiteY42" fmla="*/ 17297 h 36727"/>
                <a:gd name="connsiteX43" fmla="*/ 33670 w 68520"/>
                <a:gd name="connsiteY43" fmla="*/ 14701 h 36727"/>
                <a:gd name="connsiteX44" fmla="*/ 32666 w 68520"/>
                <a:gd name="connsiteY44" fmla="*/ 13873 h 36727"/>
                <a:gd name="connsiteX45" fmla="*/ 31195 w 68520"/>
                <a:gd name="connsiteY45" fmla="*/ 13508 h 36727"/>
                <a:gd name="connsiteX46" fmla="*/ 29908 w 68520"/>
                <a:gd name="connsiteY46" fmla="*/ 14171 h 36727"/>
                <a:gd name="connsiteX47" fmla="*/ 28219 w 68520"/>
                <a:gd name="connsiteY47" fmla="*/ 15542 h 36727"/>
                <a:gd name="connsiteX48" fmla="*/ 27319 w 68520"/>
                <a:gd name="connsiteY48" fmla="*/ 14176 h 36727"/>
                <a:gd name="connsiteX49" fmla="*/ 25894 w 68520"/>
                <a:gd name="connsiteY49" fmla="*/ 13919 h 36727"/>
                <a:gd name="connsiteX50" fmla="*/ 25356 w 68520"/>
                <a:gd name="connsiteY50" fmla="*/ 13096 h 36727"/>
                <a:gd name="connsiteX51" fmla="*/ 25384 w 68520"/>
                <a:gd name="connsiteY51" fmla="*/ 12030 h 36727"/>
                <a:gd name="connsiteX52" fmla="*/ 34531 w 68520"/>
                <a:gd name="connsiteY52" fmla="*/ 5741 h 36727"/>
                <a:gd name="connsiteX53" fmla="*/ 37181 w 68520"/>
                <a:gd name="connsiteY53" fmla="*/ 4349 h 36727"/>
                <a:gd name="connsiteX54" fmla="*/ 62707 w 68520"/>
                <a:gd name="connsiteY54" fmla="*/ 0 h 36727"/>
                <a:gd name="connsiteX55" fmla="*/ 66391 w 68520"/>
                <a:gd name="connsiteY55" fmla="*/ 1114 h 36727"/>
                <a:gd name="connsiteX56" fmla="*/ 68367 w 68520"/>
                <a:gd name="connsiteY56" fmla="*/ 4116 h 36727"/>
                <a:gd name="connsiteX57" fmla="*/ 68520 w 68520"/>
                <a:gd name="connsiteY57" fmla="*/ 4630 h 36727"/>
                <a:gd name="connsiteX58" fmla="*/ 67892 w 68520"/>
                <a:gd name="connsiteY58" fmla="*/ 6080 h 36727"/>
                <a:gd name="connsiteX59" fmla="*/ 67486 w 68520"/>
                <a:gd name="connsiteY59" fmla="*/ 6381 h 36727"/>
                <a:gd name="connsiteX60" fmla="*/ 60684 w 68520"/>
                <a:gd name="connsiteY60" fmla="*/ 3371 h 36727"/>
                <a:gd name="connsiteX61" fmla="*/ 58462 w 68520"/>
                <a:gd name="connsiteY61" fmla="*/ 3035 h 36727"/>
                <a:gd name="connsiteX62" fmla="*/ 57920 w 68520"/>
                <a:gd name="connsiteY62" fmla="*/ 2575 h 36727"/>
                <a:gd name="connsiteX63" fmla="*/ 57980 w 68520"/>
                <a:gd name="connsiteY63" fmla="*/ 1008 h 36727"/>
                <a:gd name="connsiteX64" fmla="*/ 58157 w 68520"/>
                <a:gd name="connsiteY64" fmla="*/ 315 h 36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68520" h="36727">
                  <a:moveTo>
                    <a:pt x="4710" y="33907"/>
                  </a:moveTo>
                  <a:lnTo>
                    <a:pt x="6049" y="35359"/>
                  </a:lnTo>
                  <a:lnTo>
                    <a:pt x="8167" y="35628"/>
                  </a:lnTo>
                  <a:lnTo>
                    <a:pt x="8195" y="36386"/>
                  </a:lnTo>
                  <a:lnTo>
                    <a:pt x="7692" y="36727"/>
                  </a:lnTo>
                  <a:lnTo>
                    <a:pt x="6228" y="36414"/>
                  </a:lnTo>
                  <a:lnTo>
                    <a:pt x="4034" y="36414"/>
                  </a:lnTo>
                  <a:lnTo>
                    <a:pt x="3950" y="35372"/>
                  </a:lnTo>
                  <a:lnTo>
                    <a:pt x="4287" y="34644"/>
                  </a:lnTo>
                  <a:close/>
                  <a:moveTo>
                    <a:pt x="7543" y="24790"/>
                  </a:moveTo>
                  <a:lnTo>
                    <a:pt x="8621" y="25661"/>
                  </a:lnTo>
                  <a:lnTo>
                    <a:pt x="8852" y="26917"/>
                  </a:lnTo>
                  <a:lnTo>
                    <a:pt x="5997" y="29665"/>
                  </a:lnTo>
                  <a:lnTo>
                    <a:pt x="4907" y="30022"/>
                  </a:lnTo>
                  <a:lnTo>
                    <a:pt x="4106" y="31608"/>
                  </a:lnTo>
                  <a:lnTo>
                    <a:pt x="743" y="31047"/>
                  </a:lnTo>
                  <a:lnTo>
                    <a:pt x="0" y="30405"/>
                  </a:lnTo>
                  <a:lnTo>
                    <a:pt x="728" y="28609"/>
                  </a:lnTo>
                  <a:lnTo>
                    <a:pt x="1691" y="28393"/>
                  </a:lnTo>
                  <a:lnTo>
                    <a:pt x="1752" y="27115"/>
                  </a:lnTo>
                  <a:lnTo>
                    <a:pt x="2771" y="25831"/>
                  </a:lnTo>
                  <a:close/>
                  <a:moveTo>
                    <a:pt x="42795" y="2728"/>
                  </a:moveTo>
                  <a:lnTo>
                    <a:pt x="43655" y="2973"/>
                  </a:lnTo>
                  <a:lnTo>
                    <a:pt x="42923" y="3934"/>
                  </a:lnTo>
                  <a:lnTo>
                    <a:pt x="42979" y="4364"/>
                  </a:lnTo>
                  <a:lnTo>
                    <a:pt x="43678" y="4830"/>
                  </a:lnTo>
                  <a:lnTo>
                    <a:pt x="43508" y="5571"/>
                  </a:lnTo>
                  <a:lnTo>
                    <a:pt x="42795" y="6217"/>
                  </a:lnTo>
                  <a:lnTo>
                    <a:pt x="42499" y="7427"/>
                  </a:lnTo>
                  <a:lnTo>
                    <a:pt x="44618" y="8296"/>
                  </a:lnTo>
                  <a:lnTo>
                    <a:pt x="46853" y="7515"/>
                  </a:lnTo>
                  <a:lnTo>
                    <a:pt x="48041" y="7760"/>
                  </a:lnTo>
                  <a:lnTo>
                    <a:pt x="49213" y="8178"/>
                  </a:lnTo>
                  <a:lnTo>
                    <a:pt x="49498" y="9829"/>
                  </a:lnTo>
                  <a:lnTo>
                    <a:pt x="48455" y="11665"/>
                  </a:lnTo>
                  <a:lnTo>
                    <a:pt x="46998" y="13522"/>
                  </a:lnTo>
                  <a:lnTo>
                    <a:pt x="45764" y="15563"/>
                  </a:lnTo>
                  <a:lnTo>
                    <a:pt x="44698" y="17910"/>
                  </a:lnTo>
                  <a:lnTo>
                    <a:pt x="42704" y="19294"/>
                  </a:lnTo>
                  <a:lnTo>
                    <a:pt x="40897" y="20123"/>
                  </a:lnTo>
                  <a:lnTo>
                    <a:pt x="37077" y="18383"/>
                  </a:lnTo>
                  <a:lnTo>
                    <a:pt x="34860" y="17950"/>
                  </a:lnTo>
                  <a:lnTo>
                    <a:pt x="34197" y="17297"/>
                  </a:lnTo>
                  <a:lnTo>
                    <a:pt x="33670" y="14701"/>
                  </a:lnTo>
                  <a:lnTo>
                    <a:pt x="32666" y="13873"/>
                  </a:lnTo>
                  <a:lnTo>
                    <a:pt x="31195" y="13508"/>
                  </a:lnTo>
                  <a:lnTo>
                    <a:pt x="29908" y="14171"/>
                  </a:lnTo>
                  <a:lnTo>
                    <a:pt x="28219" y="15542"/>
                  </a:lnTo>
                  <a:lnTo>
                    <a:pt x="27319" y="14176"/>
                  </a:lnTo>
                  <a:lnTo>
                    <a:pt x="25894" y="13919"/>
                  </a:lnTo>
                  <a:lnTo>
                    <a:pt x="25356" y="13096"/>
                  </a:lnTo>
                  <a:lnTo>
                    <a:pt x="25384" y="12030"/>
                  </a:lnTo>
                  <a:lnTo>
                    <a:pt x="34531" y="5741"/>
                  </a:lnTo>
                  <a:lnTo>
                    <a:pt x="37181" y="4349"/>
                  </a:lnTo>
                  <a:close/>
                  <a:moveTo>
                    <a:pt x="62707" y="0"/>
                  </a:moveTo>
                  <a:lnTo>
                    <a:pt x="66391" y="1114"/>
                  </a:lnTo>
                  <a:lnTo>
                    <a:pt x="68367" y="4116"/>
                  </a:lnTo>
                  <a:lnTo>
                    <a:pt x="68520" y="4630"/>
                  </a:lnTo>
                  <a:lnTo>
                    <a:pt x="67892" y="6080"/>
                  </a:lnTo>
                  <a:lnTo>
                    <a:pt x="67486" y="6381"/>
                  </a:lnTo>
                  <a:lnTo>
                    <a:pt x="60684" y="3371"/>
                  </a:lnTo>
                  <a:lnTo>
                    <a:pt x="58462" y="3035"/>
                  </a:lnTo>
                  <a:lnTo>
                    <a:pt x="57920" y="2575"/>
                  </a:lnTo>
                  <a:lnTo>
                    <a:pt x="57980" y="1008"/>
                  </a:lnTo>
                  <a:lnTo>
                    <a:pt x="58157" y="315"/>
                  </a:lnTo>
                  <a:close/>
                </a:path>
              </a:pathLst>
            </a:custGeom>
            <a:grpFill/>
            <a:ln w="3175"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6" name="ee4p_ES_2_92573">
              <a:extLst>
                <a:ext uri="{FF2B5EF4-FFF2-40B4-BE49-F238E27FC236}">
                  <a16:creationId xmlns:a16="http://schemas.microsoft.com/office/drawing/2014/main" id="{F00DCD7C-1DC9-4990-BAFC-02992F194E0E}"/>
                </a:ext>
              </a:extLst>
            </p:cNvPr>
            <p:cNvSpPr>
              <a:spLocks noChangeAspect="1"/>
            </p:cNvSpPr>
            <p:nvPr>
              <p:custDataLst>
                <p:tags r:id="rId10"/>
              </p:custDataLst>
            </p:nvPr>
          </p:nvSpPr>
          <p:spPr>
            <a:xfrm>
              <a:off x="2962136" y="5221087"/>
              <a:ext cx="1099440" cy="799859"/>
            </a:xfrm>
            <a:custGeom>
              <a:avLst/>
              <a:gdLst/>
              <a:ahLst/>
              <a:cxnLst/>
              <a:rect l="0" t="0" r="0" b="0"/>
              <a:pathLst>
                <a:path w="277340" h="201769">
                  <a:moveTo>
                    <a:pt x="33998" y="0"/>
                  </a:moveTo>
                  <a:lnTo>
                    <a:pt x="36288" y="1004"/>
                  </a:lnTo>
                  <a:lnTo>
                    <a:pt x="38299" y="664"/>
                  </a:lnTo>
                  <a:lnTo>
                    <a:pt x="40605" y="1855"/>
                  </a:lnTo>
                  <a:lnTo>
                    <a:pt x="43643" y="4584"/>
                  </a:lnTo>
                  <a:lnTo>
                    <a:pt x="48087" y="5680"/>
                  </a:lnTo>
                  <a:lnTo>
                    <a:pt x="51631" y="4826"/>
                  </a:lnTo>
                  <a:lnTo>
                    <a:pt x="57898" y="4644"/>
                  </a:lnTo>
                  <a:lnTo>
                    <a:pt x="61029" y="5008"/>
                  </a:lnTo>
                  <a:lnTo>
                    <a:pt x="66591" y="4335"/>
                  </a:lnTo>
                  <a:lnTo>
                    <a:pt x="69776" y="4576"/>
                  </a:lnTo>
                  <a:lnTo>
                    <a:pt x="74938" y="3224"/>
                  </a:lnTo>
                  <a:lnTo>
                    <a:pt x="78937" y="4912"/>
                  </a:lnTo>
                  <a:lnTo>
                    <a:pt x="86678" y="5701"/>
                  </a:lnTo>
                  <a:lnTo>
                    <a:pt x="91332" y="7083"/>
                  </a:lnTo>
                  <a:lnTo>
                    <a:pt x="104206" y="9402"/>
                  </a:lnTo>
                  <a:lnTo>
                    <a:pt x="108855" y="9428"/>
                  </a:lnTo>
                  <a:lnTo>
                    <a:pt x="115433" y="8127"/>
                  </a:lnTo>
                  <a:lnTo>
                    <a:pt x="118218" y="7149"/>
                  </a:lnTo>
                  <a:lnTo>
                    <a:pt x="120768" y="7729"/>
                  </a:lnTo>
                  <a:lnTo>
                    <a:pt x="124514" y="6609"/>
                  </a:lnTo>
                  <a:lnTo>
                    <a:pt x="126305" y="6836"/>
                  </a:lnTo>
                  <a:lnTo>
                    <a:pt x="128644" y="8433"/>
                  </a:lnTo>
                  <a:lnTo>
                    <a:pt x="136875" y="10589"/>
                  </a:lnTo>
                  <a:lnTo>
                    <a:pt x="139040" y="8757"/>
                  </a:lnTo>
                  <a:lnTo>
                    <a:pt x="140647" y="8360"/>
                  </a:lnTo>
                  <a:lnTo>
                    <a:pt x="146572" y="9482"/>
                  </a:lnTo>
                  <a:lnTo>
                    <a:pt x="152542" y="11760"/>
                  </a:lnTo>
                  <a:lnTo>
                    <a:pt x="155647" y="11924"/>
                  </a:lnTo>
                  <a:lnTo>
                    <a:pt x="160188" y="11302"/>
                  </a:lnTo>
                  <a:lnTo>
                    <a:pt x="163788" y="9802"/>
                  </a:lnTo>
                  <a:lnTo>
                    <a:pt x="164550" y="9627"/>
                  </a:lnTo>
                  <a:lnTo>
                    <a:pt x="164579" y="10563"/>
                  </a:lnTo>
                  <a:lnTo>
                    <a:pt x="165452" y="11849"/>
                  </a:lnTo>
                  <a:lnTo>
                    <a:pt x="166345" y="12325"/>
                  </a:lnTo>
                  <a:lnTo>
                    <a:pt x="168240" y="12985"/>
                  </a:lnTo>
                  <a:lnTo>
                    <a:pt x="169692" y="13073"/>
                  </a:lnTo>
                  <a:lnTo>
                    <a:pt x="171677" y="13382"/>
                  </a:lnTo>
                  <a:lnTo>
                    <a:pt x="173027" y="14123"/>
                  </a:lnTo>
                  <a:lnTo>
                    <a:pt x="173101" y="15277"/>
                  </a:lnTo>
                  <a:lnTo>
                    <a:pt x="172763" y="16566"/>
                  </a:lnTo>
                  <a:lnTo>
                    <a:pt x="171949" y="17750"/>
                  </a:lnTo>
                  <a:lnTo>
                    <a:pt x="171484" y="18658"/>
                  </a:lnTo>
                  <a:lnTo>
                    <a:pt x="171918" y="19177"/>
                  </a:lnTo>
                  <a:lnTo>
                    <a:pt x="172627" y="19580"/>
                  </a:lnTo>
                  <a:lnTo>
                    <a:pt x="173395" y="19691"/>
                  </a:lnTo>
                  <a:lnTo>
                    <a:pt x="173915" y="19557"/>
                  </a:lnTo>
                  <a:lnTo>
                    <a:pt x="174308" y="18842"/>
                  </a:lnTo>
                  <a:lnTo>
                    <a:pt x="175058" y="17965"/>
                  </a:lnTo>
                  <a:lnTo>
                    <a:pt x="175473" y="17858"/>
                  </a:lnTo>
                  <a:lnTo>
                    <a:pt x="175440" y="18354"/>
                  </a:lnTo>
                  <a:lnTo>
                    <a:pt x="175796" y="18967"/>
                  </a:lnTo>
                  <a:lnTo>
                    <a:pt x="178228" y="19998"/>
                  </a:lnTo>
                  <a:lnTo>
                    <a:pt x="183571" y="21917"/>
                  </a:lnTo>
                  <a:lnTo>
                    <a:pt x="185663" y="21953"/>
                  </a:lnTo>
                  <a:lnTo>
                    <a:pt x="187356" y="22178"/>
                  </a:lnTo>
                  <a:lnTo>
                    <a:pt x="187853" y="22988"/>
                  </a:lnTo>
                  <a:lnTo>
                    <a:pt x="191253" y="25947"/>
                  </a:lnTo>
                  <a:lnTo>
                    <a:pt x="192063" y="25866"/>
                  </a:lnTo>
                  <a:lnTo>
                    <a:pt x="193581" y="25938"/>
                  </a:lnTo>
                  <a:lnTo>
                    <a:pt x="195410" y="25703"/>
                  </a:lnTo>
                  <a:lnTo>
                    <a:pt x="196733" y="25149"/>
                  </a:lnTo>
                  <a:lnTo>
                    <a:pt x="197602" y="25242"/>
                  </a:lnTo>
                  <a:lnTo>
                    <a:pt x="198558" y="25814"/>
                  </a:lnTo>
                  <a:lnTo>
                    <a:pt x="199680" y="26313"/>
                  </a:lnTo>
                  <a:lnTo>
                    <a:pt x="201123" y="27285"/>
                  </a:lnTo>
                  <a:lnTo>
                    <a:pt x="202418" y="28490"/>
                  </a:lnTo>
                  <a:lnTo>
                    <a:pt x="203310" y="28884"/>
                  </a:lnTo>
                  <a:lnTo>
                    <a:pt x="208673" y="28076"/>
                  </a:lnTo>
                  <a:lnTo>
                    <a:pt x="209869" y="28782"/>
                  </a:lnTo>
                  <a:lnTo>
                    <a:pt x="211139" y="28773"/>
                  </a:lnTo>
                  <a:lnTo>
                    <a:pt x="212562" y="28589"/>
                  </a:lnTo>
                  <a:lnTo>
                    <a:pt x="215667" y="28960"/>
                  </a:lnTo>
                  <a:lnTo>
                    <a:pt x="218187" y="28871"/>
                  </a:lnTo>
                  <a:lnTo>
                    <a:pt x="218416" y="28576"/>
                  </a:lnTo>
                  <a:lnTo>
                    <a:pt x="218632" y="25908"/>
                  </a:lnTo>
                  <a:lnTo>
                    <a:pt x="219031" y="24963"/>
                  </a:lnTo>
                  <a:lnTo>
                    <a:pt x="219629" y="24713"/>
                  </a:lnTo>
                  <a:lnTo>
                    <a:pt x="221124" y="24902"/>
                  </a:lnTo>
                  <a:lnTo>
                    <a:pt x="226554" y="26482"/>
                  </a:lnTo>
                  <a:lnTo>
                    <a:pt x="228790" y="27469"/>
                  </a:lnTo>
                  <a:lnTo>
                    <a:pt x="230938" y="28242"/>
                  </a:lnTo>
                  <a:lnTo>
                    <a:pt x="232817" y="28327"/>
                  </a:lnTo>
                  <a:lnTo>
                    <a:pt x="234058" y="28842"/>
                  </a:lnTo>
                  <a:lnTo>
                    <a:pt x="235803" y="31373"/>
                  </a:lnTo>
                  <a:lnTo>
                    <a:pt x="235505" y="32642"/>
                  </a:lnTo>
                  <a:lnTo>
                    <a:pt x="235663" y="33111"/>
                  </a:lnTo>
                  <a:lnTo>
                    <a:pt x="235847" y="33990"/>
                  </a:lnTo>
                  <a:lnTo>
                    <a:pt x="235799" y="34964"/>
                  </a:lnTo>
                  <a:lnTo>
                    <a:pt x="236257" y="35600"/>
                  </a:lnTo>
                  <a:lnTo>
                    <a:pt x="237084" y="35680"/>
                  </a:lnTo>
                  <a:lnTo>
                    <a:pt x="238142" y="35487"/>
                  </a:lnTo>
                  <a:lnTo>
                    <a:pt x="239299" y="35107"/>
                  </a:lnTo>
                  <a:lnTo>
                    <a:pt x="241335" y="34021"/>
                  </a:lnTo>
                  <a:lnTo>
                    <a:pt x="241945" y="33844"/>
                  </a:lnTo>
                  <a:lnTo>
                    <a:pt x="245343" y="35077"/>
                  </a:lnTo>
                  <a:lnTo>
                    <a:pt x="246851" y="35897"/>
                  </a:lnTo>
                  <a:lnTo>
                    <a:pt x="247371" y="36791"/>
                  </a:lnTo>
                  <a:lnTo>
                    <a:pt x="248146" y="37704"/>
                  </a:lnTo>
                  <a:lnTo>
                    <a:pt x="249167" y="37837"/>
                  </a:lnTo>
                  <a:lnTo>
                    <a:pt x="250619" y="36969"/>
                  </a:lnTo>
                  <a:lnTo>
                    <a:pt x="252875" y="36040"/>
                  </a:lnTo>
                  <a:lnTo>
                    <a:pt x="256723" y="36857"/>
                  </a:lnTo>
                  <a:lnTo>
                    <a:pt x="261003" y="38042"/>
                  </a:lnTo>
                  <a:lnTo>
                    <a:pt x="262854" y="38184"/>
                  </a:lnTo>
                  <a:lnTo>
                    <a:pt x="262923" y="37608"/>
                  </a:lnTo>
                  <a:lnTo>
                    <a:pt x="263260" y="36784"/>
                  </a:lnTo>
                  <a:lnTo>
                    <a:pt x="263964" y="36372"/>
                  </a:lnTo>
                  <a:lnTo>
                    <a:pt x="265015" y="36251"/>
                  </a:lnTo>
                  <a:lnTo>
                    <a:pt x="266480" y="35819"/>
                  </a:lnTo>
                  <a:lnTo>
                    <a:pt x="268155" y="35104"/>
                  </a:lnTo>
                  <a:lnTo>
                    <a:pt x="269893" y="34806"/>
                  </a:lnTo>
                  <a:lnTo>
                    <a:pt x="271720" y="35340"/>
                  </a:lnTo>
                  <a:lnTo>
                    <a:pt x="273921" y="35772"/>
                  </a:lnTo>
                  <a:lnTo>
                    <a:pt x="275231" y="35768"/>
                  </a:lnTo>
                  <a:lnTo>
                    <a:pt x="275860" y="37454"/>
                  </a:lnTo>
                  <a:lnTo>
                    <a:pt x="276922" y="38098"/>
                  </a:lnTo>
                  <a:lnTo>
                    <a:pt x="277339" y="39556"/>
                  </a:lnTo>
                  <a:lnTo>
                    <a:pt x="275391" y="40317"/>
                  </a:lnTo>
                  <a:lnTo>
                    <a:pt x="274236" y="40420"/>
                  </a:lnTo>
                  <a:lnTo>
                    <a:pt x="273882" y="42921"/>
                  </a:lnTo>
                  <a:lnTo>
                    <a:pt x="274430" y="43625"/>
                  </a:lnTo>
                  <a:lnTo>
                    <a:pt x="275523" y="44285"/>
                  </a:lnTo>
                  <a:lnTo>
                    <a:pt x="275821" y="45054"/>
                  </a:lnTo>
                  <a:lnTo>
                    <a:pt x="276041" y="48717"/>
                  </a:lnTo>
                  <a:lnTo>
                    <a:pt x="273804" y="50924"/>
                  </a:lnTo>
                  <a:lnTo>
                    <a:pt x="270664" y="53405"/>
                  </a:lnTo>
                  <a:lnTo>
                    <a:pt x="255320" y="61366"/>
                  </a:lnTo>
                  <a:lnTo>
                    <a:pt x="251664" y="65214"/>
                  </a:lnTo>
                  <a:lnTo>
                    <a:pt x="250271" y="66093"/>
                  </a:lnTo>
                  <a:lnTo>
                    <a:pt x="238861" y="68513"/>
                  </a:lnTo>
                  <a:lnTo>
                    <a:pt x="230884" y="71096"/>
                  </a:lnTo>
                  <a:lnTo>
                    <a:pt x="227060" y="72030"/>
                  </a:lnTo>
                  <a:lnTo>
                    <a:pt x="222283" y="76514"/>
                  </a:lnTo>
                  <a:lnTo>
                    <a:pt x="220022" y="78320"/>
                  </a:lnTo>
                  <a:lnTo>
                    <a:pt x="221823" y="78820"/>
                  </a:lnTo>
                  <a:lnTo>
                    <a:pt x="223924" y="80958"/>
                  </a:lnTo>
                  <a:lnTo>
                    <a:pt x="223218" y="81906"/>
                  </a:lnTo>
                  <a:lnTo>
                    <a:pt x="220154" y="83368"/>
                  </a:lnTo>
                  <a:lnTo>
                    <a:pt x="218815" y="83818"/>
                  </a:lnTo>
                  <a:lnTo>
                    <a:pt x="218088" y="83585"/>
                  </a:lnTo>
                  <a:lnTo>
                    <a:pt x="217401" y="83787"/>
                  </a:lnTo>
                  <a:lnTo>
                    <a:pt x="212262" y="91522"/>
                  </a:lnTo>
                  <a:lnTo>
                    <a:pt x="207723" y="97072"/>
                  </a:lnTo>
                  <a:lnTo>
                    <a:pt x="205172" y="99489"/>
                  </a:lnTo>
                  <a:lnTo>
                    <a:pt x="202558" y="103086"/>
                  </a:lnTo>
                  <a:lnTo>
                    <a:pt x="196989" y="112346"/>
                  </a:lnTo>
                  <a:lnTo>
                    <a:pt x="196946" y="115013"/>
                  </a:lnTo>
                  <a:lnTo>
                    <a:pt x="199689" y="124196"/>
                  </a:lnTo>
                  <a:lnTo>
                    <a:pt x="201261" y="126604"/>
                  </a:lnTo>
                  <a:lnTo>
                    <a:pt x="203465" y="128626"/>
                  </a:lnTo>
                  <a:lnTo>
                    <a:pt x="207645" y="130344"/>
                  </a:lnTo>
                  <a:lnTo>
                    <a:pt x="208677" y="132034"/>
                  </a:lnTo>
                  <a:lnTo>
                    <a:pt x="207234" y="133643"/>
                  </a:lnTo>
                  <a:lnTo>
                    <a:pt x="203054" y="136506"/>
                  </a:lnTo>
                  <a:lnTo>
                    <a:pt x="195790" y="140369"/>
                  </a:lnTo>
                  <a:lnTo>
                    <a:pt x="192704" y="143413"/>
                  </a:lnTo>
                  <a:lnTo>
                    <a:pt x="192043" y="146346"/>
                  </a:lnTo>
                  <a:lnTo>
                    <a:pt x="189918" y="147662"/>
                  </a:lnTo>
                  <a:lnTo>
                    <a:pt x="189113" y="151762"/>
                  </a:lnTo>
                  <a:lnTo>
                    <a:pt x="187823" y="154476"/>
                  </a:lnTo>
                  <a:lnTo>
                    <a:pt x="187575" y="155395"/>
                  </a:lnTo>
                  <a:lnTo>
                    <a:pt x="186207" y="157451"/>
                  </a:lnTo>
                  <a:lnTo>
                    <a:pt x="186020" y="158942"/>
                  </a:lnTo>
                  <a:lnTo>
                    <a:pt x="188264" y="161002"/>
                  </a:lnTo>
                  <a:lnTo>
                    <a:pt x="187152" y="161892"/>
                  </a:lnTo>
                  <a:lnTo>
                    <a:pt x="186040" y="162288"/>
                  </a:lnTo>
                  <a:lnTo>
                    <a:pt x="183477" y="162528"/>
                  </a:lnTo>
                  <a:lnTo>
                    <a:pt x="174865" y="162789"/>
                  </a:lnTo>
                  <a:lnTo>
                    <a:pt x="167935" y="167235"/>
                  </a:lnTo>
                  <a:lnTo>
                    <a:pt x="164471" y="171164"/>
                  </a:lnTo>
                  <a:lnTo>
                    <a:pt x="161338" y="178468"/>
                  </a:lnTo>
                  <a:lnTo>
                    <a:pt x="157530" y="182766"/>
                  </a:lnTo>
                  <a:lnTo>
                    <a:pt x="155846" y="183558"/>
                  </a:lnTo>
                  <a:lnTo>
                    <a:pt x="153239" y="181670"/>
                  </a:lnTo>
                  <a:lnTo>
                    <a:pt x="149983" y="181382"/>
                  </a:lnTo>
                  <a:lnTo>
                    <a:pt x="146824" y="182008"/>
                  </a:lnTo>
                  <a:lnTo>
                    <a:pt x="145167" y="183504"/>
                  </a:lnTo>
                  <a:lnTo>
                    <a:pt x="142581" y="184337"/>
                  </a:lnTo>
                  <a:lnTo>
                    <a:pt x="140054" y="183616"/>
                  </a:lnTo>
                  <a:lnTo>
                    <a:pt x="134585" y="183227"/>
                  </a:lnTo>
                  <a:lnTo>
                    <a:pt x="132154" y="183296"/>
                  </a:lnTo>
                  <a:lnTo>
                    <a:pt x="128348" y="184511"/>
                  </a:lnTo>
                  <a:lnTo>
                    <a:pt x="125085" y="183700"/>
                  </a:lnTo>
                  <a:lnTo>
                    <a:pt x="119580" y="183289"/>
                  </a:lnTo>
                  <a:lnTo>
                    <a:pt x="107660" y="184252"/>
                  </a:lnTo>
                  <a:lnTo>
                    <a:pt x="106156" y="184705"/>
                  </a:lnTo>
                  <a:lnTo>
                    <a:pt x="104666" y="186509"/>
                  </a:lnTo>
                  <a:lnTo>
                    <a:pt x="100865" y="189618"/>
                  </a:lnTo>
                  <a:lnTo>
                    <a:pt x="95090" y="189730"/>
                  </a:lnTo>
                  <a:lnTo>
                    <a:pt x="89867" y="191712"/>
                  </a:lnTo>
                  <a:lnTo>
                    <a:pt x="88562" y="192981"/>
                  </a:lnTo>
                  <a:lnTo>
                    <a:pt x="86369" y="196469"/>
                  </a:lnTo>
                  <a:lnTo>
                    <a:pt x="85678" y="199017"/>
                  </a:lnTo>
                  <a:lnTo>
                    <a:pt x="85222" y="199038"/>
                  </a:lnTo>
                  <a:lnTo>
                    <a:pt x="84655" y="198411"/>
                  </a:lnTo>
                  <a:lnTo>
                    <a:pt x="83850" y="198621"/>
                  </a:lnTo>
                  <a:lnTo>
                    <a:pt x="83433" y="200560"/>
                  </a:lnTo>
                  <a:lnTo>
                    <a:pt x="81470" y="201443"/>
                  </a:lnTo>
                  <a:lnTo>
                    <a:pt x="79829" y="201768"/>
                  </a:lnTo>
                  <a:lnTo>
                    <a:pt x="75784" y="200193"/>
                  </a:lnTo>
                  <a:lnTo>
                    <a:pt x="72417" y="197833"/>
                  </a:lnTo>
                  <a:lnTo>
                    <a:pt x="70648" y="197664"/>
                  </a:lnTo>
                  <a:lnTo>
                    <a:pt x="67778" y="193989"/>
                  </a:lnTo>
                  <a:lnTo>
                    <a:pt x="66544" y="191644"/>
                  </a:lnTo>
                  <a:lnTo>
                    <a:pt x="65667" y="189110"/>
                  </a:lnTo>
                  <a:lnTo>
                    <a:pt x="65849" y="188139"/>
                  </a:lnTo>
                  <a:lnTo>
                    <a:pt x="65600" y="187331"/>
                  </a:lnTo>
                  <a:lnTo>
                    <a:pt x="63053" y="186309"/>
                  </a:lnTo>
                  <a:lnTo>
                    <a:pt x="62432" y="183979"/>
                  </a:lnTo>
                  <a:lnTo>
                    <a:pt x="64288" y="180951"/>
                  </a:lnTo>
                  <a:lnTo>
                    <a:pt x="65811" y="179659"/>
                  </a:lnTo>
                  <a:lnTo>
                    <a:pt x="66753" y="179288"/>
                  </a:lnTo>
                  <a:lnTo>
                    <a:pt x="64450" y="179418"/>
                  </a:lnTo>
                  <a:lnTo>
                    <a:pt x="62787" y="181370"/>
                  </a:lnTo>
                  <a:lnTo>
                    <a:pt x="60659" y="178244"/>
                  </a:lnTo>
                  <a:lnTo>
                    <a:pt x="51986" y="172148"/>
                  </a:lnTo>
                  <a:lnTo>
                    <a:pt x="52545" y="170748"/>
                  </a:lnTo>
                  <a:lnTo>
                    <a:pt x="52448" y="169991"/>
                  </a:lnTo>
                  <a:lnTo>
                    <a:pt x="50994" y="171620"/>
                  </a:lnTo>
                  <a:lnTo>
                    <a:pt x="49995" y="172041"/>
                  </a:lnTo>
                  <a:lnTo>
                    <a:pt x="45567" y="171777"/>
                  </a:lnTo>
                  <a:lnTo>
                    <a:pt x="40454" y="172525"/>
                  </a:lnTo>
                  <a:lnTo>
                    <a:pt x="39105" y="166187"/>
                  </a:lnTo>
                  <a:lnTo>
                    <a:pt x="38467" y="163748"/>
                  </a:lnTo>
                  <a:lnTo>
                    <a:pt x="38301" y="162167"/>
                  </a:lnTo>
                  <a:lnTo>
                    <a:pt x="39619" y="158516"/>
                  </a:lnTo>
                  <a:lnTo>
                    <a:pt x="41057" y="157030"/>
                  </a:lnTo>
                  <a:lnTo>
                    <a:pt x="42973" y="153956"/>
                  </a:lnTo>
                  <a:lnTo>
                    <a:pt x="45335" y="151395"/>
                  </a:lnTo>
                  <a:lnTo>
                    <a:pt x="47832" y="150788"/>
                  </a:lnTo>
                  <a:lnTo>
                    <a:pt x="48930" y="150411"/>
                  </a:lnTo>
                  <a:lnTo>
                    <a:pt x="49853" y="148429"/>
                  </a:lnTo>
                  <a:lnTo>
                    <a:pt x="50373" y="146737"/>
                  </a:lnTo>
                  <a:lnTo>
                    <a:pt x="49992" y="146569"/>
                  </a:lnTo>
                  <a:lnTo>
                    <a:pt x="47082" y="146914"/>
                  </a:lnTo>
                  <a:lnTo>
                    <a:pt x="41850" y="139809"/>
                  </a:lnTo>
                  <a:lnTo>
                    <a:pt x="42010" y="138675"/>
                  </a:lnTo>
                  <a:lnTo>
                    <a:pt x="42670" y="136992"/>
                  </a:lnTo>
                  <a:lnTo>
                    <a:pt x="43103" y="134866"/>
                  </a:lnTo>
                  <a:lnTo>
                    <a:pt x="43210" y="133185"/>
                  </a:lnTo>
                  <a:lnTo>
                    <a:pt x="44572" y="131742"/>
                  </a:lnTo>
                  <a:lnTo>
                    <a:pt x="46660" y="130285"/>
                  </a:lnTo>
                  <a:lnTo>
                    <a:pt x="48417" y="128217"/>
                  </a:lnTo>
                  <a:lnTo>
                    <a:pt x="49297" y="126196"/>
                  </a:lnTo>
                  <a:lnTo>
                    <a:pt x="49480" y="124355"/>
                  </a:lnTo>
                  <a:lnTo>
                    <a:pt x="48485" y="123045"/>
                  </a:lnTo>
                  <a:lnTo>
                    <a:pt x="45623" y="122318"/>
                  </a:lnTo>
                  <a:lnTo>
                    <a:pt x="42674" y="117061"/>
                  </a:lnTo>
                  <a:lnTo>
                    <a:pt x="42018" y="113766"/>
                  </a:lnTo>
                  <a:lnTo>
                    <a:pt x="41415" y="113424"/>
                  </a:lnTo>
                  <a:lnTo>
                    <a:pt x="39593" y="111922"/>
                  </a:lnTo>
                  <a:lnTo>
                    <a:pt x="37844" y="109102"/>
                  </a:lnTo>
                  <a:lnTo>
                    <a:pt x="37590" y="108664"/>
                  </a:lnTo>
                  <a:lnTo>
                    <a:pt x="39394" y="108168"/>
                  </a:lnTo>
                  <a:lnTo>
                    <a:pt x="46833" y="108141"/>
                  </a:lnTo>
                  <a:lnTo>
                    <a:pt x="48387" y="107520"/>
                  </a:lnTo>
                  <a:lnTo>
                    <a:pt x="48623" y="107302"/>
                  </a:lnTo>
                  <a:lnTo>
                    <a:pt x="49979" y="105105"/>
                  </a:lnTo>
                  <a:lnTo>
                    <a:pt x="51399" y="101492"/>
                  </a:lnTo>
                  <a:lnTo>
                    <a:pt x="51733" y="99284"/>
                  </a:lnTo>
                  <a:lnTo>
                    <a:pt x="51284" y="98371"/>
                  </a:lnTo>
                  <a:lnTo>
                    <a:pt x="48820" y="96132"/>
                  </a:lnTo>
                  <a:lnTo>
                    <a:pt x="48714" y="95471"/>
                  </a:lnTo>
                  <a:lnTo>
                    <a:pt x="49110" y="94415"/>
                  </a:lnTo>
                  <a:lnTo>
                    <a:pt x="50575" y="93285"/>
                  </a:lnTo>
                  <a:lnTo>
                    <a:pt x="52555" y="92001"/>
                  </a:lnTo>
                  <a:lnTo>
                    <a:pt x="53633" y="90893"/>
                  </a:lnTo>
                  <a:lnTo>
                    <a:pt x="53376" y="90026"/>
                  </a:lnTo>
                  <a:lnTo>
                    <a:pt x="52797" y="89117"/>
                  </a:lnTo>
                  <a:lnTo>
                    <a:pt x="52707" y="88273"/>
                  </a:lnTo>
                  <a:lnTo>
                    <a:pt x="53069" y="87228"/>
                  </a:lnTo>
                  <a:lnTo>
                    <a:pt x="53198" y="83667"/>
                  </a:lnTo>
                  <a:lnTo>
                    <a:pt x="53452" y="82750"/>
                  </a:lnTo>
                  <a:lnTo>
                    <a:pt x="53064" y="79511"/>
                  </a:lnTo>
                  <a:lnTo>
                    <a:pt x="52581" y="76863"/>
                  </a:lnTo>
                  <a:lnTo>
                    <a:pt x="51017" y="73423"/>
                  </a:lnTo>
                  <a:lnTo>
                    <a:pt x="51303" y="72663"/>
                  </a:lnTo>
                  <a:lnTo>
                    <a:pt x="52026" y="72021"/>
                  </a:lnTo>
                  <a:lnTo>
                    <a:pt x="54393" y="70828"/>
                  </a:lnTo>
                  <a:lnTo>
                    <a:pt x="56287" y="68015"/>
                  </a:lnTo>
                  <a:lnTo>
                    <a:pt x="59034" y="65663"/>
                  </a:lnTo>
                  <a:lnTo>
                    <a:pt x="62633" y="63771"/>
                  </a:lnTo>
                  <a:lnTo>
                    <a:pt x="65149" y="61669"/>
                  </a:lnTo>
                  <a:lnTo>
                    <a:pt x="66145" y="60060"/>
                  </a:lnTo>
                  <a:lnTo>
                    <a:pt x="66848" y="59634"/>
                  </a:lnTo>
                  <a:lnTo>
                    <a:pt x="66646" y="58883"/>
                  </a:lnTo>
                  <a:lnTo>
                    <a:pt x="66172" y="57789"/>
                  </a:lnTo>
                  <a:lnTo>
                    <a:pt x="64736" y="56721"/>
                  </a:lnTo>
                  <a:lnTo>
                    <a:pt x="62886" y="56107"/>
                  </a:lnTo>
                  <a:lnTo>
                    <a:pt x="60830" y="56133"/>
                  </a:lnTo>
                  <a:lnTo>
                    <a:pt x="59558" y="55918"/>
                  </a:lnTo>
                  <a:lnTo>
                    <a:pt x="59187" y="55083"/>
                  </a:lnTo>
                  <a:lnTo>
                    <a:pt x="59328" y="52819"/>
                  </a:lnTo>
                  <a:lnTo>
                    <a:pt x="59219" y="50577"/>
                  </a:lnTo>
                  <a:lnTo>
                    <a:pt x="58825" y="49544"/>
                  </a:lnTo>
                  <a:lnTo>
                    <a:pt x="57876" y="48767"/>
                  </a:lnTo>
                  <a:lnTo>
                    <a:pt x="55989" y="48974"/>
                  </a:lnTo>
                  <a:lnTo>
                    <a:pt x="54360" y="48339"/>
                  </a:lnTo>
                  <a:lnTo>
                    <a:pt x="53124" y="48189"/>
                  </a:lnTo>
                  <a:lnTo>
                    <a:pt x="52409" y="48690"/>
                  </a:lnTo>
                  <a:lnTo>
                    <a:pt x="48761" y="48548"/>
                  </a:lnTo>
                  <a:lnTo>
                    <a:pt x="47243" y="48187"/>
                  </a:lnTo>
                  <a:lnTo>
                    <a:pt x="46182" y="47738"/>
                  </a:lnTo>
                  <a:lnTo>
                    <a:pt x="45501" y="47989"/>
                  </a:lnTo>
                  <a:lnTo>
                    <a:pt x="45116" y="48426"/>
                  </a:lnTo>
                  <a:lnTo>
                    <a:pt x="45050" y="49111"/>
                  </a:lnTo>
                  <a:lnTo>
                    <a:pt x="44800" y="50017"/>
                  </a:lnTo>
                  <a:lnTo>
                    <a:pt x="43497" y="50835"/>
                  </a:lnTo>
                  <a:lnTo>
                    <a:pt x="40510" y="51649"/>
                  </a:lnTo>
                  <a:lnTo>
                    <a:pt x="38100" y="51588"/>
                  </a:lnTo>
                  <a:lnTo>
                    <a:pt x="35889" y="51006"/>
                  </a:lnTo>
                  <a:lnTo>
                    <a:pt x="35180" y="50581"/>
                  </a:lnTo>
                  <a:lnTo>
                    <a:pt x="34110" y="50196"/>
                  </a:lnTo>
                  <a:lnTo>
                    <a:pt x="29614" y="50671"/>
                  </a:lnTo>
                  <a:lnTo>
                    <a:pt x="29073" y="50325"/>
                  </a:lnTo>
                  <a:lnTo>
                    <a:pt x="27523" y="51166"/>
                  </a:lnTo>
                  <a:lnTo>
                    <a:pt x="25235" y="52166"/>
                  </a:lnTo>
                  <a:lnTo>
                    <a:pt x="23951" y="52225"/>
                  </a:lnTo>
                  <a:lnTo>
                    <a:pt x="23486" y="52013"/>
                  </a:lnTo>
                  <a:lnTo>
                    <a:pt x="23315" y="51562"/>
                  </a:lnTo>
                  <a:lnTo>
                    <a:pt x="22353" y="50001"/>
                  </a:lnTo>
                  <a:lnTo>
                    <a:pt x="22606" y="49172"/>
                  </a:lnTo>
                  <a:lnTo>
                    <a:pt x="24449" y="46755"/>
                  </a:lnTo>
                  <a:lnTo>
                    <a:pt x="24243" y="46177"/>
                  </a:lnTo>
                  <a:lnTo>
                    <a:pt x="23485" y="45395"/>
                  </a:lnTo>
                  <a:lnTo>
                    <a:pt x="22808" y="44266"/>
                  </a:lnTo>
                  <a:lnTo>
                    <a:pt x="22612" y="43686"/>
                  </a:lnTo>
                  <a:lnTo>
                    <a:pt x="21440" y="43587"/>
                  </a:lnTo>
                  <a:lnTo>
                    <a:pt x="20191" y="44180"/>
                  </a:lnTo>
                  <a:lnTo>
                    <a:pt x="15425" y="45396"/>
                  </a:lnTo>
                  <a:lnTo>
                    <a:pt x="14285" y="45837"/>
                  </a:lnTo>
                  <a:lnTo>
                    <a:pt x="12221" y="47012"/>
                  </a:lnTo>
                  <a:lnTo>
                    <a:pt x="10139" y="48801"/>
                  </a:lnTo>
                  <a:lnTo>
                    <a:pt x="8476" y="49177"/>
                  </a:lnTo>
                  <a:lnTo>
                    <a:pt x="7902" y="48647"/>
                  </a:lnTo>
                  <a:lnTo>
                    <a:pt x="7705" y="44441"/>
                  </a:lnTo>
                  <a:lnTo>
                    <a:pt x="10242" y="41641"/>
                  </a:lnTo>
                  <a:lnTo>
                    <a:pt x="12045" y="39949"/>
                  </a:lnTo>
                  <a:lnTo>
                    <a:pt x="11199" y="39608"/>
                  </a:lnTo>
                  <a:lnTo>
                    <a:pt x="9284" y="39654"/>
                  </a:lnTo>
                  <a:lnTo>
                    <a:pt x="9413" y="38344"/>
                  </a:lnTo>
                  <a:lnTo>
                    <a:pt x="10310" y="37713"/>
                  </a:lnTo>
                  <a:lnTo>
                    <a:pt x="11181" y="36286"/>
                  </a:lnTo>
                  <a:lnTo>
                    <a:pt x="10160" y="35670"/>
                  </a:lnTo>
                  <a:lnTo>
                    <a:pt x="9366" y="34731"/>
                  </a:lnTo>
                  <a:lnTo>
                    <a:pt x="9414" y="32269"/>
                  </a:lnTo>
                  <a:lnTo>
                    <a:pt x="9636" y="31266"/>
                  </a:lnTo>
                  <a:lnTo>
                    <a:pt x="9379" y="30187"/>
                  </a:lnTo>
                  <a:lnTo>
                    <a:pt x="5481" y="31647"/>
                  </a:lnTo>
                  <a:lnTo>
                    <a:pt x="4479" y="31428"/>
                  </a:lnTo>
                  <a:lnTo>
                    <a:pt x="4436" y="29599"/>
                  </a:lnTo>
                  <a:lnTo>
                    <a:pt x="6599" y="26810"/>
                  </a:lnTo>
                  <a:lnTo>
                    <a:pt x="6821" y="25958"/>
                  </a:lnTo>
                  <a:lnTo>
                    <a:pt x="4291" y="25545"/>
                  </a:lnTo>
                  <a:lnTo>
                    <a:pt x="2398" y="24174"/>
                  </a:lnTo>
                  <a:lnTo>
                    <a:pt x="1243" y="22949"/>
                  </a:lnTo>
                  <a:lnTo>
                    <a:pt x="10" y="21184"/>
                  </a:lnTo>
                  <a:lnTo>
                    <a:pt x="0" y="19606"/>
                  </a:lnTo>
                  <a:lnTo>
                    <a:pt x="1273" y="15897"/>
                  </a:lnTo>
                  <a:lnTo>
                    <a:pt x="3098" y="14818"/>
                  </a:lnTo>
                  <a:lnTo>
                    <a:pt x="4669" y="14154"/>
                  </a:lnTo>
                  <a:lnTo>
                    <a:pt x="8004" y="11588"/>
                  </a:lnTo>
                  <a:lnTo>
                    <a:pt x="12605" y="12067"/>
                  </a:lnTo>
                  <a:lnTo>
                    <a:pt x="15448" y="11517"/>
                  </a:lnTo>
                  <a:lnTo>
                    <a:pt x="18001" y="10206"/>
                  </a:lnTo>
                  <a:lnTo>
                    <a:pt x="19463" y="9910"/>
                  </a:lnTo>
                  <a:lnTo>
                    <a:pt x="21819" y="8764"/>
                  </a:lnTo>
                  <a:lnTo>
                    <a:pt x="21745" y="7216"/>
                  </a:lnTo>
                  <a:lnTo>
                    <a:pt x="20936" y="6066"/>
                  </a:lnTo>
                  <a:lnTo>
                    <a:pt x="21646" y="4981"/>
                  </a:lnTo>
                  <a:lnTo>
                    <a:pt x="24290" y="3656"/>
                  </a:lnTo>
                  <a:lnTo>
                    <a:pt x="27219" y="1894"/>
                  </a:lnTo>
                  <a:lnTo>
                    <a:pt x="30580" y="1554"/>
                  </a:lnTo>
                  <a:close/>
                </a:path>
              </a:pathLst>
            </a:custGeom>
            <a:grpFill/>
            <a:ln w="3175"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7" name="ee4p_EE_1_92573">
              <a:extLst>
                <a:ext uri="{FF2B5EF4-FFF2-40B4-BE49-F238E27FC236}">
                  <a16:creationId xmlns:a16="http://schemas.microsoft.com/office/drawing/2014/main" id="{8108BE94-484C-46E0-9E3A-39A4A2892B0D}"/>
                </a:ext>
              </a:extLst>
            </p:cNvPr>
            <p:cNvSpPr>
              <a:spLocks noChangeAspect="1"/>
            </p:cNvSpPr>
            <p:nvPr>
              <p:custDataLst>
                <p:tags r:id="rId11"/>
              </p:custDataLst>
            </p:nvPr>
          </p:nvSpPr>
          <p:spPr>
            <a:xfrm>
              <a:off x="5687421" y="3357332"/>
              <a:ext cx="551944" cy="271003"/>
            </a:xfrm>
            <a:custGeom>
              <a:avLst/>
              <a:gdLst>
                <a:gd name="connsiteX0" fmla="*/ 15312 w 139231"/>
                <a:gd name="connsiteY0" fmla="*/ 32990 h 68362"/>
                <a:gd name="connsiteX1" fmla="*/ 16869 w 139231"/>
                <a:gd name="connsiteY1" fmla="*/ 33189 h 68362"/>
                <a:gd name="connsiteX2" fmla="*/ 18439 w 139231"/>
                <a:gd name="connsiteY2" fmla="*/ 33973 h 68362"/>
                <a:gd name="connsiteX3" fmla="*/ 19886 w 139231"/>
                <a:gd name="connsiteY3" fmla="*/ 33725 h 68362"/>
                <a:gd name="connsiteX4" fmla="*/ 21352 w 139231"/>
                <a:gd name="connsiteY4" fmla="*/ 33180 h 68362"/>
                <a:gd name="connsiteX5" fmla="*/ 24539 w 139231"/>
                <a:gd name="connsiteY5" fmla="*/ 33692 h 68362"/>
                <a:gd name="connsiteX6" fmla="*/ 31805 w 139231"/>
                <a:gd name="connsiteY6" fmla="*/ 37642 h 68362"/>
                <a:gd name="connsiteX7" fmla="*/ 32477 w 139231"/>
                <a:gd name="connsiteY7" fmla="*/ 38697 h 68362"/>
                <a:gd name="connsiteX8" fmla="*/ 28141 w 139231"/>
                <a:gd name="connsiteY8" fmla="*/ 39176 h 68362"/>
                <a:gd name="connsiteX9" fmla="*/ 27156 w 139231"/>
                <a:gd name="connsiteY9" fmla="*/ 40385 h 68362"/>
                <a:gd name="connsiteX10" fmla="*/ 26114 w 139231"/>
                <a:gd name="connsiteY10" fmla="*/ 41230 h 68362"/>
                <a:gd name="connsiteX11" fmla="*/ 24885 w 139231"/>
                <a:gd name="connsiteY11" fmla="*/ 41502 h 68362"/>
                <a:gd name="connsiteX12" fmla="*/ 22790 w 139231"/>
                <a:gd name="connsiteY12" fmla="*/ 43197 h 68362"/>
                <a:gd name="connsiteX13" fmla="*/ 19957 w 139231"/>
                <a:gd name="connsiteY13" fmla="*/ 44819 h 68362"/>
                <a:gd name="connsiteX14" fmla="*/ 19365 w 139231"/>
                <a:gd name="connsiteY14" fmla="*/ 45792 h 68362"/>
                <a:gd name="connsiteX15" fmla="*/ 14239 w 139231"/>
                <a:gd name="connsiteY15" fmla="*/ 45613 h 68362"/>
                <a:gd name="connsiteX16" fmla="*/ 11436 w 139231"/>
                <a:gd name="connsiteY16" fmla="*/ 46227 h 68362"/>
                <a:gd name="connsiteX17" fmla="*/ 9173 w 139231"/>
                <a:gd name="connsiteY17" fmla="*/ 48040 h 68362"/>
                <a:gd name="connsiteX18" fmla="*/ 8244 w 139231"/>
                <a:gd name="connsiteY18" fmla="*/ 51538 h 68362"/>
                <a:gd name="connsiteX19" fmla="*/ 6588 w 139231"/>
                <a:gd name="connsiteY19" fmla="*/ 54265 h 68362"/>
                <a:gd name="connsiteX20" fmla="*/ 4904 w 139231"/>
                <a:gd name="connsiteY20" fmla="*/ 55250 h 68362"/>
                <a:gd name="connsiteX21" fmla="*/ 3148 w 139231"/>
                <a:gd name="connsiteY21" fmla="*/ 55400 h 68362"/>
                <a:gd name="connsiteX22" fmla="*/ 2732 w 139231"/>
                <a:gd name="connsiteY22" fmla="*/ 54377 h 68362"/>
                <a:gd name="connsiteX23" fmla="*/ 2898 w 139231"/>
                <a:gd name="connsiteY23" fmla="*/ 53355 h 68362"/>
                <a:gd name="connsiteX24" fmla="*/ 6599 w 139231"/>
                <a:gd name="connsiteY24" fmla="*/ 49499 h 68362"/>
                <a:gd name="connsiteX25" fmla="*/ 7368 w 139231"/>
                <a:gd name="connsiteY25" fmla="*/ 48246 h 68362"/>
                <a:gd name="connsiteX26" fmla="*/ 5526 w 139231"/>
                <a:gd name="connsiteY26" fmla="*/ 47689 h 68362"/>
                <a:gd name="connsiteX27" fmla="*/ 3982 w 139231"/>
                <a:gd name="connsiteY27" fmla="*/ 46348 h 68362"/>
                <a:gd name="connsiteX28" fmla="*/ 611 w 139231"/>
                <a:gd name="connsiteY28" fmla="*/ 44772 h 68362"/>
                <a:gd name="connsiteX29" fmla="*/ 0 w 139231"/>
                <a:gd name="connsiteY29" fmla="*/ 43506 h 68362"/>
                <a:gd name="connsiteX30" fmla="*/ 808 w 139231"/>
                <a:gd name="connsiteY30" fmla="*/ 43412 h 68362"/>
                <a:gd name="connsiteX31" fmla="*/ 1546 w 139231"/>
                <a:gd name="connsiteY31" fmla="*/ 43049 h 68362"/>
                <a:gd name="connsiteX32" fmla="*/ 2444 w 139231"/>
                <a:gd name="connsiteY32" fmla="*/ 41987 h 68362"/>
                <a:gd name="connsiteX33" fmla="*/ 2865 w 139231"/>
                <a:gd name="connsiteY33" fmla="*/ 40767 h 68362"/>
                <a:gd name="connsiteX34" fmla="*/ 173 w 139231"/>
                <a:gd name="connsiteY34" fmla="*/ 37200 h 68362"/>
                <a:gd name="connsiteX35" fmla="*/ 1546 w 139231"/>
                <a:gd name="connsiteY35" fmla="*/ 36648 h 68362"/>
                <a:gd name="connsiteX36" fmla="*/ 3258 w 139231"/>
                <a:gd name="connsiteY36" fmla="*/ 36778 h 68362"/>
                <a:gd name="connsiteX37" fmla="*/ 5016 w 139231"/>
                <a:gd name="connsiteY37" fmla="*/ 37815 h 68362"/>
                <a:gd name="connsiteX38" fmla="*/ 6945 w 139231"/>
                <a:gd name="connsiteY38" fmla="*/ 36598 h 68362"/>
                <a:gd name="connsiteX39" fmla="*/ 7763 w 139231"/>
                <a:gd name="connsiteY39" fmla="*/ 36418 h 68362"/>
                <a:gd name="connsiteX40" fmla="*/ 9113 w 139231"/>
                <a:gd name="connsiteY40" fmla="*/ 36852 h 68362"/>
                <a:gd name="connsiteX41" fmla="*/ 10473 w 139231"/>
                <a:gd name="connsiteY41" fmla="*/ 34496 h 68362"/>
                <a:gd name="connsiteX42" fmla="*/ 13708 w 139231"/>
                <a:gd name="connsiteY42" fmla="*/ 33718 h 68362"/>
                <a:gd name="connsiteX43" fmla="*/ 28987 w 139231"/>
                <a:gd name="connsiteY43" fmla="*/ 31348 h 68362"/>
                <a:gd name="connsiteX44" fmla="*/ 32689 w 139231"/>
                <a:gd name="connsiteY44" fmla="*/ 32304 h 68362"/>
                <a:gd name="connsiteX45" fmla="*/ 33211 w 139231"/>
                <a:gd name="connsiteY45" fmla="*/ 34668 h 68362"/>
                <a:gd name="connsiteX46" fmla="*/ 32926 w 139231"/>
                <a:gd name="connsiteY46" fmla="*/ 35482 h 68362"/>
                <a:gd name="connsiteX47" fmla="*/ 31086 w 139231"/>
                <a:gd name="connsiteY47" fmla="*/ 35817 h 68362"/>
                <a:gd name="connsiteX48" fmla="*/ 26733 w 139231"/>
                <a:gd name="connsiteY48" fmla="*/ 33518 h 68362"/>
                <a:gd name="connsiteX49" fmla="*/ 27742 w 139231"/>
                <a:gd name="connsiteY49" fmla="*/ 31960 h 68362"/>
                <a:gd name="connsiteX50" fmla="*/ 17577 w 139231"/>
                <a:gd name="connsiteY50" fmla="*/ 18061 h 68362"/>
                <a:gd name="connsiteX51" fmla="*/ 18746 w 139231"/>
                <a:gd name="connsiteY51" fmla="*/ 18475 h 68362"/>
                <a:gd name="connsiteX52" fmla="*/ 18966 w 139231"/>
                <a:gd name="connsiteY52" fmla="*/ 19857 h 68362"/>
                <a:gd name="connsiteX53" fmla="*/ 19260 w 139231"/>
                <a:gd name="connsiteY53" fmla="*/ 20406 h 68362"/>
                <a:gd name="connsiteX54" fmla="*/ 23337 w 139231"/>
                <a:gd name="connsiteY54" fmla="*/ 21184 h 68362"/>
                <a:gd name="connsiteX55" fmla="*/ 24924 w 139231"/>
                <a:gd name="connsiteY55" fmla="*/ 23505 h 68362"/>
                <a:gd name="connsiteX56" fmla="*/ 25522 w 139231"/>
                <a:gd name="connsiteY56" fmla="*/ 26295 h 68362"/>
                <a:gd name="connsiteX57" fmla="*/ 23643 w 139231"/>
                <a:gd name="connsiteY57" fmla="*/ 26524 h 68362"/>
                <a:gd name="connsiteX58" fmla="*/ 21829 w 139231"/>
                <a:gd name="connsiteY58" fmla="*/ 28128 h 68362"/>
                <a:gd name="connsiteX59" fmla="*/ 20749 w 139231"/>
                <a:gd name="connsiteY59" fmla="*/ 27487 h 68362"/>
                <a:gd name="connsiteX60" fmla="*/ 20184 w 139231"/>
                <a:gd name="connsiteY60" fmla="*/ 26718 h 68362"/>
                <a:gd name="connsiteX61" fmla="*/ 17843 w 139231"/>
                <a:gd name="connsiteY61" fmla="*/ 30342 h 68362"/>
                <a:gd name="connsiteX62" fmla="*/ 15206 w 139231"/>
                <a:gd name="connsiteY62" fmla="*/ 30963 h 68362"/>
                <a:gd name="connsiteX63" fmla="*/ 13669 w 139231"/>
                <a:gd name="connsiteY63" fmla="*/ 30248 h 68362"/>
                <a:gd name="connsiteX64" fmla="*/ 13807 w 139231"/>
                <a:gd name="connsiteY64" fmla="*/ 28895 h 68362"/>
                <a:gd name="connsiteX65" fmla="*/ 12306 w 139231"/>
                <a:gd name="connsiteY65" fmla="*/ 25339 h 68362"/>
                <a:gd name="connsiteX66" fmla="*/ 10015 w 139231"/>
                <a:gd name="connsiteY66" fmla="*/ 24297 h 68362"/>
                <a:gd name="connsiteX67" fmla="*/ 6798 w 139231"/>
                <a:gd name="connsiteY67" fmla="*/ 24199 h 68362"/>
                <a:gd name="connsiteX68" fmla="*/ 4461 w 139231"/>
                <a:gd name="connsiteY68" fmla="*/ 22732 h 68362"/>
                <a:gd name="connsiteX69" fmla="*/ 13446 w 139231"/>
                <a:gd name="connsiteY69" fmla="*/ 21733 h 68362"/>
                <a:gd name="connsiteX70" fmla="*/ 14375 w 139231"/>
                <a:gd name="connsiteY70" fmla="*/ 20036 h 68362"/>
                <a:gd name="connsiteX71" fmla="*/ 16202 w 139231"/>
                <a:gd name="connsiteY71" fmla="*/ 18254 h 68362"/>
                <a:gd name="connsiteX72" fmla="*/ 80815 w 139231"/>
                <a:gd name="connsiteY72" fmla="*/ 0 h 68362"/>
                <a:gd name="connsiteX73" fmla="*/ 83169 w 139231"/>
                <a:gd name="connsiteY73" fmla="*/ 377 h 68362"/>
                <a:gd name="connsiteX74" fmla="*/ 87105 w 139231"/>
                <a:gd name="connsiteY74" fmla="*/ 143 h 68362"/>
                <a:gd name="connsiteX75" fmla="*/ 101856 w 139231"/>
                <a:gd name="connsiteY75" fmla="*/ 2795 h 68362"/>
                <a:gd name="connsiteX76" fmla="*/ 105486 w 139231"/>
                <a:gd name="connsiteY76" fmla="*/ 2795 h 68362"/>
                <a:gd name="connsiteX77" fmla="*/ 110506 w 139231"/>
                <a:gd name="connsiteY77" fmla="*/ 5489 h 68362"/>
                <a:gd name="connsiteX78" fmla="*/ 113219 w 139231"/>
                <a:gd name="connsiteY78" fmla="*/ 6182 h 68362"/>
                <a:gd name="connsiteX79" fmla="*/ 121204 w 139231"/>
                <a:gd name="connsiteY79" fmla="*/ 6187 h 68362"/>
                <a:gd name="connsiteX80" fmla="*/ 133515 w 139231"/>
                <a:gd name="connsiteY80" fmla="*/ 7375 h 68362"/>
                <a:gd name="connsiteX81" fmla="*/ 135931 w 139231"/>
                <a:gd name="connsiteY81" fmla="*/ 5553 h 68362"/>
                <a:gd name="connsiteX82" fmla="*/ 136166 w 139231"/>
                <a:gd name="connsiteY82" fmla="*/ 5079 h 68362"/>
                <a:gd name="connsiteX83" fmla="*/ 137345 w 139231"/>
                <a:gd name="connsiteY83" fmla="*/ 6099 h 68362"/>
                <a:gd name="connsiteX84" fmla="*/ 138831 w 139231"/>
                <a:gd name="connsiteY84" fmla="*/ 7740 h 68362"/>
                <a:gd name="connsiteX85" fmla="*/ 139231 w 139231"/>
                <a:gd name="connsiteY85" fmla="*/ 8678 h 68362"/>
                <a:gd name="connsiteX86" fmla="*/ 138728 w 139231"/>
                <a:gd name="connsiteY86" fmla="*/ 9229 h 68362"/>
                <a:gd name="connsiteX87" fmla="*/ 137246 w 139231"/>
                <a:gd name="connsiteY87" fmla="*/ 9697 h 68362"/>
                <a:gd name="connsiteX88" fmla="*/ 136909 w 139231"/>
                <a:gd name="connsiteY88" fmla="*/ 10202 h 68362"/>
                <a:gd name="connsiteX89" fmla="*/ 136253 w 139231"/>
                <a:gd name="connsiteY89" fmla="*/ 11056 h 68362"/>
                <a:gd name="connsiteX90" fmla="*/ 134523 w 139231"/>
                <a:gd name="connsiteY90" fmla="*/ 11210 h 68362"/>
                <a:gd name="connsiteX91" fmla="*/ 133627 w 139231"/>
                <a:gd name="connsiteY91" fmla="*/ 11843 h 68362"/>
                <a:gd name="connsiteX92" fmla="*/ 132562 w 139231"/>
                <a:gd name="connsiteY92" fmla="*/ 14618 h 68362"/>
                <a:gd name="connsiteX93" fmla="*/ 130530 w 139231"/>
                <a:gd name="connsiteY93" fmla="*/ 19205 h 68362"/>
                <a:gd name="connsiteX94" fmla="*/ 127527 w 139231"/>
                <a:gd name="connsiteY94" fmla="*/ 22688 h 68362"/>
                <a:gd name="connsiteX95" fmla="*/ 125123 w 139231"/>
                <a:gd name="connsiteY95" fmla="*/ 24595 h 68362"/>
                <a:gd name="connsiteX96" fmla="*/ 124048 w 139231"/>
                <a:gd name="connsiteY96" fmla="*/ 26056 h 68362"/>
                <a:gd name="connsiteX97" fmla="*/ 123378 w 139231"/>
                <a:gd name="connsiteY97" fmla="*/ 27810 h 68362"/>
                <a:gd name="connsiteX98" fmla="*/ 123221 w 139231"/>
                <a:gd name="connsiteY98" fmla="*/ 29568 h 68362"/>
                <a:gd name="connsiteX99" fmla="*/ 125527 w 139231"/>
                <a:gd name="connsiteY99" fmla="*/ 39200 h 68362"/>
                <a:gd name="connsiteX100" fmla="*/ 125499 w 139231"/>
                <a:gd name="connsiteY100" fmla="*/ 40934 h 68362"/>
                <a:gd name="connsiteX101" fmla="*/ 124957 w 139231"/>
                <a:gd name="connsiteY101" fmla="*/ 42713 h 68362"/>
                <a:gd name="connsiteX102" fmla="*/ 124564 w 139231"/>
                <a:gd name="connsiteY102" fmla="*/ 44524 h 68362"/>
                <a:gd name="connsiteX103" fmla="*/ 124888 w 139231"/>
                <a:gd name="connsiteY103" fmla="*/ 46092 h 68362"/>
                <a:gd name="connsiteX104" fmla="*/ 126406 w 139231"/>
                <a:gd name="connsiteY104" fmla="*/ 48768 h 68362"/>
                <a:gd name="connsiteX105" fmla="*/ 128021 w 139231"/>
                <a:gd name="connsiteY105" fmla="*/ 52754 h 68362"/>
                <a:gd name="connsiteX106" fmla="*/ 128669 w 139231"/>
                <a:gd name="connsiteY106" fmla="*/ 55296 h 68362"/>
                <a:gd name="connsiteX107" fmla="*/ 129742 w 139231"/>
                <a:gd name="connsiteY107" fmla="*/ 56229 h 68362"/>
                <a:gd name="connsiteX108" fmla="*/ 130776 w 139231"/>
                <a:gd name="connsiteY108" fmla="*/ 56912 h 68362"/>
                <a:gd name="connsiteX109" fmla="*/ 130993 w 139231"/>
                <a:gd name="connsiteY109" fmla="*/ 57342 h 68362"/>
                <a:gd name="connsiteX110" fmla="*/ 130958 w 139231"/>
                <a:gd name="connsiteY110" fmla="*/ 57789 h 68362"/>
                <a:gd name="connsiteX111" fmla="*/ 130425 w 139231"/>
                <a:gd name="connsiteY111" fmla="*/ 58292 h 68362"/>
                <a:gd name="connsiteX112" fmla="*/ 125765 w 139231"/>
                <a:gd name="connsiteY112" fmla="*/ 59622 h 68362"/>
                <a:gd name="connsiteX113" fmla="*/ 125160 w 139231"/>
                <a:gd name="connsiteY113" fmla="*/ 60748 h 68362"/>
                <a:gd name="connsiteX114" fmla="*/ 124657 w 139231"/>
                <a:gd name="connsiteY114" fmla="*/ 62002 h 68362"/>
                <a:gd name="connsiteX115" fmla="*/ 122623 w 139231"/>
                <a:gd name="connsiteY115" fmla="*/ 63858 h 68362"/>
                <a:gd name="connsiteX116" fmla="*/ 121999 w 139231"/>
                <a:gd name="connsiteY116" fmla="*/ 65588 h 68362"/>
                <a:gd name="connsiteX117" fmla="*/ 121612 w 139231"/>
                <a:gd name="connsiteY117" fmla="*/ 67573 h 68362"/>
                <a:gd name="connsiteX118" fmla="*/ 121560 w 139231"/>
                <a:gd name="connsiteY118" fmla="*/ 68279 h 68362"/>
                <a:gd name="connsiteX119" fmla="*/ 120999 w 139231"/>
                <a:gd name="connsiteY119" fmla="*/ 68362 h 68362"/>
                <a:gd name="connsiteX120" fmla="*/ 117915 w 139231"/>
                <a:gd name="connsiteY120" fmla="*/ 67954 h 68362"/>
                <a:gd name="connsiteX121" fmla="*/ 114517 w 139231"/>
                <a:gd name="connsiteY121" fmla="*/ 66666 h 68362"/>
                <a:gd name="connsiteX122" fmla="*/ 113026 w 139231"/>
                <a:gd name="connsiteY122" fmla="*/ 65698 h 68362"/>
                <a:gd name="connsiteX123" fmla="*/ 111563 w 139231"/>
                <a:gd name="connsiteY123" fmla="*/ 65708 h 68362"/>
                <a:gd name="connsiteX124" fmla="*/ 109792 w 139231"/>
                <a:gd name="connsiteY124" fmla="*/ 66348 h 68362"/>
                <a:gd name="connsiteX125" fmla="*/ 103443 w 139231"/>
                <a:gd name="connsiteY125" fmla="*/ 68187 h 68362"/>
                <a:gd name="connsiteX126" fmla="*/ 101884 w 139231"/>
                <a:gd name="connsiteY126" fmla="*/ 67758 h 68362"/>
                <a:gd name="connsiteX127" fmla="*/ 98256 w 139231"/>
                <a:gd name="connsiteY127" fmla="*/ 65954 h 68362"/>
                <a:gd name="connsiteX128" fmla="*/ 96421 w 139231"/>
                <a:gd name="connsiteY128" fmla="*/ 63988 h 68362"/>
                <a:gd name="connsiteX129" fmla="*/ 92337 w 139231"/>
                <a:gd name="connsiteY129" fmla="*/ 60066 h 68362"/>
                <a:gd name="connsiteX130" fmla="*/ 92003 w 139231"/>
                <a:gd name="connsiteY130" fmla="*/ 59132 h 68362"/>
                <a:gd name="connsiteX131" fmla="*/ 91469 w 139231"/>
                <a:gd name="connsiteY131" fmla="*/ 58383 h 68362"/>
                <a:gd name="connsiteX132" fmla="*/ 87105 w 139231"/>
                <a:gd name="connsiteY132" fmla="*/ 57411 h 68362"/>
                <a:gd name="connsiteX133" fmla="*/ 85494 w 139231"/>
                <a:gd name="connsiteY133" fmla="*/ 55962 h 68362"/>
                <a:gd name="connsiteX134" fmla="*/ 84151 w 139231"/>
                <a:gd name="connsiteY134" fmla="*/ 55759 h 68362"/>
                <a:gd name="connsiteX135" fmla="*/ 82186 w 139231"/>
                <a:gd name="connsiteY135" fmla="*/ 55035 h 68362"/>
                <a:gd name="connsiteX136" fmla="*/ 77073 w 139231"/>
                <a:gd name="connsiteY136" fmla="*/ 51935 h 68362"/>
                <a:gd name="connsiteX137" fmla="*/ 75803 w 139231"/>
                <a:gd name="connsiteY137" fmla="*/ 51645 h 68362"/>
                <a:gd name="connsiteX138" fmla="*/ 75494 w 139231"/>
                <a:gd name="connsiteY138" fmla="*/ 52167 h 68362"/>
                <a:gd name="connsiteX139" fmla="*/ 75583 w 139231"/>
                <a:gd name="connsiteY139" fmla="*/ 52900 h 68362"/>
                <a:gd name="connsiteX140" fmla="*/ 75265 w 139231"/>
                <a:gd name="connsiteY140" fmla="*/ 53324 h 68362"/>
                <a:gd name="connsiteX141" fmla="*/ 74611 w 139231"/>
                <a:gd name="connsiteY141" fmla="*/ 53310 h 68362"/>
                <a:gd name="connsiteX142" fmla="*/ 73428 w 139231"/>
                <a:gd name="connsiteY142" fmla="*/ 52170 h 68362"/>
                <a:gd name="connsiteX143" fmla="*/ 72009 w 139231"/>
                <a:gd name="connsiteY143" fmla="*/ 51166 h 68362"/>
                <a:gd name="connsiteX144" fmla="*/ 67593 w 139231"/>
                <a:gd name="connsiteY144" fmla="*/ 53053 h 68362"/>
                <a:gd name="connsiteX145" fmla="*/ 65995 w 139231"/>
                <a:gd name="connsiteY145" fmla="*/ 53562 h 68362"/>
                <a:gd name="connsiteX146" fmla="*/ 64596 w 139231"/>
                <a:gd name="connsiteY146" fmla="*/ 53673 h 68362"/>
                <a:gd name="connsiteX147" fmla="*/ 57589 w 139231"/>
                <a:gd name="connsiteY147" fmla="*/ 56153 h 68362"/>
                <a:gd name="connsiteX148" fmla="*/ 55457 w 139231"/>
                <a:gd name="connsiteY148" fmla="*/ 57488 h 68362"/>
                <a:gd name="connsiteX149" fmla="*/ 54574 w 139231"/>
                <a:gd name="connsiteY149" fmla="*/ 57345 h 68362"/>
                <a:gd name="connsiteX150" fmla="*/ 54783 w 139231"/>
                <a:gd name="connsiteY150" fmla="*/ 56092 h 68362"/>
                <a:gd name="connsiteX151" fmla="*/ 57699 w 139231"/>
                <a:gd name="connsiteY151" fmla="*/ 49800 h 68362"/>
                <a:gd name="connsiteX152" fmla="*/ 58221 w 139231"/>
                <a:gd name="connsiteY152" fmla="*/ 44795 h 68362"/>
                <a:gd name="connsiteX153" fmla="*/ 59288 w 139231"/>
                <a:gd name="connsiteY153" fmla="*/ 44107 h 68362"/>
                <a:gd name="connsiteX154" fmla="*/ 59597 w 139231"/>
                <a:gd name="connsiteY154" fmla="*/ 43412 h 68362"/>
                <a:gd name="connsiteX155" fmla="*/ 59141 w 139231"/>
                <a:gd name="connsiteY155" fmla="*/ 41812 h 68362"/>
                <a:gd name="connsiteX156" fmla="*/ 56114 w 139231"/>
                <a:gd name="connsiteY156" fmla="*/ 40786 h 68362"/>
                <a:gd name="connsiteX157" fmla="*/ 54892 w 139231"/>
                <a:gd name="connsiteY157" fmla="*/ 40937 h 68362"/>
                <a:gd name="connsiteX158" fmla="*/ 53792 w 139231"/>
                <a:gd name="connsiteY158" fmla="*/ 42657 h 68362"/>
                <a:gd name="connsiteX159" fmla="*/ 52652 w 139231"/>
                <a:gd name="connsiteY159" fmla="*/ 43896 h 68362"/>
                <a:gd name="connsiteX160" fmla="*/ 49981 w 139231"/>
                <a:gd name="connsiteY160" fmla="*/ 44651 h 68362"/>
                <a:gd name="connsiteX161" fmla="*/ 47684 w 139231"/>
                <a:gd name="connsiteY161" fmla="*/ 43346 h 68362"/>
                <a:gd name="connsiteX162" fmla="*/ 42302 w 139231"/>
                <a:gd name="connsiteY162" fmla="*/ 41600 h 68362"/>
                <a:gd name="connsiteX163" fmla="*/ 40942 w 139231"/>
                <a:gd name="connsiteY163" fmla="*/ 39272 h 68362"/>
                <a:gd name="connsiteX164" fmla="*/ 40620 w 139231"/>
                <a:gd name="connsiteY164" fmla="*/ 36928 h 68362"/>
                <a:gd name="connsiteX165" fmla="*/ 37774 w 139231"/>
                <a:gd name="connsiteY165" fmla="*/ 34658 h 68362"/>
                <a:gd name="connsiteX166" fmla="*/ 36591 w 139231"/>
                <a:gd name="connsiteY166" fmla="*/ 31982 h 68362"/>
                <a:gd name="connsiteX167" fmla="*/ 37064 w 139231"/>
                <a:gd name="connsiteY167" fmla="*/ 30112 h 68362"/>
                <a:gd name="connsiteX168" fmla="*/ 39646 w 139231"/>
                <a:gd name="connsiteY168" fmla="*/ 28884 h 68362"/>
                <a:gd name="connsiteX169" fmla="*/ 40383 w 139231"/>
                <a:gd name="connsiteY169" fmla="*/ 27813 h 68362"/>
                <a:gd name="connsiteX170" fmla="*/ 37128 w 139231"/>
                <a:gd name="connsiteY170" fmla="*/ 27983 h 68362"/>
                <a:gd name="connsiteX171" fmla="*/ 36466 w 139231"/>
                <a:gd name="connsiteY171" fmla="*/ 27726 h 68362"/>
                <a:gd name="connsiteX172" fmla="*/ 36323 w 139231"/>
                <a:gd name="connsiteY172" fmla="*/ 26763 h 68362"/>
                <a:gd name="connsiteX173" fmla="*/ 34883 w 139231"/>
                <a:gd name="connsiteY173" fmla="*/ 23478 h 68362"/>
                <a:gd name="connsiteX174" fmla="*/ 36157 w 139231"/>
                <a:gd name="connsiteY174" fmla="*/ 22183 h 68362"/>
                <a:gd name="connsiteX175" fmla="*/ 36718 w 139231"/>
                <a:gd name="connsiteY175" fmla="*/ 20923 h 68362"/>
                <a:gd name="connsiteX176" fmla="*/ 35673 w 139231"/>
                <a:gd name="connsiteY176" fmla="*/ 19850 h 68362"/>
                <a:gd name="connsiteX177" fmla="*/ 35947 w 139231"/>
                <a:gd name="connsiteY177" fmla="*/ 18629 h 68362"/>
                <a:gd name="connsiteX178" fmla="*/ 36761 w 139231"/>
                <a:gd name="connsiteY178" fmla="*/ 17394 h 68362"/>
                <a:gd name="connsiteX179" fmla="*/ 36262 w 139231"/>
                <a:gd name="connsiteY179" fmla="*/ 14521 h 68362"/>
                <a:gd name="connsiteX180" fmla="*/ 39493 w 139231"/>
                <a:gd name="connsiteY180" fmla="*/ 12997 h 68362"/>
                <a:gd name="connsiteX181" fmla="*/ 42633 w 139231"/>
                <a:gd name="connsiteY181" fmla="*/ 11924 h 68362"/>
                <a:gd name="connsiteX182" fmla="*/ 49286 w 139231"/>
                <a:gd name="connsiteY182" fmla="*/ 11377 h 68362"/>
                <a:gd name="connsiteX183" fmla="*/ 48627 w 139231"/>
                <a:gd name="connsiteY183" fmla="*/ 8747 h 68362"/>
                <a:gd name="connsiteX184" fmla="*/ 51320 w 139231"/>
                <a:gd name="connsiteY184" fmla="*/ 8628 h 68362"/>
                <a:gd name="connsiteX185" fmla="*/ 55852 w 139231"/>
                <a:gd name="connsiteY185" fmla="*/ 5460 h 68362"/>
                <a:gd name="connsiteX186" fmla="*/ 60346 w 139231"/>
                <a:gd name="connsiteY186" fmla="*/ 6017 h 68362"/>
                <a:gd name="connsiteX187" fmla="*/ 66846 w 139231"/>
                <a:gd name="connsiteY187" fmla="*/ 3840 h 68362"/>
                <a:gd name="connsiteX188" fmla="*/ 79366 w 139231"/>
                <a:gd name="connsiteY188" fmla="*/ 3870 h 68362"/>
                <a:gd name="connsiteX189" fmla="*/ 81072 w 139231"/>
                <a:gd name="connsiteY189" fmla="*/ 2612 h 68362"/>
                <a:gd name="connsiteX190" fmla="*/ 80774 w 139231"/>
                <a:gd name="connsiteY190" fmla="*/ 1348 h 68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Lst>
              <a:rect l="l" t="t" r="r" b="b"/>
              <a:pathLst>
                <a:path w="139231" h="68362">
                  <a:moveTo>
                    <a:pt x="15312" y="32990"/>
                  </a:moveTo>
                  <a:lnTo>
                    <a:pt x="16869" y="33189"/>
                  </a:lnTo>
                  <a:lnTo>
                    <a:pt x="18439" y="33973"/>
                  </a:lnTo>
                  <a:lnTo>
                    <a:pt x="19886" y="33725"/>
                  </a:lnTo>
                  <a:lnTo>
                    <a:pt x="21352" y="33180"/>
                  </a:lnTo>
                  <a:lnTo>
                    <a:pt x="24539" y="33692"/>
                  </a:lnTo>
                  <a:lnTo>
                    <a:pt x="31805" y="37642"/>
                  </a:lnTo>
                  <a:lnTo>
                    <a:pt x="32477" y="38697"/>
                  </a:lnTo>
                  <a:lnTo>
                    <a:pt x="28141" y="39176"/>
                  </a:lnTo>
                  <a:lnTo>
                    <a:pt x="27156" y="40385"/>
                  </a:lnTo>
                  <a:lnTo>
                    <a:pt x="26114" y="41230"/>
                  </a:lnTo>
                  <a:lnTo>
                    <a:pt x="24885" y="41502"/>
                  </a:lnTo>
                  <a:lnTo>
                    <a:pt x="22790" y="43197"/>
                  </a:lnTo>
                  <a:lnTo>
                    <a:pt x="19957" y="44819"/>
                  </a:lnTo>
                  <a:lnTo>
                    <a:pt x="19365" y="45792"/>
                  </a:lnTo>
                  <a:lnTo>
                    <a:pt x="14239" y="45613"/>
                  </a:lnTo>
                  <a:lnTo>
                    <a:pt x="11436" y="46227"/>
                  </a:lnTo>
                  <a:lnTo>
                    <a:pt x="9173" y="48040"/>
                  </a:lnTo>
                  <a:lnTo>
                    <a:pt x="8244" y="51538"/>
                  </a:lnTo>
                  <a:lnTo>
                    <a:pt x="6588" y="54265"/>
                  </a:lnTo>
                  <a:lnTo>
                    <a:pt x="4904" y="55250"/>
                  </a:lnTo>
                  <a:lnTo>
                    <a:pt x="3148" y="55400"/>
                  </a:lnTo>
                  <a:lnTo>
                    <a:pt x="2732" y="54377"/>
                  </a:lnTo>
                  <a:lnTo>
                    <a:pt x="2898" y="53355"/>
                  </a:lnTo>
                  <a:lnTo>
                    <a:pt x="6599" y="49499"/>
                  </a:lnTo>
                  <a:lnTo>
                    <a:pt x="7368" y="48246"/>
                  </a:lnTo>
                  <a:lnTo>
                    <a:pt x="5526" y="47689"/>
                  </a:lnTo>
                  <a:lnTo>
                    <a:pt x="3982" y="46348"/>
                  </a:lnTo>
                  <a:lnTo>
                    <a:pt x="611" y="44772"/>
                  </a:lnTo>
                  <a:lnTo>
                    <a:pt x="0" y="43506"/>
                  </a:lnTo>
                  <a:lnTo>
                    <a:pt x="808" y="43412"/>
                  </a:lnTo>
                  <a:lnTo>
                    <a:pt x="1546" y="43049"/>
                  </a:lnTo>
                  <a:lnTo>
                    <a:pt x="2444" y="41987"/>
                  </a:lnTo>
                  <a:lnTo>
                    <a:pt x="2865" y="40767"/>
                  </a:lnTo>
                  <a:lnTo>
                    <a:pt x="173" y="37200"/>
                  </a:lnTo>
                  <a:lnTo>
                    <a:pt x="1546" y="36648"/>
                  </a:lnTo>
                  <a:lnTo>
                    <a:pt x="3258" y="36778"/>
                  </a:lnTo>
                  <a:lnTo>
                    <a:pt x="5016" y="37815"/>
                  </a:lnTo>
                  <a:lnTo>
                    <a:pt x="6945" y="36598"/>
                  </a:lnTo>
                  <a:lnTo>
                    <a:pt x="7763" y="36418"/>
                  </a:lnTo>
                  <a:lnTo>
                    <a:pt x="9113" y="36852"/>
                  </a:lnTo>
                  <a:lnTo>
                    <a:pt x="10473" y="34496"/>
                  </a:lnTo>
                  <a:lnTo>
                    <a:pt x="13708" y="33718"/>
                  </a:lnTo>
                  <a:close/>
                  <a:moveTo>
                    <a:pt x="28987" y="31348"/>
                  </a:moveTo>
                  <a:lnTo>
                    <a:pt x="32689" y="32304"/>
                  </a:lnTo>
                  <a:lnTo>
                    <a:pt x="33211" y="34668"/>
                  </a:lnTo>
                  <a:lnTo>
                    <a:pt x="32926" y="35482"/>
                  </a:lnTo>
                  <a:lnTo>
                    <a:pt x="31086" y="35817"/>
                  </a:lnTo>
                  <a:lnTo>
                    <a:pt x="26733" y="33518"/>
                  </a:lnTo>
                  <a:lnTo>
                    <a:pt x="27742" y="31960"/>
                  </a:lnTo>
                  <a:close/>
                  <a:moveTo>
                    <a:pt x="17577" y="18061"/>
                  </a:moveTo>
                  <a:lnTo>
                    <a:pt x="18746" y="18475"/>
                  </a:lnTo>
                  <a:lnTo>
                    <a:pt x="18966" y="19857"/>
                  </a:lnTo>
                  <a:lnTo>
                    <a:pt x="19260" y="20406"/>
                  </a:lnTo>
                  <a:lnTo>
                    <a:pt x="23337" y="21184"/>
                  </a:lnTo>
                  <a:lnTo>
                    <a:pt x="24924" y="23505"/>
                  </a:lnTo>
                  <a:lnTo>
                    <a:pt x="25522" y="26295"/>
                  </a:lnTo>
                  <a:lnTo>
                    <a:pt x="23643" y="26524"/>
                  </a:lnTo>
                  <a:lnTo>
                    <a:pt x="21829" y="28128"/>
                  </a:lnTo>
                  <a:lnTo>
                    <a:pt x="20749" y="27487"/>
                  </a:lnTo>
                  <a:lnTo>
                    <a:pt x="20184" y="26718"/>
                  </a:lnTo>
                  <a:lnTo>
                    <a:pt x="17843" y="30342"/>
                  </a:lnTo>
                  <a:lnTo>
                    <a:pt x="15206" y="30963"/>
                  </a:lnTo>
                  <a:lnTo>
                    <a:pt x="13669" y="30248"/>
                  </a:lnTo>
                  <a:lnTo>
                    <a:pt x="13807" y="28895"/>
                  </a:lnTo>
                  <a:lnTo>
                    <a:pt x="12306" y="25339"/>
                  </a:lnTo>
                  <a:lnTo>
                    <a:pt x="10015" y="24297"/>
                  </a:lnTo>
                  <a:lnTo>
                    <a:pt x="6798" y="24199"/>
                  </a:lnTo>
                  <a:lnTo>
                    <a:pt x="4461" y="22732"/>
                  </a:lnTo>
                  <a:lnTo>
                    <a:pt x="13446" y="21733"/>
                  </a:lnTo>
                  <a:lnTo>
                    <a:pt x="14375" y="20036"/>
                  </a:lnTo>
                  <a:lnTo>
                    <a:pt x="16202" y="18254"/>
                  </a:lnTo>
                  <a:close/>
                  <a:moveTo>
                    <a:pt x="80815" y="0"/>
                  </a:moveTo>
                  <a:lnTo>
                    <a:pt x="83169" y="377"/>
                  </a:lnTo>
                  <a:lnTo>
                    <a:pt x="87105" y="143"/>
                  </a:lnTo>
                  <a:lnTo>
                    <a:pt x="101856" y="2795"/>
                  </a:lnTo>
                  <a:lnTo>
                    <a:pt x="105486" y="2795"/>
                  </a:lnTo>
                  <a:lnTo>
                    <a:pt x="110506" y="5489"/>
                  </a:lnTo>
                  <a:lnTo>
                    <a:pt x="113219" y="6182"/>
                  </a:lnTo>
                  <a:lnTo>
                    <a:pt x="121204" y="6187"/>
                  </a:lnTo>
                  <a:lnTo>
                    <a:pt x="133515" y="7375"/>
                  </a:lnTo>
                  <a:lnTo>
                    <a:pt x="135931" y="5553"/>
                  </a:lnTo>
                  <a:lnTo>
                    <a:pt x="136166" y="5079"/>
                  </a:lnTo>
                  <a:lnTo>
                    <a:pt x="137345" y="6099"/>
                  </a:lnTo>
                  <a:lnTo>
                    <a:pt x="138831" y="7740"/>
                  </a:lnTo>
                  <a:lnTo>
                    <a:pt x="139231" y="8678"/>
                  </a:lnTo>
                  <a:lnTo>
                    <a:pt x="138728" y="9229"/>
                  </a:lnTo>
                  <a:lnTo>
                    <a:pt x="137246" y="9697"/>
                  </a:lnTo>
                  <a:lnTo>
                    <a:pt x="136909" y="10202"/>
                  </a:lnTo>
                  <a:lnTo>
                    <a:pt x="136253" y="11056"/>
                  </a:lnTo>
                  <a:lnTo>
                    <a:pt x="134523" y="11210"/>
                  </a:lnTo>
                  <a:lnTo>
                    <a:pt x="133627" y="11843"/>
                  </a:lnTo>
                  <a:lnTo>
                    <a:pt x="132562" y="14618"/>
                  </a:lnTo>
                  <a:lnTo>
                    <a:pt x="130530" y="19205"/>
                  </a:lnTo>
                  <a:lnTo>
                    <a:pt x="127527" y="22688"/>
                  </a:lnTo>
                  <a:lnTo>
                    <a:pt x="125123" y="24595"/>
                  </a:lnTo>
                  <a:lnTo>
                    <a:pt x="124048" y="26056"/>
                  </a:lnTo>
                  <a:lnTo>
                    <a:pt x="123378" y="27810"/>
                  </a:lnTo>
                  <a:lnTo>
                    <a:pt x="123221" y="29568"/>
                  </a:lnTo>
                  <a:lnTo>
                    <a:pt x="125527" y="39200"/>
                  </a:lnTo>
                  <a:lnTo>
                    <a:pt x="125499" y="40934"/>
                  </a:lnTo>
                  <a:lnTo>
                    <a:pt x="124957" y="42713"/>
                  </a:lnTo>
                  <a:lnTo>
                    <a:pt x="124564" y="44524"/>
                  </a:lnTo>
                  <a:lnTo>
                    <a:pt x="124888" y="46092"/>
                  </a:lnTo>
                  <a:lnTo>
                    <a:pt x="126406" y="48768"/>
                  </a:lnTo>
                  <a:lnTo>
                    <a:pt x="128021" y="52754"/>
                  </a:lnTo>
                  <a:lnTo>
                    <a:pt x="128669" y="55296"/>
                  </a:lnTo>
                  <a:lnTo>
                    <a:pt x="129742" y="56229"/>
                  </a:lnTo>
                  <a:lnTo>
                    <a:pt x="130776" y="56912"/>
                  </a:lnTo>
                  <a:lnTo>
                    <a:pt x="130993" y="57342"/>
                  </a:lnTo>
                  <a:lnTo>
                    <a:pt x="130958" y="57789"/>
                  </a:lnTo>
                  <a:lnTo>
                    <a:pt x="130425" y="58292"/>
                  </a:lnTo>
                  <a:lnTo>
                    <a:pt x="125765" y="59622"/>
                  </a:lnTo>
                  <a:lnTo>
                    <a:pt x="125160" y="60748"/>
                  </a:lnTo>
                  <a:lnTo>
                    <a:pt x="124657" y="62002"/>
                  </a:lnTo>
                  <a:lnTo>
                    <a:pt x="122623" y="63858"/>
                  </a:lnTo>
                  <a:lnTo>
                    <a:pt x="121999" y="65588"/>
                  </a:lnTo>
                  <a:lnTo>
                    <a:pt x="121612" y="67573"/>
                  </a:lnTo>
                  <a:lnTo>
                    <a:pt x="121560" y="68279"/>
                  </a:lnTo>
                  <a:lnTo>
                    <a:pt x="120999" y="68362"/>
                  </a:lnTo>
                  <a:lnTo>
                    <a:pt x="117915" y="67954"/>
                  </a:lnTo>
                  <a:lnTo>
                    <a:pt x="114517" y="66666"/>
                  </a:lnTo>
                  <a:lnTo>
                    <a:pt x="113026" y="65698"/>
                  </a:lnTo>
                  <a:lnTo>
                    <a:pt x="111563" y="65708"/>
                  </a:lnTo>
                  <a:lnTo>
                    <a:pt x="109792" y="66348"/>
                  </a:lnTo>
                  <a:lnTo>
                    <a:pt x="103443" y="68187"/>
                  </a:lnTo>
                  <a:lnTo>
                    <a:pt x="101884" y="67758"/>
                  </a:lnTo>
                  <a:lnTo>
                    <a:pt x="98256" y="65954"/>
                  </a:lnTo>
                  <a:lnTo>
                    <a:pt x="96421" y="63988"/>
                  </a:lnTo>
                  <a:lnTo>
                    <a:pt x="92337" y="60066"/>
                  </a:lnTo>
                  <a:lnTo>
                    <a:pt x="92003" y="59132"/>
                  </a:lnTo>
                  <a:lnTo>
                    <a:pt x="91469" y="58383"/>
                  </a:lnTo>
                  <a:lnTo>
                    <a:pt x="87105" y="57411"/>
                  </a:lnTo>
                  <a:lnTo>
                    <a:pt x="85494" y="55962"/>
                  </a:lnTo>
                  <a:lnTo>
                    <a:pt x="84151" y="55759"/>
                  </a:lnTo>
                  <a:lnTo>
                    <a:pt x="82186" y="55035"/>
                  </a:lnTo>
                  <a:lnTo>
                    <a:pt x="77073" y="51935"/>
                  </a:lnTo>
                  <a:lnTo>
                    <a:pt x="75803" y="51645"/>
                  </a:lnTo>
                  <a:lnTo>
                    <a:pt x="75494" y="52167"/>
                  </a:lnTo>
                  <a:lnTo>
                    <a:pt x="75583" y="52900"/>
                  </a:lnTo>
                  <a:lnTo>
                    <a:pt x="75265" y="53324"/>
                  </a:lnTo>
                  <a:lnTo>
                    <a:pt x="74611" y="53310"/>
                  </a:lnTo>
                  <a:lnTo>
                    <a:pt x="73428" y="52170"/>
                  </a:lnTo>
                  <a:lnTo>
                    <a:pt x="72009" y="51166"/>
                  </a:lnTo>
                  <a:lnTo>
                    <a:pt x="67593" y="53053"/>
                  </a:lnTo>
                  <a:lnTo>
                    <a:pt x="65995" y="53562"/>
                  </a:lnTo>
                  <a:lnTo>
                    <a:pt x="64596" y="53673"/>
                  </a:lnTo>
                  <a:lnTo>
                    <a:pt x="57589" y="56153"/>
                  </a:lnTo>
                  <a:lnTo>
                    <a:pt x="55457" y="57488"/>
                  </a:lnTo>
                  <a:lnTo>
                    <a:pt x="54574" y="57345"/>
                  </a:lnTo>
                  <a:lnTo>
                    <a:pt x="54783" y="56092"/>
                  </a:lnTo>
                  <a:lnTo>
                    <a:pt x="57699" y="49800"/>
                  </a:lnTo>
                  <a:lnTo>
                    <a:pt x="58221" y="44795"/>
                  </a:lnTo>
                  <a:lnTo>
                    <a:pt x="59288" y="44107"/>
                  </a:lnTo>
                  <a:lnTo>
                    <a:pt x="59597" y="43412"/>
                  </a:lnTo>
                  <a:lnTo>
                    <a:pt x="59141" y="41812"/>
                  </a:lnTo>
                  <a:lnTo>
                    <a:pt x="56114" y="40786"/>
                  </a:lnTo>
                  <a:lnTo>
                    <a:pt x="54892" y="40937"/>
                  </a:lnTo>
                  <a:lnTo>
                    <a:pt x="53792" y="42657"/>
                  </a:lnTo>
                  <a:lnTo>
                    <a:pt x="52652" y="43896"/>
                  </a:lnTo>
                  <a:lnTo>
                    <a:pt x="49981" y="44651"/>
                  </a:lnTo>
                  <a:lnTo>
                    <a:pt x="47684" y="43346"/>
                  </a:lnTo>
                  <a:lnTo>
                    <a:pt x="42302" y="41600"/>
                  </a:lnTo>
                  <a:lnTo>
                    <a:pt x="40942" y="39272"/>
                  </a:lnTo>
                  <a:lnTo>
                    <a:pt x="40620" y="36928"/>
                  </a:lnTo>
                  <a:lnTo>
                    <a:pt x="37774" y="34658"/>
                  </a:lnTo>
                  <a:lnTo>
                    <a:pt x="36591" y="31982"/>
                  </a:lnTo>
                  <a:lnTo>
                    <a:pt x="37064" y="30112"/>
                  </a:lnTo>
                  <a:lnTo>
                    <a:pt x="39646" y="28884"/>
                  </a:lnTo>
                  <a:lnTo>
                    <a:pt x="40383" y="27813"/>
                  </a:lnTo>
                  <a:lnTo>
                    <a:pt x="37128" y="27983"/>
                  </a:lnTo>
                  <a:lnTo>
                    <a:pt x="36466" y="27726"/>
                  </a:lnTo>
                  <a:lnTo>
                    <a:pt x="36323" y="26763"/>
                  </a:lnTo>
                  <a:lnTo>
                    <a:pt x="34883" y="23478"/>
                  </a:lnTo>
                  <a:lnTo>
                    <a:pt x="36157" y="22183"/>
                  </a:lnTo>
                  <a:lnTo>
                    <a:pt x="36718" y="20923"/>
                  </a:lnTo>
                  <a:lnTo>
                    <a:pt x="35673" y="19850"/>
                  </a:lnTo>
                  <a:lnTo>
                    <a:pt x="35947" y="18629"/>
                  </a:lnTo>
                  <a:lnTo>
                    <a:pt x="36761" y="17394"/>
                  </a:lnTo>
                  <a:lnTo>
                    <a:pt x="36262" y="14521"/>
                  </a:lnTo>
                  <a:lnTo>
                    <a:pt x="39493" y="12997"/>
                  </a:lnTo>
                  <a:lnTo>
                    <a:pt x="42633" y="11924"/>
                  </a:lnTo>
                  <a:lnTo>
                    <a:pt x="49286" y="11377"/>
                  </a:lnTo>
                  <a:lnTo>
                    <a:pt x="48627" y="8747"/>
                  </a:lnTo>
                  <a:lnTo>
                    <a:pt x="51320" y="8628"/>
                  </a:lnTo>
                  <a:lnTo>
                    <a:pt x="55852" y="5460"/>
                  </a:lnTo>
                  <a:lnTo>
                    <a:pt x="60346" y="6017"/>
                  </a:lnTo>
                  <a:lnTo>
                    <a:pt x="66846" y="3840"/>
                  </a:lnTo>
                  <a:lnTo>
                    <a:pt x="79366" y="3870"/>
                  </a:lnTo>
                  <a:lnTo>
                    <a:pt x="81072" y="2612"/>
                  </a:lnTo>
                  <a:lnTo>
                    <a:pt x="80774" y="1348"/>
                  </a:lnTo>
                  <a:close/>
                </a:path>
              </a:pathLst>
            </a:custGeom>
            <a:grpFill/>
            <a:ln w="3175"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8" name="ee4p_FI_1_92573">
              <a:extLst>
                <a:ext uri="{FF2B5EF4-FFF2-40B4-BE49-F238E27FC236}">
                  <a16:creationId xmlns:a16="http://schemas.microsoft.com/office/drawing/2014/main" id="{A418F88A-84E9-4C49-A6BD-136EDDB08854}"/>
                </a:ext>
              </a:extLst>
            </p:cNvPr>
            <p:cNvSpPr>
              <a:spLocks noChangeAspect="1"/>
            </p:cNvSpPr>
            <p:nvPr>
              <p:custDataLst>
                <p:tags r:id="rId12"/>
              </p:custDataLst>
            </p:nvPr>
          </p:nvSpPr>
          <p:spPr>
            <a:xfrm>
              <a:off x="5482697" y="1871234"/>
              <a:ext cx="1053423" cy="1463011"/>
            </a:xfrm>
            <a:custGeom>
              <a:avLst/>
              <a:gdLst>
                <a:gd name="connsiteX0" fmla="*/ 21473 w 265732"/>
                <a:gd name="connsiteY0" fmla="*/ 360506 h 369053"/>
                <a:gd name="connsiteX1" fmla="*/ 23220 w 265732"/>
                <a:gd name="connsiteY1" fmla="*/ 360680 h 369053"/>
                <a:gd name="connsiteX2" fmla="*/ 24153 w 265732"/>
                <a:gd name="connsiteY2" fmla="*/ 361638 h 369053"/>
                <a:gd name="connsiteX3" fmla="*/ 23978 w 265732"/>
                <a:gd name="connsiteY3" fmla="*/ 362422 h 369053"/>
                <a:gd name="connsiteX4" fmla="*/ 22173 w 265732"/>
                <a:gd name="connsiteY4" fmla="*/ 362597 h 369053"/>
                <a:gd name="connsiteX5" fmla="*/ 21415 w 265732"/>
                <a:gd name="connsiteY5" fmla="*/ 361899 h 369053"/>
                <a:gd name="connsiteX6" fmla="*/ 19728 w 265732"/>
                <a:gd name="connsiteY6" fmla="*/ 361986 h 369053"/>
                <a:gd name="connsiteX7" fmla="*/ 19435 w 265732"/>
                <a:gd name="connsiteY7" fmla="*/ 361638 h 369053"/>
                <a:gd name="connsiteX8" fmla="*/ 20134 w 265732"/>
                <a:gd name="connsiteY8" fmla="*/ 360942 h 369053"/>
                <a:gd name="connsiteX9" fmla="*/ 45306 w 265732"/>
                <a:gd name="connsiteY9" fmla="*/ 357280 h 369053"/>
                <a:gd name="connsiteX10" fmla="*/ 46768 w 265732"/>
                <a:gd name="connsiteY10" fmla="*/ 357390 h 369053"/>
                <a:gd name="connsiteX11" fmla="*/ 47079 w 265732"/>
                <a:gd name="connsiteY11" fmla="*/ 358322 h 369053"/>
                <a:gd name="connsiteX12" fmla="*/ 46641 w 265732"/>
                <a:gd name="connsiteY12" fmla="*/ 359417 h 369053"/>
                <a:gd name="connsiteX13" fmla="*/ 44702 w 265732"/>
                <a:gd name="connsiteY13" fmla="*/ 359744 h 369053"/>
                <a:gd name="connsiteX14" fmla="*/ 43494 w 265732"/>
                <a:gd name="connsiteY14" fmla="*/ 358787 h 369053"/>
                <a:gd name="connsiteX15" fmla="*/ 43953 w 265732"/>
                <a:gd name="connsiteY15" fmla="*/ 358075 h 369053"/>
                <a:gd name="connsiteX16" fmla="*/ 51860 w 265732"/>
                <a:gd name="connsiteY16" fmla="*/ 356303 h 369053"/>
                <a:gd name="connsiteX17" fmla="*/ 51171 w 265732"/>
                <a:gd name="connsiteY17" fmla="*/ 358333 h 369053"/>
                <a:gd name="connsiteX18" fmla="*/ 48958 w 265732"/>
                <a:gd name="connsiteY18" fmla="*/ 359471 h 369053"/>
                <a:gd name="connsiteX19" fmla="*/ 48115 w 265732"/>
                <a:gd name="connsiteY19" fmla="*/ 359200 h 369053"/>
                <a:gd name="connsiteX20" fmla="*/ 48332 w 265732"/>
                <a:gd name="connsiteY20" fmla="*/ 357280 h 369053"/>
                <a:gd name="connsiteX21" fmla="*/ 49647 w 265732"/>
                <a:gd name="connsiteY21" fmla="*/ 356401 h 369053"/>
                <a:gd name="connsiteX22" fmla="*/ 2428 w 265732"/>
                <a:gd name="connsiteY22" fmla="*/ 354834 h 369053"/>
                <a:gd name="connsiteX23" fmla="*/ 3168 w 265732"/>
                <a:gd name="connsiteY23" fmla="*/ 356788 h 369053"/>
                <a:gd name="connsiteX24" fmla="*/ 3283 w 265732"/>
                <a:gd name="connsiteY24" fmla="*/ 357531 h 369053"/>
                <a:gd name="connsiteX25" fmla="*/ 2436 w 265732"/>
                <a:gd name="connsiteY25" fmla="*/ 357345 h 369053"/>
                <a:gd name="connsiteX26" fmla="*/ 1786 w 265732"/>
                <a:gd name="connsiteY26" fmla="*/ 357599 h 369053"/>
                <a:gd name="connsiteX27" fmla="*/ 1345 w 265732"/>
                <a:gd name="connsiteY27" fmla="*/ 358514 h 369053"/>
                <a:gd name="connsiteX28" fmla="*/ 387 w 265732"/>
                <a:gd name="connsiteY28" fmla="*/ 358186 h 369053"/>
                <a:gd name="connsiteX29" fmla="*/ 0 w 265732"/>
                <a:gd name="connsiteY29" fmla="*/ 356874 h 369053"/>
                <a:gd name="connsiteX30" fmla="*/ 715 w 265732"/>
                <a:gd name="connsiteY30" fmla="*/ 354909 h 369053"/>
                <a:gd name="connsiteX31" fmla="*/ 58731 w 265732"/>
                <a:gd name="connsiteY31" fmla="*/ 350695 h 369053"/>
                <a:gd name="connsiteX32" fmla="*/ 61532 w 265732"/>
                <a:gd name="connsiteY32" fmla="*/ 351466 h 369053"/>
                <a:gd name="connsiteX33" fmla="*/ 62709 w 265732"/>
                <a:gd name="connsiteY33" fmla="*/ 351190 h 369053"/>
                <a:gd name="connsiteX34" fmla="*/ 64047 w 265732"/>
                <a:gd name="connsiteY34" fmla="*/ 352933 h 369053"/>
                <a:gd name="connsiteX35" fmla="*/ 61778 w 265732"/>
                <a:gd name="connsiteY35" fmla="*/ 354042 h 369053"/>
                <a:gd name="connsiteX36" fmla="*/ 61620 w 265732"/>
                <a:gd name="connsiteY36" fmla="*/ 355416 h 369053"/>
                <a:gd name="connsiteX37" fmla="*/ 62517 w 265732"/>
                <a:gd name="connsiteY37" fmla="*/ 356269 h 369053"/>
                <a:gd name="connsiteX38" fmla="*/ 62832 w 265732"/>
                <a:gd name="connsiteY38" fmla="*/ 357503 h 369053"/>
                <a:gd name="connsiteX39" fmla="*/ 60571 w 265732"/>
                <a:gd name="connsiteY39" fmla="*/ 357502 h 369053"/>
                <a:gd name="connsiteX40" fmla="*/ 59489 w 265732"/>
                <a:gd name="connsiteY40" fmla="*/ 356463 h 369053"/>
                <a:gd name="connsiteX41" fmla="*/ 59018 w 265732"/>
                <a:gd name="connsiteY41" fmla="*/ 355144 h 369053"/>
                <a:gd name="connsiteX42" fmla="*/ 57967 w 265732"/>
                <a:gd name="connsiteY42" fmla="*/ 354210 h 369053"/>
                <a:gd name="connsiteX43" fmla="*/ 56565 w 265732"/>
                <a:gd name="connsiteY43" fmla="*/ 353499 h 369053"/>
                <a:gd name="connsiteX44" fmla="*/ 57252 w 265732"/>
                <a:gd name="connsiteY44" fmla="*/ 352551 h 369053"/>
                <a:gd name="connsiteX45" fmla="*/ 57643 w 265732"/>
                <a:gd name="connsiteY45" fmla="*/ 351190 h 369053"/>
                <a:gd name="connsiteX46" fmla="*/ 8165 w 265732"/>
                <a:gd name="connsiteY46" fmla="*/ 349529 h 369053"/>
                <a:gd name="connsiteX47" fmla="*/ 9409 w 265732"/>
                <a:gd name="connsiteY47" fmla="*/ 351135 h 369053"/>
                <a:gd name="connsiteX48" fmla="*/ 10404 w 265732"/>
                <a:gd name="connsiteY48" fmla="*/ 351345 h 369053"/>
                <a:gd name="connsiteX49" fmla="*/ 11082 w 265732"/>
                <a:gd name="connsiteY49" fmla="*/ 351355 h 369053"/>
                <a:gd name="connsiteX50" fmla="*/ 11384 w 265732"/>
                <a:gd name="connsiteY50" fmla="*/ 351075 h 369053"/>
                <a:gd name="connsiteX51" fmla="*/ 12568 w 265732"/>
                <a:gd name="connsiteY51" fmla="*/ 351271 h 369053"/>
                <a:gd name="connsiteX52" fmla="*/ 14347 w 265732"/>
                <a:gd name="connsiteY52" fmla="*/ 352557 h 369053"/>
                <a:gd name="connsiteX53" fmla="*/ 14705 w 265732"/>
                <a:gd name="connsiteY53" fmla="*/ 353253 h 369053"/>
                <a:gd name="connsiteX54" fmla="*/ 15932 w 265732"/>
                <a:gd name="connsiteY54" fmla="*/ 353609 h 369053"/>
                <a:gd name="connsiteX55" fmla="*/ 16360 w 265732"/>
                <a:gd name="connsiteY55" fmla="*/ 354330 h 369053"/>
                <a:gd name="connsiteX56" fmla="*/ 14941 w 265732"/>
                <a:gd name="connsiteY56" fmla="*/ 356576 h 369053"/>
                <a:gd name="connsiteX57" fmla="*/ 14064 w 265732"/>
                <a:gd name="connsiteY57" fmla="*/ 356618 h 369053"/>
                <a:gd name="connsiteX58" fmla="*/ 13410 w 265732"/>
                <a:gd name="connsiteY58" fmla="*/ 356334 h 369053"/>
                <a:gd name="connsiteX59" fmla="*/ 12255 w 265732"/>
                <a:gd name="connsiteY59" fmla="*/ 356579 h 369053"/>
                <a:gd name="connsiteX60" fmla="*/ 11577 w 265732"/>
                <a:gd name="connsiteY60" fmla="*/ 357004 h 369053"/>
                <a:gd name="connsiteX61" fmla="*/ 11350 w 265732"/>
                <a:gd name="connsiteY61" fmla="*/ 357937 h 369053"/>
                <a:gd name="connsiteX62" fmla="*/ 11387 w 265732"/>
                <a:gd name="connsiteY62" fmla="*/ 359888 h 369053"/>
                <a:gd name="connsiteX63" fmla="*/ 6208 w 265732"/>
                <a:gd name="connsiteY63" fmla="*/ 360279 h 369053"/>
                <a:gd name="connsiteX64" fmla="*/ 5018 w 265732"/>
                <a:gd name="connsiteY64" fmla="*/ 359709 h 369053"/>
                <a:gd name="connsiteX65" fmla="*/ 3388 w 265732"/>
                <a:gd name="connsiteY65" fmla="*/ 355268 h 369053"/>
                <a:gd name="connsiteX66" fmla="*/ 3712 w 265732"/>
                <a:gd name="connsiteY66" fmla="*/ 354120 h 369053"/>
                <a:gd name="connsiteX67" fmla="*/ 4809 w 265732"/>
                <a:gd name="connsiteY67" fmla="*/ 353630 h 369053"/>
                <a:gd name="connsiteX68" fmla="*/ 5749 w 265732"/>
                <a:gd name="connsiteY68" fmla="*/ 353525 h 369053"/>
                <a:gd name="connsiteX69" fmla="*/ 5887 w 265732"/>
                <a:gd name="connsiteY69" fmla="*/ 355919 h 369053"/>
                <a:gd name="connsiteX70" fmla="*/ 7266 w 265732"/>
                <a:gd name="connsiteY70" fmla="*/ 355681 h 369053"/>
                <a:gd name="connsiteX71" fmla="*/ 7699 w 265732"/>
                <a:gd name="connsiteY71" fmla="*/ 354103 h 369053"/>
                <a:gd name="connsiteX72" fmla="*/ 7795 w 265732"/>
                <a:gd name="connsiteY72" fmla="*/ 352992 h 369053"/>
                <a:gd name="connsiteX73" fmla="*/ 7422 w 265732"/>
                <a:gd name="connsiteY73" fmla="*/ 352431 h 369053"/>
                <a:gd name="connsiteX74" fmla="*/ 6485 w 265732"/>
                <a:gd name="connsiteY74" fmla="*/ 351996 h 369053"/>
                <a:gd name="connsiteX75" fmla="*/ 5943 w 265732"/>
                <a:gd name="connsiteY75" fmla="*/ 351250 h 369053"/>
                <a:gd name="connsiteX76" fmla="*/ 6722 w 265732"/>
                <a:gd name="connsiteY76" fmla="*/ 350049 h 369053"/>
                <a:gd name="connsiteX77" fmla="*/ 51039 w 265732"/>
                <a:gd name="connsiteY77" fmla="*/ 347396 h 369053"/>
                <a:gd name="connsiteX78" fmla="*/ 52799 w 265732"/>
                <a:gd name="connsiteY78" fmla="*/ 348443 h 369053"/>
                <a:gd name="connsiteX79" fmla="*/ 53760 w 265732"/>
                <a:gd name="connsiteY79" fmla="*/ 349666 h 369053"/>
                <a:gd name="connsiteX80" fmla="*/ 52821 w 265732"/>
                <a:gd name="connsiteY80" fmla="*/ 349950 h 369053"/>
                <a:gd name="connsiteX81" fmla="*/ 54412 w 265732"/>
                <a:gd name="connsiteY81" fmla="*/ 351211 h 369053"/>
                <a:gd name="connsiteX82" fmla="*/ 54732 w 265732"/>
                <a:gd name="connsiteY82" fmla="*/ 351827 h 369053"/>
                <a:gd name="connsiteX83" fmla="*/ 53123 w 265732"/>
                <a:gd name="connsiteY83" fmla="*/ 351973 h 369053"/>
                <a:gd name="connsiteX84" fmla="*/ 50849 w 265732"/>
                <a:gd name="connsiteY84" fmla="*/ 350326 h 369053"/>
                <a:gd name="connsiteX85" fmla="*/ 50562 w 265732"/>
                <a:gd name="connsiteY85" fmla="*/ 349682 h 369053"/>
                <a:gd name="connsiteX86" fmla="*/ 51454 w 265732"/>
                <a:gd name="connsiteY86" fmla="*/ 349308 h 369053"/>
                <a:gd name="connsiteX87" fmla="*/ 50865 w 265732"/>
                <a:gd name="connsiteY87" fmla="*/ 347983 h 369053"/>
                <a:gd name="connsiteX88" fmla="*/ 38675 w 265732"/>
                <a:gd name="connsiteY88" fmla="*/ 341784 h 369053"/>
                <a:gd name="connsiteX89" fmla="*/ 39409 w 265732"/>
                <a:gd name="connsiteY89" fmla="*/ 343210 h 369053"/>
                <a:gd name="connsiteX90" fmla="*/ 42717 w 265732"/>
                <a:gd name="connsiteY90" fmla="*/ 345409 h 369053"/>
                <a:gd name="connsiteX91" fmla="*/ 42408 w 265732"/>
                <a:gd name="connsiteY91" fmla="*/ 346959 h 369053"/>
                <a:gd name="connsiteX92" fmla="*/ 40908 w 265732"/>
                <a:gd name="connsiteY92" fmla="*/ 346787 h 369053"/>
                <a:gd name="connsiteX93" fmla="*/ 39381 w 265732"/>
                <a:gd name="connsiteY93" fmla="*/ 347068 h 369053"/>
                <a:gd name="connsiteX94" fmla="*/ 38150 w 265732"/>
                <a:gd name="connsiteY94" fmla="*/ 345529 h 369053"/>
                <a:gd name="connsiteX95" fmla="*/ 37491 w 265732"/>
                <a:gd name="connsiteY95" fmla="*/ 342933 h 369053"/>
                <a:gd name="connsiteX96" fmla="*/ 37716 w 265732"/>
                <a:gd name="connsiteY96" fmla="*/ 342374 h 369053"/>
                <a:gd name="connsiteX97" fmla="*/ 37973 w 265732"/>
                <a:gd name="connsiteY97" fmla="*/ 251776 h 369053"/>
                <a:gd name="connsiteX98" fmla="*/ 37651 w 265732"/>
                <a:gd name="connsiteY98" fmla="*/ 252424 h 369053"/>
                <a:gd name="connsiteX99" fmla="*/ 37563 w 265732"/>
                <a:gd name="connsiteY99" fmla="*/ 253045 h 369053"/>
                <a:gd name="connsiteX100" fmla="*/ 37800 w 265732"/>
                <a:gd name="connsiteY100" fmla="*/ 253695 h 369053"/>
                <a:gd name="connsiteX101" fmla="*/ 39096 w 265732"/>
                <a:gd name="connsiteY101" fmla="*/ 253516 h 369053"/>
                <a:gd name="connsiteX102" fmla="*/ 40841 w 265732"/>
                <a:gd name="connsiteY102" fmla="*/ 252332 h 369053"/>
                <a:gd name="connsiteX103" fmla="*/ 42078 w 265732"/>
                <a:gd name="connsiteY103" fmla="*/ 252885 h 369053"/>
                <a:gd name="connsiteX104" fmla="*/ 41938 w 265732"/>
                <a:gd name="connsiteY104" fmla="*/ 254575 h 369053"/>
                <a:gd name="connsiteX105" fmla="*/ 41098 w 265732"/>
                <a:gd name="connsiteY105" fmla="*/ 254511 h 369053"/>
                <a:gd name="connsiteX106" fmla="*/ 40867 w 265732"/>
                <a:gd name="connsiteY106" fmla="*/ 254232 h 369053"/>
                <a:gd name="connsiteX107" fmla="*/ 39789 w 265732"/>
                <a:gd name="connsiteY107" fmla="*/ 255197 h 369053"/>
                <a:gd name="connsiteX108" fmla="*/ 39597 w 265732"/>
                <a:gd name="connsiteY108" fmla="*/ 255781 h 369053"/>
                <a:gd name="connsiteX109" fmla="*/ 38351 w 265732"/>
                <a:gd name="connsiteY109" fmla="*/ 256154 h 369053"/>
                <a:gd name="connsiteX110" fmla="*/ 36049 w 265732"/>
                <a:gd name="connsiteY110" fmla="*/ 254502 h 369053"/>
                <a:gd name="connsiteX111" fmla="*/ 34602 w 265732"/>
                <a:gd name="connsiteY111" fmla="*/ 251783 h 369053"/>
                <a:gd name="connsiteX112" fmla="*/ 116464 w 265732"/>
                <a:gd name="connsiteY112" fmla="*/ 187740 h 369053"/>
                <a:gd name="connsiteX113" fmla="*/ 120546 w 265732"/>
                <a:gd name="connsiteY113" fmla="*/ 188858 h 369053"/>
                <a:gd name="connsiteX114" fmla="*/ 121142 w 265732"/>
                <a:gd name="connsiteY114" fmla="*/ 189455 h 369053"/>
                <a:gd name="connsiteX115" fmla="*/ 118803 w 265732"/>
                <a:gd name="connsiteY115" fmla="*/ 189902 h 369053"/>
                <a:gd name="connsiteX116" fmla="*/ 117840 w 265732"/>
                <a:gd name="connsiteY116" fmla="*/ 191169 h 369053"/>
                <a:gd name="connsiteX117" fmla="*/ 114539 w 265732"/>
                <a:gd name="connsiteY117" fmla="*/ 192361 h 369053"/>
                <a:gd name="connsiteX118" fmla="*/ 111878 w 265732"/>
                <a:gd name="connsiteY118" fmla="*/ 191616 h 369053"/>
                <a:gd name="connsiteX119" fmla="*/ 111832 w 265732"/>
                <a:gd name="connsiteY119" fmla="*/ 189306 h 369053"/>
                <a:gd name="connsiteX120" fmla="*/ 113482 w 265732"/>
                <a:gd name="connsiteY120" fmla="*/ 188187 h 369053"/>
                <a:gd name="connsiteX121" fmla="*/ 181957 w 265732"/>
                <a:gd name="connsiteY121" fmla="*/ 0 h 369053"/>
                <a:gd name="connsiteX122" fmla="*/ 185099 w 265732"/>
                <a:gd name="connsiteY122" fmla="*/ 126 h 369053"/>
                <a:gd name="connsiteX123" fmla="*/ 188577 w 265732"/>
                <a:gd name="connsiteY123" fmla="*/ 3686 h 369053"/>
                <a:gd name="connsiteX124" fmla="*/ 193483 w 265732"/>
                <a:gd name="connsiteY124" fmla="*/ 7643 h 369053"/>
                <a:gd name="connsiteX125" fmla="*/ 196636 w 265732"/>
                <a:gd name="connsiteY125" fmla="*/ 9562 h 369053"/>
                <a:gd name="connsiteX126" fmla="*/ 205230 w 265732"/>
                <a:gd name="connsiteY126" fmla="*/ 13154 h 369053"/>
                <a:gd name="connsiteX127" fmla="*/ 212775 w 265732"/>
                <a:gd name="connsiteY127" fmla="*/ 15515 h 369053"/>
                <a:gd name="connsiteX128" fmla="*/ 217016 w 265732"/>
                <a:gd name="connsiteY128" fmla="*/ 23292 h 369053"/>
                <a:gd name="connsiteX129" fmla="*/ 214926 w 265732"/>
                <a:gd name="connsiteY129" fmla="*/ 26382 h 369053"/>
                <a:gd name="connsiteX130" fmla="*/ 213885 w 265732"/>
                <a:gd name="connsiteY130" fmla="*/ 27446 h 369053"/>
                <a:gd name="connsiteX131" fmla="*/ 210195 w 265732"/>
                <a:gd name="connsiteY131" fmla="*/ 30516 h 369053"/>
                <a:gd name="connsiteX132" fmla="*/ 206245 w 265732"/>
                <a:gd name="connsiteY132" fmla="*/ 34840 h 369053"/>
                <a:gd name="connsiteX133" fmla="*/ 205943 w 265732"/>
                <a:gd name="connsiteY133" fmla="*/ 37090 h 369053"/>
                <a:gd name="connsiteX134" fmla="*/ 207254 w 265732"/>
                <a:gd name="connsiteY134" fmla="*/ 39357 h 369053"/>
                <a:gd name="connsiteX135" fmla="*/ 208889 w 265732"/>
                <a:gd name="connsiteY135" fmla="*/ 40855 h 369053"/>
                <a:gd name="connsiteX136" fmla="*/ 207409 w 265732"/>
                <a:gd name="connsiteY136" fmla="*/ 41332 h 369053"/>
                <a:gd name="connsiteX137" fmla="*/ 202838 w 265732"/>
                <a:gd name="connsiteY137" fmla="*/ 43215 h 369053"/>
                <a:gd name="connsiteX138" fmla="*/ 200048 w 265732"/>
                <a:gd name="connsiteY138" fmla="*/ 44485 h 369053"/>
                <a:gd name="connsiteX139" fmla="*/ 196688 w 265732"/>
                <a:gd name="connsiteY139" fmla="*/ 45416 h 369053"/>
                <a:gd name="connsiteX140" fmla="*/ 197560 w 265732"/>
                <a:gd name="connsiteY140" fmla="*/ 46649 h 369053"/>
                <a:gd name="connsiteX141" fmla="*/ 203142 w 265732"/>
                <a:gd name="connsiteY141" fmla="*/ 46910 h 369053"/>
                <a:gd name="connsiteX142" fmla="*/ 204002 w 265732"/>
                <a:gd name="connsiteY142" fmla="*/ 47260 h 369053"/>
                <a:gd name="connsiteX143" fmla="*/ 204621 w 265732"/>
                <a:gd name="connsiteY143" fmla="*/ 47894 h 369053"/>
                <a:gd name="connsiteX144" fmla="*/ 204727 w 265732"/>
                <a:gd name="connsiteY144" fmla="*/ 48907 h 369053"/>
                <a:gd name="connsiteX145" fmla="*/ 204161 w 265732"/>
                <a:gd name="connsiteY145" fmla="*/ 50542 h 369053"/>
                <a:gd name="connsiteX146" fmla="*/ 198130 w 265732"/>
                <a:gd name="connsiteY146" fmla="*/ 59538 h 369053"/>
                <a:gd name="connsiteX147" fmla="*/ 197940 w 265732"/>
                <a:gd name="connsiteY147" fmla="*/ 61428 h 369053"/>
                <a:gd name="connsiteX148" fmla="*/ 199918 w 265732"/>
                <a:gd name="connsiteY148" fmla="*/ 66676 h 369053"/>
                <a:gd name="connsiteX149" fmla="*/ 202682 w 265732"/>
                <a:gd name="connsiteY149" fmla="*/ 72845 h 369053"/>
                <a:gd name="connsiteX150" fmla="*/ 211037 w 265732"/>
                <a:gd name="connsiteY150" fmla="*/ 75582 h 369053"/>
                <a:gd name="connsiteX151" fmla="*/ 217247 w 265732"/>
                <a:gd name="connsiteY151" fmla="*/ 77717 h 369053"/>
                <a:gd name="connsiteX152" fmla="*/ 221236 w 265732"/>
                <a:gd name="connsiteY152" fmla="*/ 82760 h 369053"/>
                <a:gd name="connsiteX153" fmla="*/ 227811 w 265732"/>
                <a:gd name="connsiteY153" fmla="*/ 89390 h 369053"/>
                <a:gd name="connsiteX154" fmla="*/ 231297 w 265732"/>
                <a:gd name="connsiteY154" fmla="*/ 91862 h 369053"/>
                <a:gd name="connsiteX155" fmla="*/ 231493 w 265732"/>
                <a:gd name="connsiteY155" fmla="*/ 92629 h 369053"/>
                <a:gd name="connsiteX156" fmla="*/ 230456 w 265732"/>
                <a:gd name="connsiteY156" fmla="*/ 97183 h 369053"/>
                <a:gd name="connsiteX157" fmla="*/ 226241 w 265732"/>
                <a:gd name="connsiteY157" fmla="*/ 101735 h 369053"/>
                <a:gd name="connsiteX158" fmla="*/ 222298 w 265732"/>
                <a:gd name="connsiteY158" fmla="*/ 105565 h 369053"/>
                <a:gd name="connsiteX159" fmla="*/ 218217 w 265732"/>
                <a:gd name="connsiteY159" fmla="*/ 110170 h 369053"/>
                <a:gd name="connsiteX160" fmla="*/ 215025 w 265732"/>
                <a:gd name="connsiteY160" fmla="*/ 114087 h 369053"/>
                <a:gd name="connsiteX161" fmla="*/ 211568 w 265732"/>
                <a:gd name="connsiteY161" fmla="*/ 118772 h 369053"/>
                <a:gd name="connsiteX162" fmla="*/ 211171 w 265732"/>
                <a:gd name="connsiteY162" fmla="*/ 120288 h 369053"/>
                <a:gd name="connsiteX163" fmla="*/ 211108 w 265732"/>
                <a:gd name="connsiteY163" fmla="*/ 121719 h 369053"/>
                <a:gd name="connsiteX164" fmla="*/ 211702 w 265732"/>
                <a:gd name="connsiteY164" fmla="*/ 123300 h 369053"/>
                <a:gd name="connsiteX165" fmla="*/ 216129 w 265732"/>
                <a:gd name="connsiteY165" fmla="*/ 129002 h 369053"/>
                <a:gd name="connsiteX166" fmla="*/ 217852 w 265732"/>
                <a:gd name="connsiteY166" fmla="*/ 131908 h 369053"/>
                <a:gd name="connsiteX167" fmla="*/ 219912 w 265732"/>
                <a:gd name="connsiteY167" fmla="*/ 135045 h 369053"/>
                <a:gd name="connsiteX168" fmla="*/ 221680 w 265732"/>
                <a:gd name="connsiteY168" fmla="*/ 138458 h 369053"/>
                <a:gd name="connsiteX169" fmla="*/ 222706 w 265732"/>
                <a:gd name="connsiteY169" fmla="*/ 141510 h 369053"/>
                <a:gd name="connsiteX170" fmla="*/ 224479 w 265732"/>
                <a:gd name="connsiteY170" fmla="*/ 144480 h 369053"/>
                <a:gd name="connsiteX171" fmla="*/ 225581 w 265732"/>
                <a:gd name="connsiteY171" fmla="*/ 145996 h 369053"/>
                <a:gd name="connsiteX172" fmla="*/ 227411 w 265732"/>
                <a:gd name="connsiteY172" fmla="*/ 148118 h 369053"/>
                <a:gd name="connsiteX173" fmla="*/ 229621 w 265732"/>
                <a:gd name="connsiteY173" fmla="*/ 151271 h 369053"/>
                <a:gd name="connsiteX174" fmla="*/ 230355 w 265732"/>
                <a:gd name="connsiteY174" fmla="*/ 153765 h 369053"/>
                <a:gd name="connsiteX175" fmla="*/ 233691 w 265732"/>
                <a:gd name="connsiteY175" fmla="*/ 162396 h 369053"/>
                <a:gd name="connsiteX176" fmla="*/ 234028 w 265732"/>
                <a:gd name="connsiteY176" fmla="*/ 164590 h 369053"/>
                <a:gd name="connsiteX177" fmla="*/ 233864 w 265732"/>
                <a:gd name="connsiteY177" fmla="*/ 166212 h 369053"/>
                <a:gd name="connsiteX178" fmla="*/ 232398 w 265732"/>
                <a:gd name="connsiteY178" fmla="*/ 166611 h 369053"/>
                <a:gd name="connsiteX179" fmla="*/ 229161 w 265732"/>
                <a:gd name="connsiteY179" fmla="*/ 166869 h 369053"/>
                <a:gd name="connsiteX180" fmla="*/ 225652 w 265732"/>
                <a:gd name="connsiteY180" fmla="*/ 167931 h 369053"/>
                <a:gd name="connsiteX181" fmla="*/ 225475 w 265732"/>
                <a:gd name="connsiteY181" fmla="*/ 168288 h 369053"/>
                <a:gd name="connsiteX182" fmla="*/ 227764 w 265732"/>
                <a:gd name="connsiteY182" fmla="*/ 170314 h 369053"/>
                <a:gd name="connsiteX183" fmla="*/ 225742 w 265732"/>
                <a:gd name="connsiteY183" fmla="*/ 173770 h 369053"/>
                <a:gd name="connsiteX184" fmla="*/ 225451 w 265732"/>
                <a:gd name="connsiteY184" fmla="*/ 178707 h 369053"/>
                <a:gd name="connsiteX185" fmla="*/ 223292 w 265732"/>
                <a:gd name="connsiteY185" fmla="*/ 181294 h 369053"/>
                <a:gd name="connsiteX186" fmla="*/ 223088 w 265732"/>
                <a:gd name="connsiteY186" fmla="*/ 181895 h 369053"/>
                <a:gd name="connsiteX187" fmla="*/ 223186 w 265732"/>
                <a:gd name="connsiteY187" fmla="*/ 182397 h 369053"/>
                <a:gd name="connsiteX188" fmla="*/ 223568 w 265732"/>
                <a:gd name="connsiteY188" fmla="*/ 182789 h 369053"/>
                <a:gd name="connsiteX189" fmla="*/ 227567 w 265732"/>
                <a:gd name="connsiteY189" fmla="*/ 183479 h 369053"/>
                <a:gd name="connsiteX190" fmla="*/ 227913 w 265732"/>
                <a:gd name="connsiteY190" fmla="*/ 184180 h 369053"/>
                <a:gd name="connsiteX191" fmla="*/ 227930 w 265732"/>
                <a:gd name="connsiteY191" fmla="*/ 185629 h 369053"/>
                <a:gd name="connsiteX192" fmla="*/ 227573 w 265732"/>
                <a:gd name="connsiteY192" fmla="*/ 186967 h 369053"/>
                <a:gd name="connsiteX193" fmla="*/ 225565 w 265732"/>
                <a:gd name="connsiteY193" fmla="*/ 187959 h 369053"/>
                <a:gd name="connsiteX194" fmla="*/ 223408 w 265732"/>
                <a:gd name="connsiteY194" fmla="*/ 189427 h 369053"/>
                <a:gd name="connsiteX195" fmla="*/ 222931 w 265732"/>
                <a:gd name="connsiteY195" fmla="*/ 190776 h 369053"/>
                <a:gd name="connsiteX196" fmla="*/ 223004 w 265732"/>
                <a:gd name="connsiteY196" fmla="*/ 191980 h 369053"/>
                <a:gd name="connsiteX197" fmla="*/ 223741 w 265732"/>
                <a:gd name="connsiteY197" fmla="*/ 194013 h 369053"/>
                <a:gd name="connsiteX198" fmla="*/ 225159 w 265732"/>
                <a:gd name="connsiteY198" fmla="*/ 196379 h 369053"/>
                <a:gd name="connsiteX199" fmla="*/ 226963 w 265732"/>
                <a:gd name="connsiteY199" fmla="*/ 197863 h 369053"/>
                <a:gd name="connsiteX200" fmla="*/ 233367 w 265732"/>
                <a:gd name="connsiteY200" fmla="*/ 199267 h 369053"/>
                <a:gd name="connsiteX201" fmla="*/ 234194 w 265732"/>
                <a:gd name="connsiteY201" fmla="*/ 200428 h 369053"/>
                <a:gd name="connsiteX202" fmla="*/ 234546 w 265732"/>
                <a:gd name="connsiteY202" fmla="*/ 202018 h 369053"/>
                <a:gd name="connsiteX203" fmla="*/ 234412 w 265732"/>
                <a:gd name="connsiteY203" fmla="*/ 203569 h 369053"/>
                <a:gd name="connsiteX204" fmla="*/ 231437 w 265732"/>
                <a:gd name="connsiteY204" fmla="*/ 206669 h 369053"/>
                <a:gd name="connsiteX205" fmla="*/ 231460 w 265732"/>
                <a:gd name="connsiteY205" fmla="*/ 207860 h 369053"/>
                <a:gd name="connsiteX206" fmla="*/ 232682 w 265732"/>
                <a:gd name="connsiteY206" fmla="*/ 210740 h 369053"/>
                <a:gd name="connsiteX207" fmla="*/ 234147 w 265732"/>
                <a:gd name="connsiteY207" fmla="*/ 213485 h 369053"/>
                <a:gd name="connsiteX208" fmla="*/ 240394 w 265732"/>
                <a:gd name="connsiteY208" fmla="*/ 216455 h 369053"/>
                <a:gd name="connsiteX209" fmla="*/ 242545 w 265732"/>
                <a:gd name="connsiteY209" fmla="*/ 218082 h 369053"/>
                <a:gd name="connsiteX210" fmla="*/ 243117 w 265732"/>
                <a:gd name="connsiteY210" fmla="*/ 219376 h 369053"/>
                <a:gd name="connsiteX211" fmla="*/ 243430 w 265732"/>
                <a:gd name="connsiteY211" fmla="*/ 221460 h 369053"/>
                <a:gd name="connsiteX212" fmla="*/ 243389 w 265732"/>
                <a:gd name="connsiteY212" fmla="*/ 223717 h 369053"/>
                <a:gd name="connsiteX213" fmla="*/ 242899 w 265732"/>
                <a:gd name="connsiteY213" fmla="*/ 225719 h 369053"/>
                <a:gd name="connsiteX214" fmla="*/ 240940 w 265732"/>
                <a:gd name="connsiteY214" fmla="*/ 228298 h 369053"/>
                <a:gd name="connsiteX215" fmla="*/ 236406 w 265732"/>
                <a:gd name="connsiteY215" fmla="*/ 233375 h 369053"/>
                <a:gd name="connsiteX216" fmla="*/ 231847 w 265732"/>
                <a:gd name="connsiteY216" fmla="*/ 235344 h 369053"/>
                <a:gd name="connsiteX217" fmla="*/ 231569 w 265732"/>
                <a:gd name="connsiteY217" fmla="*/ 235771 h 369053"/>
                <a:gd name="connsiteX218" fmla="*/ 232981 w 265732"/>
                <a:gd name="connsiteY218" fmla="*/ 237391 h 369053"/>
                <a:gd name="connsiteX219" fmla="*/ 241011 w 265732"/>
                <a:gd name="connsiteY219" fmla="*/ 243873 h 369053"/>
                <a:gd name="connsiteX220" fmla="*/ 246246 w 265732"/>
                <a:gd name="connsiteY220" fmla="*/ 246900 h 369053"/>
                <a:gd name="connsiteX221" fmla="*/ 253311 w 265732"/>
                <a:gd name="connsiteY221" fmla="*/ 250978 h 369053"/>
                <a:gd name="connsiteX222" fmla="*/ 257868 w 265732"/>
                <a:gd name="connsiteY222" fmla="*/ 254194 h 369053"/>
                <a:gd name="connsiteX223" fmla="*/ 259340 w 265732"/>
                <a:gd name="connsiteY223" fmla="*/ 256505 h 369053"/>
                <a:gd name="connsiteX224" fmla="*/ 261314 w 265732"/>
                <a:gd name="connsiteY224" fmla="*/ 259071 h 369053"/>
                <a:gd name="connsiteX225" fmla="*/ 263532 w 265732"/>
                <a:gd name="connsiteY225" fmla="*/ 261166 h 369053"/>
                <a:gd name="connsiteX226" fmla="*/ 265130 w 265732"/>
                <a:gd name="connsiteY226" fmla="*/ 262982 h 369053"/>
                <a:gd name="connsiteX227" fmla="*/ 265732 w 265732"/>
                <a:gd name="connsiteY227" fmla="*/ 264150 h 369053"/>
                <a:gd name="connsiteX228" fmla="*/ 265676 w 265732"/>
                <a:gd name="connsiteY228" fmla="*/ 265405 h 369053"/>
                <a:gd name="connsiteX229" fmla="*/ 263538 w 265732"/>
                <a:gd name="connsiteY229" fmla="*/ 269185 h 369053"/>
                <a:gd name="connsiteX230" fmla="*/ 262324 w 265732"/>
                <a:gd name="connsiteY230" fmla="*/ 272102 h 369053"/>
                <a:gd name="connsiteX231" fmla="*/ 260185 w 265732"/>
                <a:gd name="connsiteY231" fmla="*/ 276371 h 369053"/>
                <a:gd name="connsiteX232" fmla="*/ 257997 w 265732"/>
                <a:gd name="connsiteY232" fmla="*/ 279345 h 369053"/>
                <a:gd name="connsiteX233" fmla="*/ 252448 w 265732"/>
                <a:gd name="connsiteY233" fmla="*/ 284759 h 369053"/>
                <a:gd name="connsiteX234" fmla="*/ 244264 w 265732"/>
                <a:gd name="connsiteY234" fmla="*/ 291477 h 369053"/>
                <a:gd name="connsiteX235" fmla="*/ 242363 w 265732"/>
                <a:gd name="connsiteY235" fmla="*/ 293506 h 369053"/>
                <a:gd name="connsiteX236" fmla="*/ 238533 w 265732"/>
                <a:gd name="connsiteY236" fmla="*/ 297034 h 369053"/>
                <a:gd name="connsiteX237" fmla="*/ 231977 w 265732"/>
                <a:gd name="connsiteY237" fmla="*/ 304096 h 369053"/>
                <a:gd name="connsiteX238" fmla="*/ 230279 w 265732"/>
                <a:gd name="connsiteY238" fmla="*/ 305652 h 369053"/>
                <a:gd name="connsiteX239" fmla="*/ 224905 w 265732"/>
                <a:gd name="connsiteY239" fmla="*/ 311263 h 369053"/>
                <a:gd name="connsiteX240" fmla="*/ 222456 w 265732"/>
                <a:gd name="connsiteY240" fmla="*/ 313045 h 369053"/>
                <a:gd name="connsiteX241" fmla="*/ 220532 w 265732"/>
                <a:gd name="connsiteY241" fmla="*/ 314710 h 369053"/>
                <a:gd name="connsiteX242" fmla="*/ 215209 w 265732"/>
                <a:gd name="connsiteY242" fmla="*/ 319993 h 369053"/>
                <a:gd name="connsiteX243" fmla="*/ 209489 w 265732"/>
                <a:gd name="connsiteY243" fmla="*/ 323994 h 369053"/>
                <a:gd name="connsiteX244" fmla="*/ 203874 w 265732"/>
                <a:gd name="connsiteY244" fmla="*/ 327703 h 369053"/>
                <a:gd name="connsiteX245" fmla="*/ 202190 w 265732"/>
                <a:gd name="connsiteY245" fmla="*/ 329581 h 369053"/>
                <a:gd name="connsiteX246" fmla="*/ 200095 w 265732"/>
                <a:gd name="connsiteY246" fmla="*/ 331012 h 369053"/>
                <a:gd name="connsiteX247" fmla="*/ 197595 w 265732"/>
                <a:gd name="connsiteY247" fmla="*/ 332372 h 369053"/>
                <a:gd name="connsiteX248" fmla="*/ 196541 w 265732"/>
                <a:gd name="connsiteY248" fmla="*/ 333134 h 369053"/>
                <a:gd name="connsiteX249" fmla="*/ 190892 w 265732"/>
                <a:gd name="connsiteY249" fmla="*/ 338191 h 369053"/>
                <a:gd name="connsiteX250" fmla="*/ 183058 w 265732"/>
                <a:gd name="connsiteY250" fmla="*/ 345191 h 369053"/>
                <a:gd name="connsiteX251" fmla="*/ 182261 w 265732"/>
                <a:gd name="connsiteY251" fmla="*/ 345300 h 369053"/>
                <a:gd name="connsiteX252" fmla="*/ 180221 w 265732"/>
                <a:gd name="connsiteY252" fmla="*/ 346429 h 369053"/>
                <a:gd name="connsiteX253" fmla="*/ 177031 w 265732"/>
                <a:gd name="connsiteY253" fmla="*/ 346702 h 369053"/>
                <a:gd name="connsiteX254" fmla="*/ 175645 w 265732"/>
                <a:gd name="connsiteY254" fmla="*/ 347565 h 369053"/>
                <a:gd name="connsiteX255" fmla="*/ 170769 w 265732"/>
                <a:gd name="connsiteY255" fmla="*/ 345106 h 369053"/>
                <a:gd name="connsiteX256" fmla="*/ 169959 w 265732"/>
                <a:gd name="connsiteY256" fmla="*/ 344947 h 369053"/>
                <a:gd name="connsiteX257" fmla="*/ 167092 w 265732"/>
                <a:gd name="connsiteY257" fmla="*/ 345557 h 369053"/>
                <a:gd name="connsiteX258" fmla="*/ 164340 w 265732"/>
                <a:gd name="connsiteY258" fmla="*/ 347344 h 369053"/>
                <a:gd name="connsiteX259" fmla="*/ 159261 w 265732"/>
                <a:gd name="connsiteY259" fmla="*/ 347890 h 369053"/>
                <a:gd name="connsiteX260" fmla="*/ 156739 w 265732"/>
                <a:gd name="connsiteY260" fmla="*/ 348469 h 369053"/>
                <a:gd name="connsiteX261" fmla="*/ 155131 w 265732"/>
                <a:gd name="connsiteY261" fmla="*/ 349294 h 369053"/>
                <a:gd name="connsiteX262" fmla="*/ 154800 w 265732"/>
                <a:gd name="connsiteY262" fmla="*/ 347341 h 369053"/>
                <a:gd name="connsiteX263" fmla="*/ 155495 w 265732"/>
                <a:gd name="connsiteY263" fmla="*/ 344862 h 369053"/>
                <a:gd name="connsiteX264" fmla="*/ 156614 w 265732"/>
                <a:gd name="connsiteY264" fmla="*/ 343208 h 369053"/>
                <a:gd name="connsiteX265" fmla="*/ 156718 w 265732"/>
                <a:gd name="connsiteY265" fmla="*/ 342130 h 369053"/>
                <a:gd name="connsiteX266" fmla="*/ 155897 w 265732"/>
                <a:gd name="connsiteY266" fmla="*/ 342242 h 369053"/>
                <a:gd name="connsiteX267" fmla="*/ 154271 w 265732"/>
                <a:gd name="connsiteY267" fmla="*/ 344669 h 369053"/>
                <a:gd name="connsiteX268" fmla="*/ 153401 w 265732"/>
                <a:gd name="connsiteY268" fmla="*/ 347500 h 369053"/>
                <a:gd name="connsiteX269" fmla="*/ 151660 w 265732"/>
                <a:gd name="connsiteY269" fmla="*/ 348922 h 369053"/>
                <a:gd name="connsiteX270" fmla="*/ 147834 w 265732"/>
                <a:gd name="connsiteY270" fmla="*/ 349503 h 369053"/>
                <a:gd name="connsiteX271" fmla="*/ 144105 w 265732"/>
                <a:gd name="connsiteY271" fmla="*/ 347230 h 369053"/>
                <a:gd name="connsiteX272" fmla="*/ 142334 w 265732"/>
                <a:gd name="connsiteY272" fmla="*/ 347253 h 369053"/>
                <a:gd name="connsiteX273" fmla="*/ 143446 w 265732"/>
                <a:gd name="connsiteY273" fmla="*/ 348881 h 369053"/>
                <a:gd name="connsiteX274" fmla="*/ 144198 w 265732"/>
                <a:gd name="connsiteY274" fmla="*/ 350667 h 369053"/>
                <a:gd name="connsiteX275" fmla="*/ 144100 w 265732"/>
                <a:gd name="connsiteY275" fmla="*/ 351667 h 369053"/>
                <a:gd name="connsiteX276" fmla="*/ 142112 w 265732"/>
                <a:gd name="connsiteY276" fmla="*/ 351491 h 369053"/>
                <a:gd name="connsiteX277" fmla="*/ 139898 w 265732"/>
                <a:gd name="connsiteY277" fmla="*/ 352561 h 369053"/>
                <a:gd name="connsiteX278" fmla="*/ 137957 w 265732"/>
                <a:gd name="connsiteY278" fmla="*/ 354123 h 369053"/>
                <a:gd name="connsiteX279" fmla="*/ 137015 w 265732"/>
                <a:gd name="connsiteY279" fmla="*/ 354126 h 369053"/>
                <a:gd name="connsiteX280" fmla="*/ 135711 w 265732"/>
                <a:gd name="connsiteY280" fmla="*/ 351943 h 369053"/>
                <a:gd name="connsiteX281" fmla="*/ 133318 w 265732"/>
                <a:gd name="connsiteY281" fmla="*/ 352962 h 369053"/>
                <a:gd name="connsiteX282" fmla="*/ 131274 w 265732"/>
                <a:gd name="connsiteY282" fmla="*/ 354332 h 369053"/>
                <a:gd name="connsiteX283" fmla="*/ 127119 w 265732"/>
                <a:gd name="connsiteY283" fmla="*/ 354760 h 369053"/>
                <a:gd name="connsiteX284" fmla="*/ 124642 w 265732"/>
                <a:gd name="connsiteY284" fmla="*/ 356559 h 369053"/>
                <a:gd name="connsiteX285" fmla="*/ 120259 w 265732"/>
                <a:gd name="connsiteY285" fmla="*/ 357772 h 369053"/>
                <a:gd name="connsiteX286" fmla="*/ 117851 w 265732"/>
                <a:gd name="connsiteY286" fmla="*/ 357743 h 369053"/>
                <a:gd name="connsiteX287" fmla="*/ 112362 w 265732"/>
                <a:gd name="connsiteY287" fmla="*/ 359203 h 369053"/>
                <a:gd name="connsiteX288" fmla="*/ 110537 w 265732"/>
                <a:gd name="connsiteY288" fmla="*/ 361452 h 369053"/>
                <a:gd name="connsiteX289" fmla="*/ 108937 w 265732"/>
                <a:gd name="connsiteY289" fmla="*/ 362279 h 369053"/>
                <a:gd name="connsiteX290" fmla="*/ 106659 w 265732"/>
                <a:gd name="connsiteY290" fmla="*/ 361583 h 369053"/>
                <a:gd name="connsiteX291" fmla="*/ 99641 w 265732"/>
                <a:gd name="connsiteY291" fmla="*/ 362679 h 369053"/>
                <a:gd name="connsiteX292" fmla="*/ 92932 w 265732"/>
                <a:gd name="connsiteY292" fmla="*/ 364116 h 369053"/>
                <a:gd name="connsiteX293" fmla="*/ 90077 w 265732"/>
                <a:gd name="connsiteY293" fmla="*/ 364034 h 369053"/>
                <a:gd name="connsiteX294" fmla="*/ 87222 w 265732"/>
                <a:gd name="connsiteY294" fmla="*/ 363437 h 369053"/>
                <a:gd name="connsiteX295" fmla="*/ 84197 w 265732"/>
                <a:gd name="connsiteY295" fmla="*/ 365433 h 369053"/>
                <a:gd name="connsiteX296" fmla="*/ 80984 w 265732"/>
                <a:gd name="connsiteY296" fmla="*/ 368101 h 369053"/>
                <a:gd name="connsiteX297" fmla="*/ 77442 w 265732"/>
                <a:gd name="connsiteY297" fmla="*/ 369053 h 369053"/>
                <a:gd name="connsiteX298" fmla="*/ 76173 w 265732"/>
                <a:gd name="connsiteY298" fmla="*/ 368712 h 369053"/>
                <a:gd name="connsiteX299" fmla="*/ 77187 w 265732"/>
                <a:gd name="connsiteY299" fmla="*/ 367314 h 369053"/>
                <a:gd name="connsiteX300" fmla="*/ 79531 w 265732"/>
                <a:gd name="connsiteY300" fmla="*/ 365865 h 369053"/>
                <a:gd name="connsiteX301" fmla="*/ 81139 w 265732"/>
                <a:gd name="connsiteY301" fmla="*/ 363900 h 369053"/>
                <a:gd name="connsiteX302" fmla="*/ 81360 w 265732"/>
                <a:gd name="connsiteY302" fmla="*/ 362261 h 369053"/>
                <a:gd name="connsiteX303" fmla="*/ 80254 w 265732"/>
                <a:gd name="connsiteY303" fmla="*/ 361617 h 369053"/>
                <a:gd name="connsiteX304" fmla="*/ 78744 w 265732"/>
                <a:gd name="connsiteY304" fmla="*/ 361420 h 369053"/>
                <a:gd name="connsiteX305" fmla="*/ 76842 w 265732"/>
                <a:gd name="connsiteY305" fmla="*/ 359723 h 369053"/>
                <a:gd name="connsiteX306" fmla="*/ 75019 w 265732"/>
                <a:gd name="connsiteY306" fmla="*/ 356041 h 369053"/>
                <a:gd name="connsiteX307" fmla="*/ 74032 w 265732"/>
                <a:gd name="connsiteY307" fmla="*/ 355838 h 369053"/>
                <a:gd name="connsiteX308" fmla="*/ 73532 w 265732"/>
                <a:gd name="connsiteY308" fmla="*/ 356806 h 369053"/>
                <a:gd name="connsiteX309" fmla="*/ 72972 w 265732"/>
                <a:gd name="connsiteY309" fmla="*/ 359630 h 369053"/>
                <a:gd name="connsiteX310" fmla="*/ 72404 w 265732"/>
                <a:gd name="connsiteY310" fmla="*/ 360443 h 369053"/>
                <a:gd name="connsiteX311" fmla="*/ 71439 w 265732"/>
                <a:gd name="connsiteY311" fmla="*/ 361089 h 369053"/>
                <a:gd name="connsiteX312" fmla="*/ 70280 w 265732"/>
                <a:gd name="connsiteY312" fmla="*/ 361739 h 369053"/>
                <a:gd name="connsiteX313" fmla="*/ 69148 w 265732"/>
                <a:gd name="connsiteY313" fmla="*/ 362056 h 369053"/>
                <a:gd name="connsiteX314" fmla="*/ 65091 w 265732"/>
                <a:gd name="connsiteY314" fmla="*/ 362017 h 369053"/>
                <a:gd name="connsiteX315" fmla="*/ 64557 w 265732"/>
                <a:gd name="connsiteY315" fmla="*/ 360593 h 369053"/>
                <a:gd name="connsiteX316" fmla="*/ 64557 w 265732"/>
                <a:gd name="connsiteY316" fmla="*/ 359997 h 369053"/>
                <a:gd name="connsiteX317" fmla="*/ 65276 w 265732"/>
                <a:gd name="connsiteY317" fmla="*/ 358120 h 369053"/>
                <a:gd name="connsiteX318" fmla="*/ 64648 w 265732"/>
                <a:gd name="connsiteY318" fmla="*/ 357792 h 369053"/>
                <a:gd name="connsiteX319" fmla="*/ 65246 w 265732"/>
                <a:gd name="connsiteY319" fmla="*/ 356319 h 369053"/>
                <a:gd name="connsiteX320" fmla="*/ 66203 w 265732"/>
                <a:gd name="connsiteY320" fmla="*/ 356398 h 369053"/>
                <a:gd name="connsiteX321" fmla="*/ 67336 w 265732"/>
                <a:gd name="connsiteY321" fmla="*/ 356180 h 369053"/>
                <a:gd name="connsiteX322" fmla="*/ 67904 w 265732"/>
                <a:gd name="connsiteY322" fmla="*/ 355422 h 369053"/>
                <a:gd name="connsiteX323" fmla="*/ 67861 w 265732"/>
                <a:gd name="connsiteY323" fmla="*/ 354517 h 369053"/>
                <a:gd name="connsiteX324" fmla="*/ 66285 w 265732"/>
                <a:gd name="connsiteY324" fmla="*/ 354282 h 369053"/>
                <a:gd name="connsiteX325" fmla="*/ 66188 w 265732"/>
                <a:gd name="connsiteY325" fmla="*/ 353664 h 369053"/>
                <a:gd name="connsiteX326" fmla="*/ 67593 w 265732"/>
                <a:gd name="connsiteY326" fmla="*/ 351083 h 369053"/>
                <a:gd name="connsiteX327" fmla="*/ 67794 w 265732"/>
                <a:gd name="connsiteY327" fmla="*/ 350369 h 369053"/>
                <a:gd name="connsiteX328" fmla="*/ 67250 w 265732"/>
                <a:gd name="connsiteY328" fmla="*/ 350221 h 369053"/>
                <a:gd name="connsiteX329" fmla="*/ 66369 w 265732"/>
                <a:gd name="connsiteY329" fmla="*/ 350502 h 369053"/>
                <a:gd name="connsiteX330" fmla="*/ 60562 w 265732"/>
                <a:gd name="connsiteY330" fmla="*/ 349692 h 369053"/>
                <a:gd name="connsiteX331" fmla="*/ 53400 w 265732"/>
                <a:gd name="connsiteY331" fmla="*/ 346385 h 369053"/>
                <a:gd name="connsiteX332" fmla="*/ 51638 w 265732"/>
                <a:gd name="connsiteY332" fmla="*/ 346214 h 369053"/>
                <a:gd name="connsiteX333" fmla="*/ 50554 w 265732"/>
                <a:gd name="connsiteY333" fmla="*/ 343257 h 369053"/>
                <a:gd name="connsiteX334" fmla="*/ 48826 w 265732"/>
                <a:gd name="connsiteY334" fmla="*/ 343632 h 369053"/>
                <a:gd name="connsiteX335" fmla="*/ 46308 w 265732"/>
                <a:gd name="connsiteY335" fmla="*/ 345363 h 369053"/>
                <a:gd name="connsiteX336" fmla="*/ 44419 w 265732"/>
                <a:gd name="connsiteY336" fmla="*/ 344048 h 369053"/>
                <a:gd name="connsiteX337" fmla="*/ 42389 w 265732"/>
                <a:gd name="connsiteY337" fmla="*/ 343182 h 369053"/>
                <a:gd name="connsiteX338" fmla="*/ 41827 w 265732"/>
                <a:gd name="connsiteY338" fmla="*/ 341828 h 369053"/>
                <a:gd name="connsiteX339" fmla="*/ 41856 w 265732"/>
                <a:gd name="connsiteY339" fmla="*/ 339829 h 369053"/>
                <a:gd name="connsiteX340" fmla="*/ 41681 w 265732"/>
                <a:gd name="connsiteY340" fmla="*/ 337469 h 369053"/>
                <a:gd name="connsiteX341" fmla="*/ 41126 w 265732"/>
                <a:gd name="connsiteY341" fmla="*/ 334704 h 369053"/>
                <a:gd name="connsiteX342" fmla="*/ 40720 w 265732"/>
                <a:gd name="connsiteY342" fmla="*/ 330768 h 369053"/>
                <a:gd name="connsiteX343" fmla="*/ 41100 w 265732"/>
                <a:gd name="connsiteY343" fmla="*/ 327687 h 369053"/>
                <a:gd name="connsiteX344" fmla="*/ 42719 w 265732"/>
                <a:gd name="connsiteY344" fmla="*/ 325403 h 369053"/>
                <a:gd name="connsiteX345" fmla="*/ 43341 w 265732"/>
                <a:gd name="connsiteY345" fmla="*/ 323944 h 369053"/>
                <a:gd name="connsiteX346" fmla="*/ 44101 w 265732"/>
                <a:gd name="connsiteY346" fmla="*/ 320215 h 369053"/>
                <a:gd name="connsiteX347" fmla="*/ 44272 w 265732"/>
                <a:gd name="connsiteY347" fmla="*/ 315839 h 369053"/>
                <a:gd name="connsiteX348" fmla="*/ 43842 w 265732"/>
                <a:gd name="connsiteY348" fmla="*/ 314347 h 369053"/>
                <a:gd name="connsiteX349" fmla="*/ 43950 w 265732"/>
                <a:gd name="connsiteY349" fmla="*/ 313354 h 369053"/>
                <a:gd name="connsiteX350" fmla="*/ 45242 w 265732"/>
                <a:gd name="connsiteY350" fmla="*/ 313354 h 369053"/>
                <a:gd name="connsiteX351" fmla="*/ 44961 w 265732"/>
                <a:gd name="connsiteY351" fmla="*/ 312502 h 369053"/>
                <a:gd name="connsiteX352" fmla="*/ 44393 w 265732"/>
                <a:gd name="connsiteY352" fmla="*/ 312035 h 369053"/>
                <a:gd name="connsiteX353" fmla="*/ 43765 w 265732"/>
                <a:gd name="connsiteY353" fmla="*/ 311065 h 369053"/>
                <a:gd name="connsiteX354" fmla="*/ 44300 w 265732"/>
                <a:gd name="connsiteY354" fmla="*/ 310551 h 369053"/>
                <a:gd name="connsiteX355" fmla="*/ 45846 w 265732"/>
                <a:gd name="connsiteY355" fmla="*/ 310514 h 369053"/>
                <a:gd name="connsiteX356" fmla="*/ 45971 w 265732"/>
                <a:gd name="connsiteY356" fmla="*/ 310187 h 369053"/>
                <a:gd name="connsiteX357" fmla="*/ 46146 w 265732"/>
                <a:gd name="connsiteY357" fmla="*/ 309723 h 369053"/>
                <a:gd name="connsiteX358" fmla="*/ 44950 w 265732"/>
                <a:gd name="connsiteY358" fmla="*/ 307170 h 369053"/>
                <a:gd name="connsiteX359" fmla="*/ 44812 w 265732"/>
                <a:gd name="connsiteY359" fmla="*/ 305952 h 369053"/>
                <a:gd name="connsiteX360" fmla="*/ 43151 w 265732"/>
                <a:gd name="connsiteY360" fmla="*/ 302250 h 369053"/>
                <a:gd name="connsiteX361" fmla="*/ 41257 w 265732"/>
                <a:gd name="connsiteY361" fmla="*/ 298735 h 369053"/>
                <a:gd name="connsiteX362" fmla="*/ 38407 w 265732"/>
                <a:gd name="connsiteY362" fmla="*/ 296188 h 369053"/>
                <a:gd name="connsiteX363" fmla="*/ 39418 w 265732"/>
                <a:gd name="connsiteY363" fmla="*/ 291988 h 369053"/>
                <a:gd name="connsiteX364" fmla="*/ 40569 w 265732"/>
                <a:gd name="connsiteY364" fmla="*/ 288184 h 369053"/>
                <a:gd name="connsiteX365" fmla="*/ 40340 w 265732"/>
                <a:gd name="connsiteY365" fmla="*/ 286349 h 369053"/>
                <a:gd name="connsiteX366" fmla="*/ 39899 w 265732"/>
                <a:gd name="connsiteY366" fmla="*/ 284114 h 369053"/>
                <a:gd name="connsiteX367" fmla="*/ 36410 w 265732"/>
                <a:gd name="connsiteY367" fmla="*/ 281660 h 369053"/>
                <a:gd name="connsiteX368" fmla="*/ 35891 w 265732"/>
                <a:gd name="connsiteY368" fmla="*/ 278196 h 369053"/>
                <a:gd name="connsiteX369" fmla="*/ 35038 w 265732"/>
                <a:gd name="connsiteY369" fmla="*/ 274472 h 369053"/>
                <a:gd name="connsiteX370" fmla="*/ 35360 w 265732"/>
                <a:gd name="connsiteY370" fmla="*/ 272185 h 369053"/>
                <a:gd name="connsiteX371" fmla="*/ 35928 w 265732"/>
                <a:gd name="connsiteY371" fmla="*/ 270433 h 369053"/>
                <a:gd name="connsiteX372" fmla="*/ 37075 w 265732"/>
                <a:gd name="connsiteY372" fmla="*/ 268687 h 369053"/>
                <a:gd name="connsiteX373" fmla="*/ 42864 w 265732"/>
                <a:gd name="connsiteY373" fmla="*/ 263167 h 369053"/>
                <a:gd name="connsiteX374" fmla="*/ 43218 w 265732"/>
                <a:gd name="connsiteY374" fmla="*/ 260279 h 369053"/>
                <a:gd name="connsiteX375" fmla="*/ 47142 w 265732"/>
                <a:gd name="connsiteY375" fmla="*/ 260069 h 369053"/>
                <a:gd name="connsiteX376" fmla="*/ 45321 w 265732"/>
                <a:gd name="connsiteY376" fmla="*/ 257484 h 369053"/>
                <a:gd name="connsiteX377" fmla="*/ 44892 w 265732"/>
                <a:gd name="connsiteY377" fmla="*/ 256031 h 369053"/>
                <a:gd name="connsiteX378" fmla="*/ 44801 w 265732"/>
                <a:gd name="connsiteY378" fmla="*/ 254334 h 369053"/>
                <a:gd name="connsiteX379" fmla="*/ 50446 w 265732"/>
                <a:gd name="connsiteY379" fmla="*/ 253171 h 369053"/>
                <a:gd name="connsiteX380" fmla="*/ 52553 w 265732"/>
                <a:gd name="connsiteY380" fmla="*/ 254126 h 369053"/>
                <a:gd name="connsiteX381" fmla="*/ 57520 w 265732"/>
                <a:gd name="connsiteY381" fmla="*/ 252946 h 369053"/>
                <a:gd name="connsiteX382" fmla="*/ 61929 w 265732"/>
                <a:gd name="connsiteY382" fmla="*/ 250636 h 369053"/>
                <a:gd name="connsiteX383" fmla="*/ 61851 w 265732"/>
                <a:gd name="connsiteY383" fmla="*/ 249407 h 369053"/>
                <a:gd name="connsiteX384" fmla="*/ 61174 w 265732"/>
                <a:gd name="connsiteY384" fmla="*/ 248306 h 369053"/>
                <a:gd name="connsiteX385" fmla="*/ 60238 w 265732"/>
                <a:gd name="connsiteY385" fmla="*/ 246185 h 369053"/>
                <a:gd name="connsiteX386" fmla="*/ 60901 w 265732"/>
                <a:gd name="connsiteY386" fmla="*/ 245596 h 369053"/>
                <a:gd name="connsiteX387" fmla="*/ 62510 w 265732"/>
                <a:gd name="connsiteY387" fmla="*/ 246029 h 369053"/>
                <a:gd name="connsiteX388" fmla="*/ 61772 w 265732"/>
                <a:gd name="connsiteY388" fmla="*/ 244974 h 369053"/>
                <a:gd name="connsiteX389" fmla="*/ 61906 w 265732"/>
                <a:gd name="connsiteY389" fmla="*/ 243861 h 369053"/>
                <a:gd name="connsiteX390" fmla="*/ 63661 w 265732"/>
                <a:gd name="connsiteY390" fmla="*/ 244324 h 369053"/>
                <a:gd name="connsiteX391" fmla="*/ 66527 w 265732"/>
                <a:gd name="connsiteY391" fmla="*/ 241214 h 369053"/>
                <a:gd name="connsiteX392" fmla="*/ 66630 w 265732"/>
                <a:gd name="connsiteY392" fmla="*/ 238835 h 369053"/>
                <a:gd name="connsiteX393" fmla="*/ 71582 w 265732"/>
                <a:gd name="connsiteY393" fmla="*/ 237590 h 369053"/>
                <a:gd name="connsiteX394" fmla="*/ 77291 w 265732"/>
                <a:gd name="connsiteY394" fmla="*/ 232724 h 369053"/>
                <a:gd name="connsiteX395" fmla="*/ 79926 w 265732"/>
                <a:gd name="connsiteY395" fmla="*/ 231207 h 369053"/>
                <a:gd name="connsiteX396" fmla="*/ 82471 w 265732"/>
                <a:gd name="connsiteY396" fmla="*/ 230108 h 369053"/>
                <a:gd name="connsiteX397" fmla="*/ 87894 w 265732"/>
                <a:gd name="connsiteY397" fmla="*/ 225229 h 369053"/>
                <a:gd name="connsiteX398" fmla="*/ 90215 w 265732"/>
                <a:gd name="connsiteY398" fmla="*/ 225002 h 369053"/>
                <a:gd name="connsiteX399" fmla="*/ 91409 w 265732"/>
                <a:gd name="connsiteY399" fmla="*/ 221706 h 369053"/>
                <a:gd name="connsiteX400" fmla="*/ 96020 w 265732"/>
                <a:gd name="connsiteY400" fmla="*/ 217312 h 369053"/>
                <a:gd name="connsiteX401" fmla="*/ 97421 w 265732"/>
                <a:gd name="connsiteY401" fmla="*/ 216749 h 369053"/>
                <a:gd name="connsiteX402" fmla="*/ 99576 w 265732"/>
                <a:gd name="connsiteY402" fmla="*/ 212779 h 369053"/>
                <a:gd name="connsiteX403" fmla="*/ 105238 w 265732"/>
                <a:gd name="connsiteY403" fmla="*/ 208180 h 369053"/>
                <a:gd name="connsiteX404" fmla="*/ 108827 w 265732"/>
                <a:gd name="connsiteY404" fmla="*/ 202302 h 369053"/>
                <a:gd name="connsiteX405" fmla="*/ 110807 w 265732"/>
                <a:gd name="connsiteY405" fmla="*/ 200210 h 369053"/>
                <a:gd name="connsiteX406" fmla="*/ 111420 w 265732"/>
                <a:gd name="connsiteY406" fmla="*/ 197980 h 369053"/>
                <a:gd name="connsiteX407" fmla="*/ 113625 w 265732"/>
                <a:gd name="connsiteY407" fmla="*/ 197791 h 369053"/>
                <a:gd name="connsiteX408" fmla="*/ 115614 w 265732"/>
                <a:gd name="connsiteY408" fmla="*/ 196151 h 369053"/>
                <a:gd name="connsiteX409" fmla="*/ 119917 w 265732"/>
                <a:gd name="connsiteY409" fmla="*/ 195007 h 369053"/>
                <a:gd name="connsiteX410" fmla="*/ 124165 w 265732"/>
                <a:gd name="connsiteY410" fmla="*/ 195324 h 369053"/>
                <a:gd name="connsiteX411" fmla="*/ 125934 w 265732"/>
                <a:gd name="connsiteY411" fmla="*/ 196102 h 369053"/>
                <a:gd name="connsiteX412" fmla="*/ 127568 w 265732"/>
                <a:gd name="connsiteY412" fmla="*/ 195855 h 369053"/>
                <a:gd name="connsiteX413" fmla="*/ 127404 w 265732"/>
                <a:gd name="connsiteY413" fmla="*/ 193846 h 369053"/>
                <a:gd name="connsiteX414" fmla="*/ 126238 w 265732"/>
                <a:gd name="connsiteY414" fmla="*/ 192604 h 369053"/>
                <a:gd name="connsiteX415" fmla="*/ 127190 w 265732"/>
                <a:gd name="connsiteY415" fmla="*/ 191411 h 369053"/>
                <a:gd name="connsiteX416" fmla="*/ 129436 w 265732"/>
                <a:gd name="connsiteY416" fmla="*/ 190506 h 369053"/>
                <a:gd name="connsiteX417" fmla="*/ 129207 w 265732"/>
                <a:gd name="connsiteY417" fmla="*/ 188505 h 369053"/>
                <a:gd name="connsiteX418" fmla="*/ 128719 w 265732"/>
                <a:gd name="connsiteY418" fmla="*/ 187300 h 369053"/>
                <a:gd name="connsiteX419" fmla="*/ 126853 w 265732"/>
                <a:gd name="connsiteY419" fmla="*/ 185694 h 369053"/>
                <a:gd name="connsiteX420" fmla="*/ 127782 w 265732"/>
                <a:gd name="connsiteY420" fmla="*/ 182092 h 369053"/>
                <a:gd name="connsiteX421" fmla="*/ 128004 w 265732"/>
                <a:gd name="connsiteY421" fmla="*/ 178137 h 369053"/>
                <a:gd name="connsiteX422" fmla="*/ 128888 w 265732"/>
                <a:gd name="connsiteY422" fmla="*/ 173559 h 369053"/>
                <a:gd name="connsiteX423" fmla="*/ 126542 w 265732"/>
                <a:gd name="connsiteY423" fmla="*/ 171129 h 369053"/>
                <a:gd name="connsiteX424" fmla="*/ 117644 w 265732"/>
                <a:gd name="connsiteY424" fmla="*/ 166987 h 369053"/>
                <a:gd name="connsiteX425" fmla="*/ 115983 w 265732"/>
                <a:gd name="connsiteY425" fmla="*/ 167131 h 369053"/>
                <a:gd name="connsiteX426" fmla="*/ 114007 w 265732"/>
                <a:gd name="connsiteY426" fmla="*/ 166611 h 369053"/>
                <a:gd name="connsiteX427" fmla="*/ 111943 w 265732"/>
                <a:gd name="connsiteY427" fmla="*/ 163467 h 369053"/>
                <a:gd name="connsiteX428" fmla="*/ 112865 w 265732"/>
                <a:gd name="connsiteY428" fmla="*/ 160750 h 369053"/>
                <a:gd name="connsiteX429" fmla="*/ 112971 w 265732"/>
                <a:gd name="connsiteY429" fmla="*/ 159748 h 369053"/>
                <a:gd name="connsiteX430" fmla="*/ 112165 w 265732"/>
                <a:gd name="connsiteY430" fmla="*/ 159778 h 369053"/>
                <a:gd name="connsiteX431" fmla="*/ 110861 w 265732"/>
                <a:gd name="connsiteY431" fmla="*/ 161103 h 369053"/>
                <a:gd name="connsiteX432" fmla="*/ 108023 w 265732"/>
                <a:gd name="connsiteY432" fmla="*/ 162617 h 369053"/>
                <a:gd name="connsiteX433" fmla="*/ 104335 w 265732"/>
                <a:gd name="connsiteY433" fmla="*/ 161455 h 369053"/>
                <a:gd name="connsiteX434" fmla="*/ 102521 w 265732"/>
                <a:gd name="connsiteY434" fmla="*/ 161713 h 369053"/>
                <a:gd name="connsiteX435" fmla="*/ 100168 w 265732"/>
                <a:gd name="connsiteY435" fmla="*/ 154976 h 369053"/>
                <a:gd name="connsiteX436" fmla="*/ 98965 w 265732"/>
                <a:gd name="connsiteY436" fmla="*/ 152396 h 369053"/>
                <a:gd name="connsiteX437" fmla="*/ 97035 w 265732"/>
                <a:gd name="connsiteY437" fmla="*/ 149175 h 369053"/>
                <a:gd name="connsiteX438" fmla="*/ 93588 w 265732"/>
                <a:gd name="connsiteY438" fmla="*/ 147600 h 369053"/>
                <a:gd name="connsiteX439" fmla="*/ 92914 w 265732"/>
                <a:gd name="connsiteY439" fmla="*/ 146709 h 369053"/>
                <a:gd name="connsiteX440" fmla="*/ 92457 w 265732"/>
                <a:gd name="connsiteY440" fmla="*/ 145343 h 369053"/>
                <a:gd name="connsiteX441" fmla="*/ 92307 w 265732"/>
                <a:gd name="connsiteY441" fmla="*/ 143444 h 369053"/>
                <a:gd name="connsiteX442" fmla="*/ 91871 w 265732"/>
                <a:gd name="connsiteY442" fmla="*/ 140631 h 369053"/>
                <a:gd name="connsiteX443" fmla="*/ 92053 w 265732"/>
                <a:gd name="connsiteY443" fmla="*/ 138321 h 369053"/>
                <a:gd name="connsiteX444" fmla="*/ 92476 w 265732"/>
                <a:gd name="connsiteY444" fmla="*/ 136943 h 369053"/>
                <a:gd name="connsiteX445" fmla="*/ 93961 w 265732"/>
                <a:gd name="connsiteY445" fmla="*/ 136017 h 369053"/>
                <a:gd name="connsiteX446" fmla="*/ 96110 w 265732"/>
                <a:gd name="connsiteY446" fmla="*/ 133403 h 369053"/>
                <a:gd name="connsiteX447" fmla="*/ 96559 w 265732"/>
                <a:gd name="connsiteY447" fmla="*/ 131501 h 369053"/>
                <a:gd name="connsiteX448" fmla="*/ 96743 w 265732"/>
                <a:gd name="connsiteY448" fmla="*/ 128581 h 369053"/>
                <a:gd name="connsiteX449" fmla="*/ 97732 w 265732"/>
                <a:gd name="connsiteY449" fmla="*/ 126028 h 369053"/>
                <a:gd name="connsiteX450" fmla="*/ 98831 w 265732"/>
                <a:gd name="connsiteY450" fmla="*/ 124736 h 369053"/>
                <a:gd name="connsiteX451" fmla="*/ 98555 w 265732"/>
                <a:gd name="connsiteY451" fmla="*/ 123708 h 369053"/>
                <a:gd name="connsiteX452" fmla="*/ 97797 w 265732"/>
                <a:gd name="connsiteY452" fmla="*/ 122236 h 369053"/>
                <a:gd name="connsiteX453" fmla="*/ 96194 w 265732"/>
                <a:gd name="connsiteY453" fmla="*/ 120145 h 369053"/>
                <a:gd name="connsiteX454" fmla="*/ 93754 w 265732"/>
                <a:gd name="connsiteY454" fmla="*/ 117593 h 369053"/>
                <a:gd name="connsiteX455" fmla="*/ 91949 w 265732"/>
                <a:gd name="connsiteY455" fmla="*/ 115149 h 369053"/>
                <a:gd name="connsiteX456" fmla="*/ 91157 w 265732"/>
                <a:gd name="connsiteY456" fmla="*/ 112862 h 369053"/>
                <a:gd name="connsiteX457" fmla="*/ 90749 w 265732"/>
                <a:gd name="connsiteY457" fmla="*/ 110816 h 369053"/>
                <a:gd name="connsiteX458" fmla="*/ 90815 w 265732"/>
                <a:gd name="connsiteY458" fmla="*/ 108953 h 369053"/>
                <a:gd name="connsiteX459" fmla="*/ 91491 w 265732"/>
                <a:gd name="connsiteY459" fmla="*/ 107684 h 369053"/>
                <a:gd name="connsiteX460" fmla="*/ 93798 w 265732"/>
                <a:gd name="connsiteY460" fmla="*/ 106085 h 369053"/>
                <a:gd name="connsiteX461" fmla="*/ 94106 w 265732"/>
                <a:gd name="connsiteY461" fmla="*/ 105406 h 369053"/>
                <a:gd name="connsiteX462" fmla="*/ 93193 w 265732"/>
                <a:gd name="connsiteY462" fmla="*/ 101868 h 369053"/>
                <a:gd name="connsiteX463" fmla="*/ 91584 w 265732"/>
                <a:gd name="connsiteY463" fmla="*/ 101223 h 369053"/>
                <a:gd name="connsiteX464" fmla="*/ 88848 w 265732"/>
                <a:gd name="connsiteY464" fmla="*/ 100880 h 369053"/>
                <a:gd name="connsiteX465" fmla="*/ 87322 w 265732"/>
                <a:gd name="connsiteY465" fmla="*/ 100851 h 369053"/>
                <a:gd name="connsiteX466" fmla="*/ 87030 w 265732"/>
                <a:gd name="connsiteY466" fmla="*/ 100464 h 369053"/>
                <a:gd name="connsiteX467" fmla="*/ 86955 w 265732"/>
                <a:gd name="connsiteY467" fmla="*/ 99751 h 369053"/>
                <a:gd name="connsiteX468" fmla="*/ 87263 w 265732"/>
                <a:gd name="connsiteY468" fmla="*/ 98297 h 369053"/>
                <a:gd name="connsiteX469" fmla="*/ 88127 w 265732"/>
                <a:gd name="connsiteY469" fmla="*/ 96629 h 369053"/>
                <a:gd name="connsiteX470" fmla="*/ 88846 w 265732"/>
                <a:gd name="connsiteY470" fmla="*/ 95566 h 369053"/>
                <a:gd name="connsiteX471" fmla="*/ 88941 w 265732"/>
                <a:gd name="connsiteY471" fmla="*/ 94664 h 369053"/>
                <a:gd name="connsiteX472" fmla="*/ 88032 w 265732"/>
                <a:gd name="connsiteY472" fmla="*/ 91575 h 369053"/>
                <a:gd name="connsiteX473" fmla="*/ 87758 w 265732"/>
                <a:gd name="connsiteY473" fmla="*/ 87780 h 369053"/>
                <a:gd name="connsiteX474" fmla="*/ 88069 w 265732"/>
                <a:gd name="connsiteY474" fmla="*/ 84803 h 369053"/>
                <a:gd name="connsiteX475" fmla="*/ 90967 w 265732"/>
                <a:gd name="connsiteY475" fmla="*/ 82604 h 369053"/>
                <a:gd name="connsiteX476" fmla="*/ 91098 w 265732"/>
                <a:gd name="connsiteY476" fmla="*/ 81800 h 369053"/>
                <a:gd name="connsiteX477" fmla="*/ 87458 w 265732"/>
                <a:gd name="connsiteY477" fmla="*/ 79410 h 369053"/>
                <a:gd name="connsiteX478" fmla="*/ 84832 w 265732"/>
                <a:gd name="connsiteY478" fmla="*/ 76697 h 369053"/>
                <a:gd name="connsiteX479" fmla="*/ 84016 w 265732"/>
                <a:gd name="connsiteY479" fmla="*/ 75112 h 369053"/>
                <a:gd name="connsiteX480" fmla="*/ 81007 w 265732"/>
                <a:gd name="connsiteY480" fmla="*/ 74872 h 369053"/>
                <a:gd name="connsiteX481" fmla="*/ 79135 w 265732"/>
                <a:gd name="connsiteY481" fmla="*/ 70260 h 369053"/>
                <a:gd name="connsiteX482" fmla="*/ 76427 w 265732"/>
                <a:gd name="connsiteY482" fmla="*/ 68010 h 369053"/>
                <a:gd name="connsiteX483" fmla="*/ 73745 w 265732"/>
                <a:gd name="connsiteY483" fmla="*/ 66065 h 369053"/>
                <a:gd name="connsiteX484" fmla="*/ 72160 w 265732"/>
                <a:gd name="connsiteY484" fmla="*/ 65159 h 369053"/>
                <a:gd name="connsiteX485" fmla="*/ 62866 w 265732"/>
                <a:gd name="connsiteY485" fmla="*/ 62360 h 369053"/>
                <a:gd name="connsiteX486" fmla="*/ 59174 w 265732"/>
                <a:gd name="connsiteY486" fmla="*/ 61827 h 369053"/>
                <a:gd name="connsiteX487" fmla="*/ 54803 w 265732"/>
                <a:gd name="connsiteY487" fmla="*/ 60192 h 369053"/>
                <a:gd name="connsiteX488" fmla="*/ 51547 w 265732"/>
                <a:gd name="connsiteY488" fmla="*/ 58137 h 369053"/>
                <a:gd name="connsiteX489" fmla="*/ 48757 w 265732"/>
                <a:gd name="connsiteY489" fmla="*/ 56814 h 369053"/>
                <a:gd name="connsiteX490" fmla="*/ 46369 w 265732"/>
                <a:gd name="connsiteY490" fmla="*/ 55182 h 369053"/>
                <a:gd name="connsiteX491" fmla="*/ 43039 w 265732"/>
                <a:gd name="connsiteY491" fmla="*/ 53654 h 369053"/>
                <a:gd name="connsiteX492" fmla="*/ 42087 w 265732"/>
                <a:gd name="connsiteY492" fmla="*/ 52347 h 369053"/>
                <a:gd name="connsiteX493" fmla="*/ 38491 w 265732"/>
                <a:gd name="connsiteY493" fmla="*/ 49924 h 369053"/>
                <a:gd name="connsiteX494" fmla="*/ 36803 w 265732"/>
                <a:gd name="connsiteY494" fmla="*/ 48328 h 369053"/>
                <a:gd name="connsiteX495" fmla="*/ 30946 w 265732"/>
                <a:gd name="connsiteY495" fmla="*/ 45309 h 369053"/>
                <a:gd name="connsiteX496" fmla="*/ 30735 w 265732"/>
                <a:gd name="connsiteY496" fmla="*/ 44117 h 369053"/>
                <a:gd name="connsiteX497" fmla="*/ 30692 w 265732"/>
                <a:gd name="connsiteY497" fmla="*/ 42966 h 369053"/>
                <a:gd name="connsiteX498" fmla="*/ 30428 w 265732"/>
                <a:gd name="connsiteY498" fmla="*/ 42488 h 369053"/>
                <a:gd name="connsiteX499" fmla="*/ 24392 w 265732"/>
                <a:gd name="connsiteY499" fmla="*/ 40278 h 369053"/>
                <a:gd name="connsiteX500" fmla="*/ 25580 w 265732"/>
                <a:gd name="connsiteY500" fmla="*/ 39013 h 369053"/>
                <a:gd name="connsiteX501" fmla="*/ 30299 w 265732"/>
                <a:gd name="connsiteY501" fmla="*/ 38937 h 369053"/>
                <a:gd name="connsiteX502" fmla="*/ 34201 w 265732"/>
                <a:gd name="connsiteY502" fmla="*/ 40088 h 369053"/>
                <a:gd name="connsiteX503" fmla="*/ 35058 w 265732"/>
                <a:gd name="connsiteY503" fmla="*/ 39596 h 369053"/>
                <a:gd name="connsiteX504" fmla="*/ 35574 w 265732"/>
                <a:gd name="connsiteY504" fmla="*/ 38573 h 369053"/>
                <a:gd name="connsiteX505" fmla="*/ 33911 w 265732"/>
                <a:gd name="connsiteY505" fmla="*/ 34464 h 369053"/>
                <a:gd name="connsiteX506" fmla="*/ 34209 w 265732"/>
                <a:gd name="connsiteY506" fmla="*/ 33393 h 369053"/>
                <a:gd name="connsiteX507" fmla="*/ 35926 w 265732"/>
                <a:gd name="connsiteY507" fmla="*/ 32102 h 369053"/>
                <a:gd name="connsiteX508" fmla="*/ 38647 w 265732"/>
                <a:gd name="connsiteY508" fmla="*/ 31074 h 369053"/>
                <a:gd name="connsiteX509" fmla="*/ 42946 w 265732"/>
                <a:gd name="connsiteY509" fmla="*/ 30925 h 369053"/>
                <a:gd name="connsiteX510" fmla="*/ 45876 w 265732"/>
                <a:gd name="connsiteY510" fmla="*/ 31077 h 369053"/>
                <a:gd name="connsiteX511" fmla="*/ 46496 w 265732"/>
                <a:gd name="connsiteY511" fmla="*/ 31189 h 369053"/>
                <a:gd name="connsiteX512" fmla="*/ 50873 w 265732"/>
                <a:gd name="connsiteY512" fmla="*/ 35711 h 369053"/>
                <a:gd name="connsiteX513" fmla="*/ 54626 w 265732"/>
                <a:gd name="connsiteY513" fmla="*/ 40113 h 369053"/>
                <a:gd name="connsiteX514" fmla="*/ 56622 w 265732"/>
                <a:gd name="connsiteY514" fmla="*/ 41986 h 369053"/>
                <a:gd name="connsiteX515" fmla="*/ 61502 w 265732"/>
                <a:gd name="connsiteY515" fmla="*/ 47283 h 369053"/>
                <a:gd name="connsiteX516" fmla="*/ 63327 w 265732"/>
                <a:gd name="connsiteY516" fmla="*/ 50342 h 369053"/>
                <a:gd name="connsiteX517" fmla="*/ 63946 w 265732"/>
                <a:gd name="connsiteY517" fmla="*/ 52530 h 369053"/>
                <a:gd name="connsiteX518" fmla="*/ 65931 w 265732"/>
                <a:gd name="connsiteY518" fmla="*/ 52516 h 369053"/>
                <a:gd name="connsiteX519" fmla="*/ 72793 w 265732"/>
                <a:gd name="connsiteY519" fmla="*/ 53475 h 369053"/>
                <a:gd name="connsiteX520" fmla="*/ 78557 w 265732"/>
                <a:gd name="connsiteY520" fmla="*/ 54282 h 369053"/>
                <a:gd name="connsiteX521" fmla="*/ 80163 w 265732"/>
                <a:gd name="connsiteY521" fmla="*/ 55505 h 369053"/>
                <a:gd name="connsiteX522" fmla="*/ 84137 w 265732"/>
                <a:gd name="connsiteY522" fmla="*/ 55259 h 369053"/>
                <a:gd name="connsiteX523" fmla="*/ 87198 w 265732"/>
                <a:gd name="connsiteY523" fmla="*/ 54156 h 369053"/>
                <a:gd name="connsiteX524" fmla="*/ 92605 w 265732"/>
                <a:gd name="connsiteY524" fmla="*/ 52761 h 369053"/>
                <a:gd name="connsiteX525" fmla="*/ 94055 w 265732"/>
                <a:gd name="connsiteY525" fmla="*/ 51044 h 369053"/>
                <a:gd name="connsiteX526" fmla="*/ 95855 w 265732"/>
                <a:gd name="connsiteY526" fmla="*/ 49212 h 369053"/>
                <a:gd name="connsiteX527" fmla="*/ 99026 w 265732"/>
                <a:gd name="connsiteY527" fmla="*/ 49500 h 369053"/>
                <a:gd name="connsiteX528" fmla="*/ 102491 w 265732"/>
                <a:gd name="connsiteY528" fmla="*/ 50949 h 369053"/>
                <a:gd name="connsiteX529" fmla="*/ 106425 w 265732"/>
                <a:gd name="connsiteY529" fmla="*/ 52851 h 369053"/>
                <a:gd name="connsiteX530" fmla="*/ 109930 w 265732"/>
                <a:gd name="connsiteY530" fmla="*/ 53731 h 369053"/>
                <a:gd name="connsiteX531" fmla="*/ 114633 w 265732"/>
                <a:gd name="connsiteY531" fmla="*/ 55111 h 369053"/>
                <a:gd name="connsiteX532" fmla="*/ 116827 w 265732"/>
                <a:gd name="connsiteY532" fmla="*/ 56893 h 369053"/>
                <a:gd name="connsiteX533" fmla="*/ 119900 w 265732"/>
                <a:gd name="connsiteY533" fmla="*/ 57401 h 369053"/>
                <a:gd name="connsiteX534" fmla="*/ 123117 w 265732"/>
                <a:gd name="connsiteY534" fmla="*/ 55620 h 369053"/>
                <a:gd name="connsiteX535" fmla="*/ 125018 w 265732"/>
                <a:gd name="connsiteY535" fmla="*/ 50779 h 369053"/>
                <a:gd name="connsiteX536" fmla="*/ 126704 w 265732"/>
                <a:gd name="connsiteY536" fmla="*/ 48616 h 369053"/>
                <a:gd name="connsiteX537" fmla="*/ 129093 w 265732"/>
                <a:gd name="connsiteY537" fmla="*/ 47028 h 369053"/>
                <a:gd name="connsiteX538" fmla="*/ 131829 w 265732"/>
                <a:gd name="connsiteY538" fmla="*/ 46327 h 369053"/>
                <a:gd name="connsiteX539" fmla="*/ 133917 w 265732"/>
                <a:gd name="connsiteY539" fmla="*/ 46073 h 369053"/>
                <a:gd name="connsiteX540" fmla="*/ 135495 w 265732"/>
                <a:gd name="connsiteY540" fmla="*/ 44837 h 369053"/>
                <a:gd name="connsiteX541" fmla="*/ 137743 w 265732"/>
                <a:gd name="connsiteY541" fmla="*/ 42089 h 369053"/>
                <a:gd name="connsiteX542" fmla="*/ 138182 w 265732"/>
                <a:gd name="connsiteY542" fmla="*/ 38755 h 369053"/>
                <a:gd name="connsiteX543" fmla="*/ 137750 w 265732"/>
                <a:gd name="connsiteY543" fmla="*/ 32718 h 369053"/>
                <a:gd name="connsiteX544" fmla="*/ 138160 w 265732"/>
                <a:gd name="connsiteY544" fmla="*/ 30723 h 369053"/>
                <a:gd name="connsiteX545" fmla="*/ 139996 w 265732"/>
                <a:gd name="connsiteY545" fmla="*/ 27454 h 369053"/>
                <a:gd name="connsiteX546" fmla="*/ 142457 w 265732"/>
                <a:gd name="connsiteY546" fmla="*/ 18764 h 369053"/>
                <a:gd name="connsiteX547" fmla="*/ 143563 w 265732"/>
                <a:gd name="connsiteY547" fmla="*/ 16253 h 369053"/>
                <a:gd name="connsiteX548" fmla="*/ 144910 w 265732"/>
                <a:gd name="connsiteY548" fmla="*/ 14724 h 369053"/>
                <a:gd name="connsiteX549" fmla="*/ 146761 w 265732"/>
                <a:gd name="connsiteY549" fmla="*/ 13814 h 369053"/>
                <a:gd name="connsiteX550" fmla="*/ 150123 w 265732"/>
                <a:gd name="connsiteY550" fmla="*/ 11169 h 369053"/>
                <a:gd name="connsiteX551" fmla="*/ 154925 w 265732"/>
                <a:gd name="connsiteY551" fmla="*/ 5923 h 369053"/>
                <a:gd name="connsiteX552" fmla="*/ 156227 w 265732"/>
                <a:gd name="connsiteY552" fmla="*/ 5477 h 369053"/>
                <a:gd name="connsiteX553" fmla="*/ 159676 w 265732"/>
                <a:gd name="connsiteY553" fmla="*/ 5211 h 369053"/>
                <a:gd name="connsiteX554" fmla="*/ 163967 w 265732"/>
                <a:gd name="connsiteY554" fmla="*/ 5406 h 369053"/>
                <a:gd name="connsiteX555" fmla="*/ 167823 w 265732"/>
                <a:gd name="connsiteY555" fmla="*/ 6331 h 369053"/>
                <a:gd name="connsiteX556" fmla="*/ 168240 w 265732"/>
                <a:gd name="connsiteY556" fmla="*/ 6260 h 369053"/>
                <a:gd name="connsiteX557" fmla="*/ 169968 w 265732"/>
                <a:gd name="connsiteY557" fmla="*/ 5778 h 369053"/>
                <a:gd name="connsiteX558" fmla="*/ 173116 w 265732"/>
                <a:gd name="connsiteY558" fmla="*/ 4145 h 369053"/>
                <a:gd name="connsiteX559" fmla="*/ 178504 w 265732"/>
                <a:gd name="connsiteY559" fmla="*/ 895 h 369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Lst>
              <a:rect l="l" t="t" r="r" b="b"/>
              <a:pathLst>
                <a:path w="265732" h="369053">
                  <a:moveTo>
                    <a:pt x="21473" y="360506"/>
                  </a:moveTo>
                  <a:lnTo>
                    <a:pt x="23220" y="360680"/>
                  </a:lnTo>
                  <a:lnTo>
                    <a:pt x="24153" y="361638"/>
                  </a:lnTo>
                  <a:lnTo>
                    <a:pt x="23978" y="362422"/>
                  </a:lnTo>
                  <a:lnTo>
                    <a:pt x="22173" y="362597"/>
                  </a:lnTo>
                  <a:lnTo>
                    <a:pt x="21415" y="361899"/>
                  </a:lnTo>
                  <a:lnTo>
                    <a:pt x="19728" y="361986"/>
                  </a:lnTo>
                  <a:lnTo>
                    <a:pt x="19435" y="361638"/>
                  </a:lnTo>
                  <a:lnTo>
                    <a:pt x="20134" y="360942"/>
                  </a:lnTo>
                  <a:close/>
                  <a:moveTo>
                    <a:pt x="45306" y="357280"/>
                  </a:moveTo>
                  <a:lnTo>
                    <a:pt x="46768" y="357390"/>
                  </a:lnTo>
                  <a:lnTo>
                    <a:pt x="47079" y="358322"/>
                  </a:lnTo>
                  <a:lnTo>
                    <a:pt x="46641" y="359417"/>
                  </a:lnTo>
                  <a:lnTo>
                    <a:pt x="44702" y="359744"/>
                  </a:lnTo>
                  <a:lnTo>
                    <a:pt x="43494" y="358787"/>
                  </a:lnTo>
                  <a:lnTo>
                    <a:pt x="43953" y="358075"/>
                  </a:lnTo>
                  <a:close/>
                  <a:moveTo>
                    <a:pt x="51860" y="356303"/>
                  </a:moveTo>
                  <a:lnTo>
                    <a:pt x="51171" y="358333"/>
                  </a:lnTo>
                  <a:lnTo>
                    <a:pt x="48958" y="359471"/>
                  </a:lnTo>
                  <a:lnTo>
                    <a:pt x="48115" y="359200"/>
                  </a:lnTo>
                  <a:lnTo>
                    <a:pt x="48332" y="357280"/>
                  </a:lnTo>
                  <a:lnTo>
                    <a:pt x="49647" y="356401"/>
                  </a:lnTo>
                  <a:close/>
                  <a:moveTo>
                    <a:pt x="2428" y="354834"/>
                  </a:moveTo>
                  <a:lnTo>
                    <a:pt x="3168" y="356788"/>
                  </a:lnTo>
                  <a:lnTo>
                    <a:pt x="3283" y="357531"/>
                  </a:lnTo>
                  <a:lnTo>
                    <a:pt x="2436" y="357345"/>
                  </a:lnTo>
                  <a:lnTo>
                    <a:pt x="1786" y="357599"/>
                  </a:lnTo>
                  <a:lnTo>
                    <a:pt x="1345" y="358514"/>
                  </a:lnTo>
                  <a:lnTo>
                    <a:pt x="387" y="358186"/>
                  </a:lnTo>
                  <a:lnTo>
                    <a:pt x="0" y="356874"/>
                  </a:lnTo>
                  <a:lnTo>
                    <a:pt x="715" y="354909"/>
                  </a:lnTo>
                  <a:close/>
                  <a:moveTo>
                    <a:pt x="58731" y="350695"/>
                  </a:moveTo>
                  <a:lnTo>
                    <a:pt x="61532" y="351466"/>
                  </a:lnTo>
                  <a:lnTo>
                    <a:pt x="62709" y="351190"/>
                  </a:lnTo>
                  <a:lnTo>
                    <a:pt x="64047" y="352933"/>
                  </a:lnTo>
                  <a:lnTo>
                    <a:pt x="61778" y="354042"/>
                  </a:lnTo>
                  <a:lnTo>
                    <a:pt x="61620" y="355416"/>
                  </a:lnTo>
                  <a:lnTo>
                    <a:pt x="62517" y="356269"/>
                  </a:lnTo>
                  <a:lnTo>
                    <a:pt x="62832" y="357503"/>
                  </a:lnTo>
                  <a:lnTo>
                    <a:pt x="60571" y="357502"/>
                  </a:lnTo>
                  <a:lnTo>
                    <a:pt x="59489" y="356463"/>
                  </a:lnTo>
                  <a:lnTo>
                    <a:pt x="59018" y="355144"/>
                  </a:lnTo>
                  <a:lnTo>
                    <a:pt x="57967" y="354210"/>
                  </a:lnTo>
                  <a:lnTo>
                    <a:pt x="56565" y="353499"/>
                  </a:lnTo>
                  <a:lnTo>
                    <a:pt x="57252" y="352551"/>
                  </a:lnTo>
                  <a:lnTo>
                    <a:pt x="57643" y="351190"/>
                  </a:lnTo>
                  <a:close/>
                  <a:moveTo>
                    <a:pt x="8165" y="349529"/>
                  </a:moveTo>
                  <a:lnTo>
                    <a:pt x="9409" y="351135"/>
                  </a:lnTo>
                  <a:lnTo>
                    <a:pt x="10404" y="351345"/>
                  </a:lnTo>
                  <a:lnTo>
                    <a:pt x="11082" y="351355"/>
                  </a:lnTo>
                  <a:lnTo>
                    <a:pt x="11384" y="351075"/>
                  </a:lnTo>
                  <a:lnTo>
                    <a:pt x="12568" y="351271"/>
                  </a:lnTo>
                  <a:lnTo>
                    <a:pt x="14347" y="352557"/>
                  </a:lnTo>
                  <a:lnTo>
                    <a:pt x="14705" y="353253"/>
                  </a:lnTo>
                  <a:lnTo>
                    <a:pt x="15932" y="353609"/>
                  </a:lnTo>
                  <a:lnTo>
                    <a:pt x="16360" y="354330"/>
                  </a:lnTo>
                  <a:lnTo>
                    <a:pt x="14941" y="356576"/>
                  </a:lnTo>
                  <a:lnTo>
                    <a:pt x="14064" y="356618"/>
                  </a:lnTo>
                  <a:lnTo>
                    <a:pt x="13410" y="356334"/>
                  </a:lnTo>
                  <a:lnTo>
                    <a:pt x="12255" y="356579"/>
                  </a:lnTo>
                  <a:lnTo>
                    <a:pt x="11577" y="357004"/>
                  </a:lnTo>
                  <a:lnTo>
                    <a:pt x="11350" y="357937"/>
                  </a:lnTo>
                  <a:lnTo>
                    <a:pt x="11387" y="359888"/>
                  </a:lnTo>
                  <a:lnTo>
                    <a:pt x="6208" y="360279"/>
                  </a:lnTo>
                  <a:lnTo>
                    <a:pt x="5018" y="359709"/>
                  </a:lnTo>
                  <a:lnTo>
                    <a:pt x="3388" y="355268"/>
                  </a:lnTo>
                  <a:lnTo>
                    <a:pt x="3712" y="354120"/>
                  </a:lnTo>
                  <a:lnTo>
                    <a:pt x="4809" y="353630"/>
                  </a:lnTo>
                  <a:lnTo>
                    <a:pt x="5749" y="353525"/>
                  </a:lnTo>
                  <a:lnTo>
                    <a:pt x="5887" y="355919"/>
                  </a:lnTo>
                  <a:lnTo>
                    <a:pt x="7266" y="355681"/>
                  </a:lnTo>
                  <a:lnTo>
                    <a:pt x="7699" y="354103"/>
                  </a:lnTo>
                  <a:lnTo>
                    <a:pt x="7795" y="352992"/>
                  </a:lnTo>
                  <a:lnTo>
                    <a:pt x="7422" y="352431"/>
                  </a:lnTo>
                  <a:lnTo>
                    <a:pt x="6485" y="351996"/>
                  </a:lnTo>
                  <a:lnTo>
                    <a:pt x="5943" y="351250"/>
                  </a:lnTo>
                  <a:lnTo>
                    <a:pt x="6722" y="350049"/>
                  </a:lnTo>
                  <a:close/>
                  <a:moveTo>
                    <a:pt x="51039" y="347396"/>
                  </a:moveTo>
                  <a:lnTo>
                    <a:pt x="52799" y="348443"/>
                  </a:lnTo>
                  <a:lnTo>
                    <a:pt x="53760" y="349666"/>
                  </a:lnTo>
                  <a:lnTo>
                    <a:pt x="52821" y="349950"/>
                  </a:lnTo>
                  <a:lnTo>
                    <a:pt x="54412" y="351211"/>
                  </a:lnTo>
                  <a:lnTo>
                    <a:pt x="54732" y="351827"/>
                  </a:lnTo>
                  <a:lnTo>
                    <a:pt x="53123" y="351973"/>
                  </a:lnTo>
                  <a:lnTo>
                    <a:pt x="50849" y="350326"/>
                  </a:lnTo>
                  <a:lnTo>
                    <a:pt x="50562" y="349682"/>
                  </a:lnTo>
                  <a:lnTo>
                    <a:pt x="51454" y="349308"/>
                  </a:lnTo>
                  <a:lnTo>
                    <a:pt x="50865" y="347983"/>
                  </a:lnTo>
                  <a:close/>
                  <a:moveTo>
                    <a:pt x="38675" y="341784"/>
                  </a:moveTo>
                  <a:lnTo>
                    <a:pt x="39409" y="343210"/>
                  </a:lnTo>
                  <a:lnTo>
                    <a:pt x="42717" y="345409"/>
                  </a:lnTo>
                  <a:lnTo>
                    <a:pt x="42408" y="346959"/>
                  </a:lnTo>
                  <a:lnTo>
                    <a:pt x="40908" y="346787"/>
                  </a:lnTo>
                  <a:lnTo>
                    <a:pt x="39381" y="347068"/>
                  </a:lnTo>
                  <a:lnTo>
                    <a:pt x="38150" y="345529"/>
                  </a:lnTo>
                  <a:lnTo>
                    <a:pt x="37491" y="342933"/>
                  </a:lnTo>
                  <a:lnTo>
                    <a:pt x="37716" y="342374"/>
                  </a:lnTo>
                  <a:close/>
                  <a:moveTo>
                    <a:pt x="37973" y="251776"/>
                  </a:moveTo>
                  <a:lnTo>
                    <a:pt x="37651" y="252424"/>
                  </a:lnTo>
                  <a:lnTo>
                    <a:pt x="37563" y="253045"/>
                  </a:lnTo>
                  <a:lnTo>
                    <a:pt x="37800" y="253695"/>
                  </a:lnTo>
                  <a:lnTo>
                    <a:pt x="39096" y="253516"/>
                  </a:lnTo>
                  <a:lnTo>
                    <a:pt x="40841" y="252332"/>
                  </a:lnTo>
                  <a:lnTo>
                    <a:pt x="42078" y="252885"/>
                  </a:lnTo>
                  <a:lnTo>
                    <a:pt x="41938" y="254575"/>
                  </a:lnTo>
                  <a:lnTo>
                    <a:pt x="41098" y="254511"/>
                  </a:lnTo>
                  <a:lnTo>
                    <a:pt x="40867" y="254232"/>
                  </a:lnTo>
                  <a:lnTo>
                    <a:pt x="39789" y="255197"/>
                  </a:lnTo>
                  <a:lnTo>
                    <a:pt x="39597" y="255781"/>
                  </a:lnTo>
                  <a:lnTo>
                    <a:pt x="38351" y="256154"/>
                  </a:lnTo>
                  <a:lnTo>
                    <a:pt x="36049" y="254502"/>
                  </a:lnTo>
                  <a:lnTo>
                    <a:pt x="34602" y="251783"/>
                  </a:lnTo>
                  <a:close/>
                  <a:moveTo>
                    <a:pt x="116464" y="187740"/>
                  </a:moveTo>
                  <a:lnTo>
                    <a:pt x="120546" y="188858"/>
                  </a:lnTo>
                  <a:lnTo>
                    <a:pt x="121142" y="189455"/>
                  </a:lnTo>
                  <a:lnTo>
                    <a:pt x="118803" y="189902"/>
                  </a:lnTo>
                  <a:lnTo>
                    <a:pt x="117840" y="191169"/>
                  </a:lnTo>
                  <a:lnTo>
                    <a:pt x="114539" y="192361"/>
                  </a:lnTo>
                  <a:lnTo>
                    <a:pt x="111878" y="191616"/>
                  </a:lnTo>
                  <a:lnTo>
                    <a:pt x="111832" y="189306"/>
                  </a:lnTo>
                  <a:lnTo>
                    <a:pt x="113482" y="188187"/>
                  </a:lnTo>
                  <a:close/>
                  <a:moveTo>
                    <a:pt x="181957" y="0"/>
                  </a:moveTo>
                  <a:lnTo>
                    <a:pt x="185099" y="126"/>
                  </a:lnTo>
                  <a:lnTo>
                    <a:pt x="188577" y="3686"/>
                  </a:lnTo>
                  <a:lnTo>
                    <a:pt x="193483" y="7643"/>
                  </a:lnTo>
                  <a:lnTo>
                    <a:pt x="196636" y="9562"/>
                  </a:lnTo>
                  <a:lnTo>
                    <a:pt x="205230" y="13154"/>
                  </a:lnTo>
                  <a:lnTo>
                    <a:pt x="212775" y="15515"/>
                  </a:lnTo>
                  <a:lnTo>
                    <a:pt x="217016" y="23292"/>
                  </a:lnTo>
                  <a:lnTo>
                    <a:pt x="214926" y="26382"/>
                  </a:lnTo>
                  <a:lnTo>
                    <a:pt x="213885" y="27446"/>
                  </a:lnTo>
                  <a:lnTo>
                    <a:pt x="210195" y="30516"/>
                  </a:lnTo>
                  <a:lnTo>
                    <a:pt x="206245" y="34840"/>
                  </a:lnTo>
                  <a:lnTo>
                    <a:pt x="205943" y="37090"/>
                  </a:lnTo>
                  <a:lnTo>
                    <a:pt x="207254" y="39357"/>
                  </a:lnTo>
                  <a:lnTo>
                    <a:pt x="208889" y="40855"/>
                  </a:lnTo>
                  <a:lnTo>
                    <a:pt x="207409" y="41332"/>
                  </a:lnTo>
                  <a:lnTo>
                    <a:pt x="202838" y="43215"/>
                  </a:lnTo>
                  <a:lnTo>
                    <a:pt x="200048" y="44485"/>
                  </a:lnTo>
                  <a:lnTo>
                    <a:pt x="196688" y="45416"/>
                  </a:lnTo>
                  <a:lnTo>
                    <a:pt x="197560" y="46649"/>
                  </a:lnTo>
                  <a:lnTo>
                    <a:pt x="203142" y="46910"/>
                  </a:lnTo>
                  <a:lnTo>
                    <a:pt x="204002" y="47260"/>
                  </a:lnTo>
                  <a:lnTo>
                    <a:pt x="204621" y="47894"/>
                  </a:lnTo>
                  <a:lnTo>
                    <a:pt x="204727" y="48907"/>
                  </a:lnTo>
                  <a:lnTo>
                    <a:pt x="204161" y="50542"/>
                  </a:lnTo>
                  <a:lnTo>
                    <a:pt x="198130" y="59538"/>
                  </a:lnTo>
                  <a:lnTo>
                    <a:pt x="197940" y="61428"/>
                  </a:lnTo>
                  <a:lnTo>
                    <a:pt x="199918" y="66676"/>
                  </a:lnTo>
                  <a:lnTo>
                    <a:pt x="202682" y="72845"/>
                  </a:lnTo>
                  <a:lnTo>
                    <a:pt x="211037" y="75582"/>
                  </a:lnTo>
                  <a:lnTo>
                    <a:pt x="217247" y="77717"/>
                  </a:lnTo>
                  <a:lnTo>
                    <a:pt x="221236" y="82760"/>
                  </a:lnTo>
                  <a:lnTo>
                    <a:pt x="227811" y="89390"/>
                  </a:lnTo>
                  <a:lnTo>
                    <a:pt x="231297" y="91862"/>
                  </a:lnTo>
                  <a:lnTo>
                    <a:pt x="231493" y="92629"/>
                  </a:lnTo>
                  <a:lnTo>
                    <a:pt x="230456" y="97183"/>
                  </a:lnTo>
                  <a:lnTo>
                    <a:pt x="226241" y="101735"/>
                  </a:lnTo>
                  <a:lnTo>
                    <a:pt x="222298" y="105565"/>
                  </a:lnTo>
                  <a:lnTo>
                    <a:pt x="218217" y="110170"/>
                  </a:lnTo>
                  <a:lnTo>
                    <a:pt x="215025" y="114087"/>
                  </a:lnTo>
                  <a:lnTo>
                    <a:pt x="211568" y="118772"/>
                  </a:lnTo>
                  <a:lnTo>
                    <a:pt x="211171" y="120288"/>
                  </a:lnTo>
                  <a:lnTo>
                    <a:pt x="211108" y="121719"/>
                  </a:lnTo>
                  <a:lnTo>
                    <a:pt x="211702" y="123300"/>
                  </a:lnTo>
                  <a:lnTo>
                    <a:pt x="216129" y="129002"/>
                  </a:lnTo>
                  <a:lnTo>
                    <a:pt x="217852" y="131908"/>
                  </a:lnTo>
                  <a:lnTo>
                    <a:pt x="219912" y="135045"/>
                  </a:lnTo>
                  <a:lnTo>
                    <a:pt x="221680" y="138458"/>
                  </a:lnTo>
                  <a:lnTo>
                    <a:pt x="222706" y="141510"/>
                  </a:lnTo>
                  <a:lnTo>
                    <a:pt x="224479" y="144480"/>
                  </a:lnTo>
                  <a:lnTo>
                    <a:pt x="225581" y="145996"/>
                  </a:lnTo>
                  <a:lnTo>
                    <a:pt x="227411" y="148118"/>
                  </a:lnTo>
                  <a:lnTo>
                    <a:pt x="229621" y="151271"/>
                  </a:lnTo>
                  <a:lnTo>
                    <a:pt x="230355" y="153765"/>
                  </a:lnTo>
                  <a:lnTo>
                    <a:pt x="233691" y="162396"/>
                  </a:lnTo>
                  <a:lnTo>
                    <a:pt x="234028" y="164590"/>
                  </a:lnTo>
                  <a:lnTo>
                    <a:pt x="233864" y="166212"/>
                  </a:lnTo>
                  <a:lnTo>
                    <a:pt x="232398" y="166611"/>
                  </a:lnTo>
                  <a:lnTo>
                    <a:pt x="229161" y="166869"/>
                  </a:lnTo>
                  <a:lnTo>
                    <a:pt x="225652" y="167931"/>
                  </a:lnTo>
                  <a:lnTo>
                    <a:pt x="225475" y="168288"/>
                  </a:lnTo>
                  <a:lnTo>
                    <a:pt x="227764" y="170314"/>
                  </a:lnTo>
                  <a:lnTo>
                    <a:pt x="225742" y="173770"/>
                  </a:lnTo>
                  <a:lnTo>
                    <a:pt x="225451" y="178707"/>
                  </a:lnTo>
                  <a:lnTo>
                    <a:pt x="223292" y="181294"/>
                  </a:lnTo>
                  <a:lnTo>
                    <a:pt x="223088" y="181895"/>
                  </a:lnTo>
                  <a:lnTo>
                    <a:pt x="223186" y="182397"/>
                  </a:lnTo>
                  <a:lnTo>
                    <a:pt x="223568" y="182789"/>
                  </a:lnTo>
                  <a:lnTo>
                    <a:pt x="227567" y="183479"/>
                  </a:lnTo>
                  <a:lnTo>
                    <a:pt x="227913" y="184180"/>
                  </a:lnTo>
                  <a:lnTo>
                    <a:pt x="227930" y="185629"/>
                  </a:lnTo>
                  <a:lnTo>
                    <a:pt x="227573" y="186967"/>
                  </a:lnTo>
                  <a:lnTo>
                    <a:pt x="225565" y="187959"/>
                  </a:lnTo>
                  <a:lnTo>
                    <a:pt x="223408" y="189427"/>
                  </a:lnTo>
                  <a:lnTo>
                    <a:pt x="222931" y="190776"/>
                  </a:lnTo>
                  <a:lnTo>
                    <a:pt x="223004" y="191980"/>
                  </a:lnTo>
                  <a:lnTo>
                    <a:pt x="223741" y="194013"/>
                  </a:lnTo>
                  <a:lnTo>
                    <a:pt x="225159" y="196379"/>
                  </a:lnTo>
                  <a:lnTo>
                    <a:pt x="226963" y="197863"/>
                  </a:lnTo>
                  <a:lnTo>
                    <a:pt x="233367" y="199267"/>
                  </a:lnTo>
                  <a:lnTo>
                    <a:pt x="234194" y="200428"/>
                  </a:lnTo>
                  <a:lnTo>
                    <a:pt x="234546" y="202018"/>
                  </a:lnTo>
                  <a:lnTo>
                    <a:pt x="234412" y="203569"/>
                  </a:lnTo>
                  <a:lnTo>
                    <a:pt x="231437" y="206669"/>
                  </a:lnTo>
                  <a:lnTo>
                    <a:pt x="231460" y="207860"/>
                  </a:lnTo>
                  <a:lnTo>
                    <a:pt x="232682" y="210740"/>
                  </a:lnTo>
                  <a:lnTo>
                    <a:pt x="234147" y="213485"/>
                  </a:lnTo>
                  <a:lnTo>
                    <a:pt x="240394" y="216455"/>
                  </a:lnTo>
                  <a:lnTo>
                    <a:pt x="242545" y="218082"/>
                  </a:lnTo>
                  <a:lnTo>
                    <a:pt x="243117" y="219376"/>
                  </a:lnTo>
                  <a:lnTo>
                    <a:pt x="243430" y="221460"/>
                  </a:lnTo>
                  <a:lnTo>
                    <a:pt x="243389" y="223717"/>
                  </a:lnTo>
                  <a:lnTo>
                    <a:pt x="242899" y="225719"/>
                  </a:lnTo>
                  <a:lnTo>
                    <a:pt x="240940" y="228298"/>
                  </a:lnTo>
                  <a:lnTo>
                    <a:pt x="236406" y="233375"/>
                  </a:lnTo>
                  <a:lnTo>
                    <a:pt x="231847" y="235344"/>
                  </a:lnTo>
                  <a:lnTo>
                    <a:pt x="231569" y="235771"/>
                  </a:lnTo>
                  <a:lnTo>
                    <a:pt x="232981" y="237391"/>
                  </a:lnTo>
                  <a:lnTo>
                    <a:pt x="241011" y="243873"/>
                  </a:lnTo>
                  <a:lnTo>
                    <a:pt x="246246" y="246900"/>
                  </a:lnTo>
                  <a:lnTo>
                    <a:pt x="253311" y="250978"/>
                  </a:lnTo>
                  <a:lnTo>
                    <a:pt x="257868" y="254194"/>
                  </a:lnTo>
                  <a:lnTo>
                    <a:pt x="259340" y="256505"/>
                  </a:lnTo>
                  <a:lnTo>
                    <a:pt x="261314" y="259071"/>
                  </a:lnTo>
                  <a:lnTo>
                    <a:pt x="263532" y="261166"/>
                  </a:lnTo>
                  <a:lnTo>
                    <a:pt x="265130" y="262982"/>
                  </a:lnTo>
                  <a:lnTo>
                    <a:pt x="265732" y="264150"/>
                  </a:lnTo>
                  <a:lnTo>
                    <a:pt x="265676" y="265405"/>
                  </a:lnTo>
                  <a:lnTo>
                    <a:pt x="263538" y="269185"/>
                  </a:lnTo>
                  <a:lnTo>
                    <a:pt x="262324" y="272102"/>
                  </a:lnTo>
                  <a:lnTo>
                    <a:pt x="260185" y="276371"/>
                  </a:lnTo>
                  <a:lnTo>
                    <a:pt x="257997" y="279345"/>
                  </a:lnTo>
                  <a:lnTo>
                    <a:pt x="252448" y="284759"/>
                  </a:lnTo>
                  <a:lnTo>
                    <a:pt x="244264" y="291477"/>
                  </a:lnTo>
                  <a:lnTo>
                    <a:pt x="242363" y="293506"/>
                  </a:lnTo>
                  <a:lnTo>
                    <a:pt x="238533" y="297034"/>
                  </a:lnTo>
                  <a:lnTo>
                    <a:pt x="231977" y="304096"/>
                  </a:lnTo>
                  <a:lnTo>
                    <a:pt x="230279" y="305652"/>
                  </a:lnTo>
                  <a:lnTo>
                    <a:pt x="224905" y="311263"/>
                  </a:lnTo>
                  <a:lnTo>
                    <a:pt x="222456" y="313045"/>
                  </a:lnTo>
                  <a:lnTo>
                    <a:pt x="220532" y="314710"/>
                  </a:lnTo>
                  <a:lnTo>
                    <a:pt x="215209" y="319993"/>
                  </a:lnTo>
                  <a:lnTo>
                    <a:pt x="209489" y="323994"/>
                  </a:lnTo>
                  <a:lnTo>
                    <a:pt x="203874" y="327703"/>
                  </a:lnTo>
                  <a:lnTo>
                    <a:pt x="202190" y="329581"/>
                  </a:lnTo>
                  <a:lnTo>
                    <a:pt x="200095" y="331012"/>
                  </a:lnTo>
                  <a:lnTo>
                    <a:pt x="197595" y="332372"/>
                  </a:lnTo>
                  <a:lnTo>
                    <a:pt x="196541" y="333134"/>
                  </a:lnTo>
                  <a:lnTo>
                    <a:pt x="190892" y="338191"/>
                  </a:lnTo>
                  <a:lnTo>
                    <a:pt x="183058" y="345191"/>
                  </a:lnTo>
                  <a:lnTo>
                    <a:pt x="182261" y="345300"/>
                  </a:lnTo>
                  <a:lnTo>
                    <a:pt x="180221" y="346429"/>
                  </a:lnTo>
                  <a:lnTo>
                    <a:pt x="177031" y="346702"/>
                  </a:lnTo>
                  <a:lnTo>
                    <a:pt x="175645" y="347565"/>
                  </a:lnTo>
                  <a:lnTo>
                    <a:pt x="170769" y="345106"/>
                  </a:lnTo>
                  <a:lnTo>
                    <a:pt x="169959" y="344947"/>
                  </a:lnTo>
                  <a:lnTo>
                    <a:pt x="167092" y="345557"/>
                  </a:lnTo>
                  <a:lnTo>
                    <a:pt x="164340" y="347344"/>
                  </a:lnTo>
                  <a:lnTo>
                    <a:pt x="159261" y="347890"/>
                  </a:lnTo>
                  <a:lnTo>
                    <a:pt x="156739" y="348469"/>
                  </a:lnTo>
                  <a:lnTo>
                    <a:pt x="155131" y="349294"/>
                  </a:lnTo>
                  <a:lnTo>
                    <a:pt x="154800" y="347341"/>
                  </a:lnTo>
                  <a:lnTo>
                    <a:pt x="155495" y="344862"/>
                  </a:lnTo>
                  <a:lnTo>
                    <a:pt x="156614" y="343208"/>
                  </a:lnTo>
                  <a:lnTo>
                    <a:pt x="156718" y="342130"/>
                  </a:lnTo>
                  <a:lnTo>
                    <a:pt x="155897" y="342242"/>
                  </a:lnTo>
                  <a:lnTo>
                    <a:pt x="154271" y="344669"/>
                  </a:lnTo>
                  <a:lnTo>
                    <a:pt x="153401" y="347500"/>
                  </a:lnTo>
                  <a:lnTo>
                    <a:pt x="151660" y="348922"/>
                  </a:lnTo>
                  <a:lnTo>
                    <a:pt x="147834" y="349503"/>
                  </a:lnTo>
                  <a:lnTo>
                    <a:pt x="144105" y="347230"/>
                  </a:lnTo>
                  <a:lnTo>
                    <a:pt x="142334" y="347253"/>
                  </a:lnTo>
                  <a:lnTo>
                    <a:pt x="143446" y="348881"/>
                  </a:lnTo>
                  <a:lnTo>
                    <a:pt x="144198" y="350667"/>
                  </a:lnTo>
                  <a:lnTo>
                    <a:pt x="144100" y="351667"/>
                  </a:lnTo>
                  <a:lnTo>
                    <a:pt x="142112" y="351491"/>
                  </a:lnTo>
                  <a:lnTo>
                    <a:pt x="139898" y="352561"/>
                  </a:lnTo>
                  <a:lnTo>
                    <a:pt x="137957" y="354123"/>
                  </a:lnTo>
                  <a:lnTo>
                    <a:pt x="137015" y="354126"/>
                  </a:lnTo>
                  <a:lnTo>
                    <a:pt x="135711" y="351943"/>
                  </a:lnTo>
                  <a:lnTo>
                    <a:pt x="133318" y="352962"/>
                  </a:lnTo>
                  <a:lnTo>
                    <a:pt x="131274" y="354332"/>
                  </a:lnTo>
                  <a:lnTo>
                    <a:pt x="127119" y="354760"/>
                  </a:lnTo>
                  <a:lnTo>
                    <a:pt x="124642" y="356559"/>
                  </a:lnTo>
                  <a:lnTo>
                    <a:pt x="120259" y="357772"/>
                  </a:lnTo>
                  <a:lnTo>
                    <a:pt x="117851" y="357743"/>
                  </a:lnTo>
                  <a:lnTo>
                    <a:pt x="112362" y="359203"/>
                  </a:lnTo>
                  <a:lnTo>
                    <a:pt x="110537" y="361452"/>
                  </a:lnTo>
                  <a:lnTo>
                    <a:pt x="108937" y="362279"/>
                  </a:lnTo>
                  <a:lnTo>
                    <a:pt x="106659" y="361583"/>
                  </a:lnTo>
                  <a:lnTo>
                    <a:pt x="99641" y="362679"/>
                  </a:lnTo>
                  <a:lnTo>
                    <a:pt x="92932" y="364116"/>
                  </a:lnTo>
                  <a:lnTo>
                    <a:pt x="90077" y="364034"/>
                  </a:lnTo>
                  <a:lnTo>
                    <a:pt x="87222" y="363437"/>
                  </a:lnTo>
                  <a:lnTo>
                    <a:pt x="84197" y="365433"/>
                  </a:lnTo>
                  <a:lnTo>
                    <a:pt x="80984" y="368101"/>
                  </a:lnTo>
                  <a:lnTo>
                    <a:pt x="77442" y="369053"/>
                  </a:lnTo>
                  <a:lnTo>
                    <a:pt x="76173" y="368712"/>
                  </a:lnTo>
                  <a:lnTo>
                    <a:pt x="77187" y="367314"/>
                  </a:lnTo>
                  <a:lnTo>
                    <a:pt x="79531" y="365865"/>
                  </a:lnTo>
                  <a:lnTo>
                    <a:pt x="81139" y="363900"/>
                  </a:lnTo>
                  <a:lnTo>
                    <a:pt x="81360" y="362261"/>
                  </a:lnTo>
                  <a:lnTo>
                    <a:pt x="80254" y="361617"/>
                  </a:lnTo>
                  <a:lnTo>
                    <a:pt x="78744" y="361420"/>
                  </a:lnTo>
                  <a:lnTo>
                    <a:pt x="76842" y="359723"/>
                  </a:lnTo>
                  <a:lnTo>
                    <a:pt x="75019" y="356041"/>
                  </a:lnTo>
                  <a:lnTo>
                    <a:pt x="74032" y="355838"/>
                  </a:lnTo>
                  <a:lnTo>
                    <a:pt x="73532" y="356806"/>
                  </a:lnTo>
                  <a:lnTo>
                    <a:pt x="72972" y="359630"/>
                  </a:lnTo>
                  <a:lnTo>
                    <a:pt x="72404" y="360443"/>
                  </a:lnTo>
                  <a:lnTo>
                    <a:pt x="71439" y="361089"/>
                  </a:lnTo>
                  <a:lnTo>
                    <a:pt x="70280" y="361739"/>
                  </a:lnTo>
                  <a:lnTo>
                    <a:pt x="69148" y="362056"/>
                  </a:lnTo>
                  <a:lnTo>
                    <a:pt x="65091" y="362017"/>
                  </a:lnTo>
                  <a:lnTo>
                    <a:pt x="64557" y="360593"/>
                  </a:lnTo>
                  <a:lnTo>
                    <a:pt x="64557" y="359997"/>
                  </a:lnTo>
                  <a:lnTo>
                    <a:pt x="65276" y="358120"/>
                  </a:lnTo>
                  <a:lnTo>
                    <a:pt x="64648" y="357792"/>
                  </a:lnTo>
                  <a:lnTo>
                    <a:pt x="65246" y="356319"/>
                  </a:lnTo>
                  <a:lnTo>
                    <a:pt x="66203" y="356398"/>
                  </a:lnTo>
                  <a:lnTo>
                    <a:pt x="67336" y="356180"/>
                  </a:lnTo>
                  <a:lnTo>
                    <a:pt x="67904" y="355422"/>
                  </a:lnTo>
                  <a:lnTo>
                    <a:pt x="67861" y="354517"/>
                  </a:lnTo>
                  <a:lnTo>
                    <a:pt x="66285" y="354282"/>
                  </a:lnTo>
                  <a:lnTo>
                    <a:pt x="66188" y="353664"/>
                  </a:lnTo>
                  <a:lnTo>
                    <a:pt x="67593" y="351083"/>
                  </a:lnTo>
                  <a:lnTo>
                    <a:pt x="67794" y="350369"/>
                  </a:lnTo>
                  <a:lnTo>
                    <a:pt x="67250" y="350221"/>
                  </a:lnTo>
                  <a:lnTo>
                    <a:pt x="66369" y="350502"/>
                  </a:lnTo>
                  <a:lnTo>
                    <a:pt x="60562" y="349692"/>
                  </a:lnTo>
                  <a:lnTo>
                    <a:pt x="53400" y="346385"/>
                  </a:lnTo>
                  <a:lnTo>
                    <a:pt x="51638" y="346214"/>
                  </a:lnTo>
                  <a:lnTo>
                    <a:pt x="50554" y="343257"/>
                  </a:lnTo>
                  <a:lnTo>
                    <a:pt x="48826" y="343632"/>
                  </a:lnTo>
                  <a:lnTo>
                    <a:pt x="46308" y="345363"/>
                  </a:lnTo>
                  <a:lnTo>
                    <a:pt x="44419" y="344048"/>
                  </a:lnTo>
                  <a:lnTo>
                    <a:pt x="42389" y="343182"/>
                  </a:lnTo>
                  <a:lnTo>
                    <a:pt x="41827" y="341828"/>
                  </a:lnTo>
                  <a:lnTo>
                    <a:pt x="41856" y="339829"/>
                  </a:lnTo>
                  <a:lnTo>
                    <a:pt x="41681" y="337469"/>
                  </a:lnTo>
                  <a:lnTo>
                    <a:pt x="41126" y="334704"/>
                  </a:lnTo>
                  <a:lnTo>
                    <a:pt x="40720" y="330768"/>
                  </a:lnTo>
                  <a:lnTo>
                    <a:pt x="41100" y="327687"/>
                  </a:lnTo>
                  <a:lnTo>
                    <a:pt x="42719" y="325403"/>
                  </a:lnTo>
                  <a:lnTo>
                    <a:pt x="43341" y="323944"/>
                  </a:lnTo>
                  <a:lnTo>
                    <a:pt x="44101" y="320215"/>
                  </a:lnTo>
                  <a:lnTo>
                    <a:pt x="44272" y="315839"/>
                  </a:lnTo>
                  <a:lnTo>
                    <a:pt x="43842" y="314347"/>
                  </a:lnTo>
                  <a:lnTo>
                    <a:pt x="43950" y="313354"/>
                  </a:lnTo>
                  <a:lnTo>
                    <a:pt x="45242" y="313354"/>
                  </a:lnTo>
                  <a:lnTo>
                    <a:pt x="44961" y="312502"/>
                  </a:lnTo>
                  <a:lnTo>
                    <a:pt x="44393" y="312035"/>
                  </a:lnTo>
                  <a:lnTo>
                    <a:pt x="43765" y="311065"/>
                  </a:lnTo>
                  <a:lnTo>
                    <a:pt x="44300" y="310551"/>
                  </a:lnTo>
                  <a:lnTo>
                    <a:pt x="45846" y="310514"/>
                  </a:lnTo>
                  <a:lnTo>
                    <a:pt x="45971" y="310187"/>
                  </a:lnTo>
                  <a:lnTo>
                    <a:pt x="46146" y="309723"/>
                  </a:lnTo>
                  <a:lnTo>
                    <a:pt x="44950" y="307170"/>
                  </a:lnTo>
                  <a:lnTo>
                    <a:pt x="44812" y="305952"/>
                  </a:lnTo>
                  <a:lnTo>
                    <a:pt x="43151" y="302250"/>
                  </a:lnTo>
                  <a:lnTo>
                    <a:pt x="41257" y="298735"/>
                  </a:lnTo>
                  <a:lnTo>
                    <a:pt x="38407" y="296188"/>
                  </a:lnTo>
                  <a:lnTo>
                    <a:pt x="39418" y="291988"/>
                  </a:lnTo>
                  <a:lnTo>
                    <a:pt x="40569" y="288184"/>
                  </a:lnTo>
                  <a:lnTo>
                    <a:pt x="40340" y="286349"/>
                  </a:lnTo>
                  <a:lnTo>
                    <a:pt x="39899" y="284114"/>
                  </a:lnTo>
                  <a:lnTo>
                    <a:pt x="36410" y="281660"/>
                  </a:lnTo>
                  <a:lnTo>
                    <a:pt x="35891" y="278196"/>
                  </a:lnTo>
                  <a:lnTo>
                    <a:pt x="35038" y="274472"/>
                  </a:lnTo>
                  <a:lnTo>
                    <a:pt x="35360" y="272185"/>
                  </a:lnTo>
                  <a:lnTo>
                    <a:pt x="35928" y="270433"/>
                  </a:lnTo>
                  <a:lnTo>
                    <a:pt x="37075" y="268687"/>
                  </a:lnTo>
                  <a:lnTo>
                    <a:pt x="42864" y="263167"/>
                  </a:lnTo>
                  <a:lnTo>
                    <a:pt x="43218" y="260279"/>
                  </a:lnTo>
                  <a:lnTo>
                    <a:pt x="47142" y="260069"/>
                  </a:lnTo>
                  <a:lnTo>
                    <a:pt x="45321" y="257484"/>
                  </a:lnTo>
                  <a:lnTo>
                    <a:pt x="44892" y="256031"/>
                  </a:lnTo>
                  <a:lnTo>
                    <a:pt x="44801" y="254334"/>
                  </a:lnTo>
                  <a:lnTo>
                    <a:pt x="50446" y="253171"/>
                  </a:lnTo>
                  <a:lnTo>
                    <a:pt x="52553" y="254126"/>
                  </a:lnTo>
                  <a:lnTo>
                    <a:pt x="57520" y="252946"/>
                  </a:lnTo>
                  <a:lnTo>
                    <a:pt x="61929" y="250636"/>
                  </a:lnTo>
                  <a:lnTo>
                    <a:pt x="61851" y="249407"/>
                  </a:lnTo>
                  <a:lnTo>
                    <a:pt x="61174" y="248306"/>
                  </a:lnTo>
                  <a:lnTo>
                    <a:pt x="60238" y="246185"/>
                  </a:lnTo>
                  <a:lnTo>
                    <a:pt x="60901" y="245596"/>
                  </a:lnTo>
                  <a:lnTo>
                    <a:pt x="62510" y="246029"/>
                  </a:lnTo>
                  <a:lnTo>
                    <a:pt x="61772" y="244974"/>
                  </a:lnTo>
                  <a:lnTo>
                    <a:pt x="61906" y="243861"/>
                  </a:lnTo>
                  <a:lnTo>
                    <a:pt x="63661" y="244324"/>
                  </a:lnTo>
                  <a:lnTo>
                    <a:pt x="66527" y="241214"/>
                  </a:lnTo>
                  <a:lnTo>
                    <a:pt x="66630" y="238835"/>
                  </a:lnTo>
                  <a:lnTo>
                    <a:pt x="71582" y="237590"/>
                  </a:lnTo>
                  <a:lnTo>
                    <a:pt x="77291" y="232724"/>
                  </a:lnTo>
                  <a:lnTo>
                    <a:pt x="79926" y="231207"/>
                  </a:lnTo>
                  <a:lnTo>
                    <a:pt x="82471" y="230108"/>
                  </a:lnTo>
                  <a:lnTo>
                    <a:pt x="87894" y="225229"/>
                  </a:lnTo>
                  <a:lnTo>
                    <a:pt x="90215" y="225002"/>
                  </a:lnTo>
                  <a:lnTo>
                    <a:pt x="91409" y="221706"/>
                  </a:lnTo>
                  <a:lnTo>
                    <a:pt x="96020" y="217312"/>
                  </a:lnTo>
                  <a:lnTo>
                    <a:pt x="97421" y="216749"/>
                  </a:lnTo>
                  <a:lnTo>
                    <a:pt x="99576" y="212779"/>
                  </a:lnTo>
                  <a:lnTo>
                    <a:pt x="105238" y="208180"/>
                  </a:lnTo>
                  <a:lnTo>
                    <a:pt x="108827" y="202302"/>
                  </a:lnTo>
                  <a:lnTo>
                    <a:pt x="110807" y="200210"/>
                  </a:lnTo>
                  <a:lnTo>
                    <a:pt x="111420" y="197980"/>
                  </a:lnTo>
                  <a:lnTo>
                    <a:pt x="113625" y="197791"/>
                  </a:lnTo>
                  <a:lnTo>
                    <a:pt x="115614" y="196151"/>
                  </a:lnTo>
                  <a:lnTo>
                    <a:pt x="119917" y="195007"/>
                  </a:lnTo>
                  <a:lnTo>
                    <a:pt x="124165" y="195324"/>
                  </a:lnTo>
                  <a:lnTo>
                    <a:pt x="125934" y="196102"/>
                  </a:lnTo>
                  <a:lnTo>
                    <a:pt x="127568" y="195855"/>
                  </a:lnTo>
                  <a:lnTo>
                    <a:pt x="127404" y="193846"/>
                  </a:lnTo>
                  <a:lnTo>
                    <a:pt x="126238" y="192604"/>
                  </a:lnTo>
                  <a:lnTo>
                    <a:pt x="127190" y="191411"/>
                  </a:lnTo>
                  <a:lnTo>
                    <a:pt x="129436" y="190506"/>
                  </a:lnTo>
                  <a:lnTo>
                    <a:pt x="129207" y="188505"/>
                  </a:lnTo>
                  <a:lnTo>
                    <a:pt x="128719" y="187300"/>
                  </a:lnTo>
                  <a:lnTo>
                    <a:pt x="126853" y="185694"/>
                  </a:lnTo>
                  <a:lnTo>
                    <a:pt x="127782" y="182092"/>
                  </a:lnTo>
                  <a:lnTo>
                    <a:pt x="128004" y="178137"/>
                  </a:lnTo>
                  <a:lnTo>
                    <a:pt x="128888" y="173559"/>
                  </a:lnTo>
                  <a:lnTo>
                    <a:pt x="126542" y="171129"/>
                  </a:lnTo>
                  <a:lnTo>
                    <a:pt x="117644" y="166987"/>
                  </a:lnTo>
                  <a:lnTo>
                    <a:pt x="115983" y="167131"/>
                  </a:lnTo>
                  <a:lnTo>
                    <a:pt x="114007" y="166611"/>
                  </a:lnTo>
                  <a:lnTo>
                    <a:pt x="111943" y="163467"/>
                  </a:lnTo>
                  <a:lnTo>
                    <a:pt x="112865" y="160750"/>
                  </a:lnTo>
                  <a:lnTo>
                    <a:pt x="112971" y="159748"/>
                  </a:lnTo>
                  <a:lnTo>
                    <a:pt x="112165" y="159778"/>
                  </a:lnTo>
                  <a:lnTo>
                    <a:pt x="110861" y="161103"/>
                  </a:lnTo>
                  <a:lnTo>
                    <a:pt x="108023" y="162617"/>
                  </a:lnTo>
                  <a:lnTo>
                    <a:pt x="104335" y="161455"/>
                  </a:lnTo>
                  <a:lnTo>
                    <a:pt x="102521" y="161713"/>
                  </a:lnTo>
                  <a:lnTo>
                    <a:pt x="100168" y="154976"/>
                  </a:lnTo>
                  <a:lnTo>
                    <a:pt x="98965" y="152396"/>
                  </a:lnTo>
                  <a:lnTo>
                    <a:pt x="97035" y="149175"/>
                  </a:lnTo>
                  <a:lnTo>
                    <a:pt x="93588" y="147600"/>
                  </a:lnTo>
                  <a:lnTo>
                    <a:pt x="92914" y="146709"/>
                  </a:lnTo>
                  <a:lnTo>
                    <a:pt x="92457" y="145343"/>
                  </a:lnTo>
                  <a:lnTo>
                    <a:pt x="92307" y="143444"/>
                  </a:lnTo>
                  <a:lnTo>
                    <a:pt x="91871" y="140631"/>
                  </a:lnTo>
                  <a:lnTo>
                    <a:pt x="92053" y="138321"/>
                  </a:lnTo>
                  <a:lnTo>
                    <a:pt x="92476" y="136943"/>
                  </a:lnTo>
                  <a:lnTo>
                    <a:pt x="93961" y="136017"/>
                  </a:lnTo>
                  <a:lnTo>
                    <a:pt x="96110" y="133403"/>
                  </a:lnTo>
                  <a:lnTo>
                    <a:pt x="96559" y="131501"/>
                  </a:lnTo>
                  <a:lnTo>
                    <a:pt x="96743" y="128581"/>
                  </a:lnTo>
                  <a:lnTo>
                    <a:pt x="97732" y="126028"/>
                  </a:lnTo>
                  <a:lnTo>
                    <a:pt x="98831" y="124736"/>
                  </a:lnTo>
                  <a:lnTo>
                    <a:pt x="98555" y="123708"/>
                  </a:lnTo>
                  <a:lnTo>
                    <a:pt x="97797" y="122236"/>
                  </a:lnTo>
                  <a:lnTo>
                    <a:pt x="96194" y="120145"/>
                  </a:lnTo>
                  <a:lnTo>
                    <a:pt x="93754" y="117593"/>
                  </a:lnTo>
                  <a:lnTo>
                    <a:pt x="91949" y="115149"/>
                  </a:lnTo>
                  <a:lnTo>
                    <a:pt x="91157" y="112862"/>
                  </a:lnTo>
                  <a:lnTo>
                    <a:pt x="90749" y="110816"/>
                  </a:lnTo>
                  <a:lnTo>
                    <a:pt x="90815" y="108953"/>
                  </a:lnTo>
                  <a:lnTo>
                    <a:pt x="91491" y="107684"/>
                  </a:lnTo>
                  <a:lnTo>
                    <a:pt x="93798" y="106085"/>
                  </a:lnTo>
                  <a:lnTo>
                    <a:pt x="94106" y="105406"/>
                  </a:lnTo>
                  <a:lnTo>
                    <a:pt x="93193" y="101868"/>
                  </a:lnTo>
                  <a:lnTo>
                    <a:pt x="91584" y="101223"/>
                  </a:lnTo>
                  <a:lnTo>
                    <a:pt x="88848" y="100880"/>
                  </a:lnTo>
                  <a:lnTo>
                    <a:pt x="87322" y="100851"/>
                  </a:lnTo>
                  <a:lnTo>
                    <a:pt x="87030" y="100464"/>
                  </a:lnTo>
                  <a:lnTo>
                    <a:pt x="86955" y="99751"/>
                  </a:lnTo>
                  <a:lnTo>
                    <a:pt x="87263" y="98297"/>
                  </a:lnTo>
                  <a:lnTo>
                    <a:pt x="88127" y="96629"/>
                  </a:lnTo>
                  <a:lnTo>
                    <a:pt x="88846" y="95566"/>
                  </a:lnTo>
                  <a:lnTo>
                    <a:pt x="88941" y="94664"/>
                  </a:lnTo>
                  <a:lnTo>
                    <a:pt x="88032" y="91575"/>
                  </a:lnTo>
                  <a:lnTo>
                    <a:pt x="87758" y="87780"/>
                  </a:lnTo>
                  <a:lnTo>
                    <a:pt x="88069" y="84803"/>
                  </a:lnTo>
                  <a:lnTo>
                    <a:pt x="90967" y="82604"/>
                  </a:lnTo>
                  <a:lnTo>
                    <a:pt x="91098" y="81800"/>
                  </a:lnTo>
                  <a:lnTo>
                    <a:pt x="87458" y="79410"/>
                  </a:lnTo>
                  <a:lnTo>
                    <a:pt x="84832" y="76697"/>
                  </a:lnTo>
                  <a:lnTo>
                    <a:pt x="84016" y="75112"/>
                  </a:lnTo>
                  <a:lnTo>
                    <a:pt x="81007" y="74872"/>
                  </a:lnTo>
                  <a:lnTo>
                    <a:pt x="79135" y="70260"/>
                  </a:lnTo>
                  <a:lnTo>
                    <a:pt x="76427" y="68010"/>
                  </a:lnTo>
                  <a:lnTo>
                    <a:pt x="73745" y="66065"/>
                  </a:lnTo>
                  <a:lnTo>
                    <a:pt x="72160" y="65159"/>
                  </a:lnTo>
                  <a:lnTo>
                    <a:pt x="62866" y="62360"/>
                  </a:lnTo>
                  <a:lnTo>
                    <a:pt x="59174" y="61827"/>
                  </a:lnTo>
                  <a:lnTo>
                    <a:pt x="54803" y="60192"/>
                  </a:lnTo>
                  <a:lnTo>
                    <a:pt x="51547" y="58137"/>
                  </a:lnTo>
                  <a:lnTo>
                    <a:pt x="48757" y="56814"/>
                  </a:lnTo>
                  <a:lnTo>
                    <a:pt x="46369" y="55182"/>
                  </a:lnTo>
                  <a:lnTo>
                    <a:pt x="43039" y="53654"/>
                  </a:lnTo>
                  <a:lnTo>
                    <a:pt x="42087" y="52347"/>
                  </a:lnTo>
                  <a:lnTo>
                    <a:pt x="38491" y="49924"/>
                  </a:lnTo>
                  <a:lnTo>
                    <a:pt x="36803" y="48328"/>
                  </a:lnTo>
                  <a:lnTo>
                    <a:pt x="30946" y="45309"/>
                  </a:lnTo>
                  <a:lnTo>
                    <a:pt x="30735" y="44117"/>
                  </a:lnTo>
                  <a:lnTo>
                    <a:pt x="30692" y="42966"/>
                  </a:lnTo>
                  <a:lnTo>
                    <a:pt x="30428" y="42488"/>
                  </a:lnTo>
                  <a:lnTo>
                    <a:pt x="24392" y="40278"/>
                  </a:lnTo>
                  <a:lnTo>
                    <a:pt x="25580" y="39013"/>
                  </a:lnTo>
                  <a:lnTo>
                    <a:pt x="30299" y="38937"/>
                  </a:lnTo>
                  <a:lnTo>
                    <a:pt x="34201" y="40088"/>
                  </a:lnTo>
                  <a:lnTo>
                    <a:pt x="35058" y="39596"/>
                  </a:lnTo>
                  <a:lnTo>
                    <a:pt x="35574" y="38573"/>
                  </a:lnTo>
                  <a:lnTo>
                    <a:pt x="33911" y="34464"/>
                  </a:lnTo>
                  <a:lnTo>
                    <a:pt x="34209" y="33393"/>
                  </a:lnTo>
                  <a:lnTo>
                    <a:pt x="35926" y="32102"/>
                  </a:lnTo>
                  <a:lnTo>
                    <a:pt x="38647" y="31074"/>
                  </a:lnTo>
                  <a:lnTo>
                    <a:pt x="42946" y="30925"/>
                  </a:lnTo>
                  <a:lnTo>
                    <a:pt x="45876" y="31077"/>
                  </a:lnTo>
                  <a:lnTo>
                    <a:pt x="46496" y="31189"/>
                  </a:lnTo>
                  <a:lnTo>
                    <a:pt x="50873" y="35711"/>
                  </a:lnTo>
                  <a:lnTo>
                    <a:pt x="54626" y="40113"/>
                  </a:lnTo>
                  <a:lnTo>
                    <a:pt x="56622" y="41986"/>
                  </a:lnTo>
                  <a:lnTo>
                    <a:pt x="61502" y="47283"/>
                  </a:lnTo>
                  <a:lnTo>
                    <a:pt x="63327" y="50342"/>
                  </a:lnTo>
                  <a:lnTo>
                    <a:pt x="63946" y="52530"/>
                  </a:lnTo>
                  <a:lnTo>
                    <a:pt x="65931" y="52516"/>
                  </a:lnTo>
                  <a:lnTo>
                    <a:pt x="72793" y="53475"/>
                  </a:lnTo>
                  <a:lnTo>
                    <a:pt x="78557" y="54282"/>
                  </a:lnTo>
                  <a:lnTo>
                    <a:pt x="80163" y="55505"/>
                  </a:lnTo>
                  <a:lnTo>
                    <a:pt x="84137" y="55259"/>
                  </a:lnTo>
                  <a:lnTo>
                    <a:pt x="87198" y="54156"/>
                  </a:lnTo>
                  <a:lnTo>
                    <a:pt x="92605" y="52761"/>
                  </a:lnTo>
                  <a:lnTo>
                    <a:pt x="94055" y="51044"/>
                  </a:lnTo>
                  <a:lnTo>
                    <a:pt x="95855" y="49212"/>
                  </a:lnTo>
                  <a:lnTo>
                    <a:pt x="99026" y="49500"/>
                  </a:lnTo>
                  <a:lnTo>
                    <a:pt x="102491" y="50949"/>
                  </a:lnTo>
                  <a:lnTo>
                    <a:pt x="106425" y="52851"/>
                  </a:lnTo>
                  <a:lnTo>
                    <a:pt x="109930" y="53731"/>
                  </a:lnTo>
                  <a:lnTo>
                    <a:pt x="114633" y="55111"/>
                  </a:lnTo>
                  <a:lnTo>
                    <a:pt x="116827" y="56893"/>
                  </a:lnTo>
                  <a:lnTo>
                    <a:pt x="119900" y="57401"/>
                  </a:lnTo>
                  <a:lnTo>
                    <a:pt x="123117" y="55620"/>
                  </a:lnTo>
                  <a:lnTo>
                    <a:pt x="125018" y="50779"/>
                  </a:lnTo>
                  <a:lnTo>
                    <a:pt x="126704" y="48616"/>
                  </a:lnTo>
                  <a:lnTo>
                    <a:pt x="129093" y="47028"/>
                  </a:lnTo>
                  <a:lnTo>
                    <a:pt x="131829" y="46327"/>
                  </a:lnTo>
                  <a:lnTo>
                    <a:pt x="133917" y="46073"/>
                  </a:lnTo>
                  <a:lnTo>
                    <a:pt x="135495" y="44837"/>
                  </a:lnTo>
                  <a:lnTo>
                    <a:pt x="137743" y="42089"/>
                  </a:lnTo>
                  <a:lnTo>
                    <a:pt x="138182" y="38755"/>
                  </a:lnTo>
                  <a:lnTo>
                    <a:pt x="137750" y="32718"/>
                  </a:lnTo>
                  <a:lnTo>
                    <a:pt x="138160" y="30723"/>
                  </a:lnTo>
                  <a:lnTo>
                    <a:pt x="139996" y="27454"/>
                  </a:lnTo>
                  <a:lnTo>
                    <a:pt x="142457" y="18764"/>
                  </a:lnTo>
                  <a:lnTo>
                    <a:pt x="143563" y="16253"/>
                  </a:lnTo>
                  <a:lnTo>
                    <a:pt x="144910" y="14724"/>
                  </a:lnTo>
                  <a:lnTo>
                    <a:pt x="146761" y="13814"/>
                  </a:lnTo>
                  <a:lnTo>
                    <a:pt x="150123" y="11169"/>
                  </a:lnTo>
                  <a:lnTo>
                    <a:pt x="154925" y="5923"/>
                  </a:lnTo>
                  <a:lnTo>
                    <a:pt x="156227" y="5477"/>
                  </a:lnTo>
                  <a:lnTo>
                    <a:pt x="159676" y="5211"/>
                  </a:lnTo>
                  <a:lnTo>
                    <a:pt x="163967" y="5406"/>
                  </a:lnTo>
                  <a:lnTo>
                    <a:pt x="167823" y="6331"/>
                  </a:lnTo>
                  <a:lnTo>
                    <a:pt x="168240" y="6260"/>
                  </a:lnTo>
                  <a:lnTo>
                    <a:pt x="169968" y="5778"/>
                  </a:lnTo>
                  <a:lnTo>
                    <a:pt x="173116" y="4145"/>
                  </a:lnTo>
                  <a:lnTo>
                    <a:pt x="178504" y="895"/>
                  </a:lnTo>
                  <a:close/>
                </a:path>
              </a:pathLst>
            </a:custGeom>
            <a:grpFill/>
            <a:ln w="3175"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9" name="ee4p_FR_1_92573">
              <a:extLst>
                <a:ext uri="{FF2B5EF4-FFF2-40B4-BE49-F238E27FC236}">
                  <a16:creationId xmlns:a16="http://schemas.microsoft.com/office/drawing/2014/main" id="{9213701B-E1DB-48AE-A3C5-941C0F0C8B23}"/>
                </a:ext>
              </a:extLst>
            </p:cNvPr>
            <p:cNvSpPr>
              <a:spLocks noChangeAspect="1"/>
            </p:cNvSpPr>
            <p:nvPr>
              <p:custDataLst>
                <p:tags r:id="rId13"/>
              </p:custDataLst>
            </p:nvPr>
          </p:nvSpPr>
          <p:spPr>
            <a:xfrm>
              <a:off x="3354242" y="4405245"/>
              <a:ext cx="1255163" cy="1067650"/>
            </a:xfrm>
            <a:custGeom>
              <a:avLst/>
              <a:gdLst>
                <a:gd name="connsiteX0" fmla="*/ 313500 w 316622"/>
                <a:gd name="connsiteY0" fmla="*/ 225790 h 269321"/>
                <a:gd name="connsiteX1" fmla="*/ 314562 w 316622"/>
                <a:gd name="connsiteY1" fmla="*/ 226875 h 269321"/>
                <a:gd name="connsiteX2" fmla="*/ 314508 w 316622"/>
                <a:gd name="connsiteY2" fmla="*/ 227834 h 269321"/>
                <a:gd name="connsiteX3" fmla="*/ 314901 w 316622"/>
                <a:gd name="connsiteY3" fmla="*/ 230102 h 269321"/>
                <a:gd name="connsiteX4" fmla="*/ 314940 w 316622"/>
                <a:gd name="connsiteY4" fmla="*/ 231576 h 269321"/>
                <a:gd name="connsiteX5" fmla="*/ 314361 w 316622"/>
                <a:gd name="connsiteY5" fmla="*/ 235501 h 269321"/>
                <a:gd name="connsiteX6" fmla="*/ 314782 w 316622"/>
                <a:gd name="connsiteY6" fmla="*/ 236649 h 269321"/>
                <a:gd name="connsiteX7" fmla="*/ 315581 w 316622"/>
                <a:gd name="connsiteY7" fmla="*/ 237450 h 269321"/>
                <a:gd name="connsiteX8" fmla="*/ 315953 w 316622"/>
                <a:gd name="connsiteY8" fmla="*/ 238329 h 269321"/>
                <a:gd name="connsiteX9" fmla="*/ 316622 w 316622"/>
                <a:gd name="connsiteY9" fmla="*/ 248763 h 269321"/>
                <a:gd name="connsiteX10" fmla="*/ 316495 w 316622"/>
                <a:gd name="connsiteY10" fmla="*/ 249592 h 269321"/>
                <a:gd name="connsiteX11" fmla="*/ 313791 w 316622"/>
                <a:gd name="connsiteY11" fmla="*/ 253771 h 269321"/>
                <a:gd name="connsiteX12" fmla="*/ 313182 w 316622"/>
                <a:gd name="connsiteY12" fmla="*/ 254996 h 269321"/>
                <a:gd name="connsiteX13" fmla="*/ 313048 w 316622"/>
                <a:gd name="connsiteY13" fmla="*/ 260165 h 269321"/>
                <a:gd name="connsiteX14" fmla="*/ 312593 w 316622"/>
                <a:gd name="connsiteY14" fmla="*/ 261552 h 269321"/>
                <a:gd name="connsiteX15" fmla="*/ 311634 w 316622"/>
                <a:gd name="connsiteY15" fmla="*/ 262920 h 269321"/>
                <a:gd name="connsiteX16" fmla="*/ 309922 w 316622"/>
                <a:gd name="connsiteY16" fmla="*/ 267337 h 269321"/>
                <a:gd name="connsiteX17" fmla="*/ 308434 w 316622"/>
                <a:gd name="connsiteY17" fmla="*/ 269321 h 269321"/>
                <a:gd name="connsiteX18" fmla="*/ 304385 w 316622"/>
                <a:gd name="connsiteY18" fmla="*/ 266901 h 269321"/>
                <a:gd name="connsiteX19" fmla="*/ 301997 w 316622"/>
                <a:gd name="connsiteY19" fmla="*/ 265854 h 269321"/>
                <a:gd name="connsiteX20" fmla="*/ 300826 w 316622"/>
                <a:gd name="connsiteY20" fmla="*/ 264725 h 269321"/>
                <a:gd name="connsiteX21" fmla="*/ 300062 w 316622"/>
                <a:gd name="connsiteY21" fmla="*/ 263945 h 269321"/>
                <a:gd name="connsiteX22" fmla="*/ 300554 w 316622"/>
                <a:gd name="connsiteY22" fmla="*/ 262905 h 269321"/>
                <a:gd name="connsiteX23" fmla="*/ 301643 w 316622"/>
                <a:gd name="connsiteY23" fmla="*/ 261824 h 269321"/>
                <a:gd name="connsiteX24" fmla="*/ 301815 w 316622"/>
                <a:gd name="connsiteY24" fmla="*/ 260973 h 269321"/>
                <a:gd name="connsiteX25" fmla="*/ 299254 w 316622"/>
                <a:gd name="connsiteY25" fmla="*/ 260009 h 269321"/>
                <a:gd name="connsiteX26" fmla="*/ 298082 w 316622"/>
                <a:gd name="connsiteY26" fmla="*/ 259365 h 269321"/>
                <a:gd name="connsiteX27" fmla="*/ 298097 w 316622"/>
                <a:gd name="connsiteY27" fmla="*/ 258237 h 269321"/>
                <a:gd name="connsiteX28" fmla="*/ 298982 w 316622"/>
                <a:gd name="connsiteY28" fmla="*/ 256476 h 269321"/>
                <a:gd name="connsiteX29" fmla="*/ 298578 w 316622"/>
                <a:gd name="connsiteY29" fmla="*/ 255025 h 269321"/>
                <a:gd name="connsiteX30" fmla="*/ 297101 w 316622"/>
                <a:gd name="connsiteY30" fmla="*/ 255099 h 269321"/>
                <a:gd name="connsiteX31" fmla="*/ 295957 w 316622"/>
                <a:gd name="connsiteY31" fmla="*/ 254877 h 269321"/>
                <a:gd name="connsiteX32" fmla="*/ 295808 w 316622"/>
                <a:gd name="connsiteY32" fmla="*/ 254123 h 269321"/>
                <a:gd name="connsiteX33" fmla="*/ 296654 w 316622"/>
                <a:gd name="connsiteY33" fmla="*/ 253156 h 269321"/>
                <a:gd name="connsiteX34" fmla="*/ 297740 w 316622"/>
                <a:gd name="connsiteY34" fmla="*/ 251893 h 269321"/>
                <a:gd name="connsiteX35" fmla="*/ 297706 w 316622"/>
                <a:gd name="connsiteY35" fmla="*/ 250499 h 269321"/>
                <a:gd name="connsiteX36" fmla="*/ 296393 w 316622"/>
                <a:gd name="connsiteY36" fmla="*/ 249898 h 269321"/>
                <a:gd name="connsiteX37" fmla="*/ 295203 w 316622"/>
                <a:gd name="connsiteY37" fmla="*/ 248765 h 269321"/>
                <a:gd name="connsiteX38" fmla="*/ 294726 w 316622"/>
                <a:gd name="connsiteY38" fmla="*/ 247224 h 269321"/>
                <a:gd name="connsiteX39" fmla="*/ 295648 w 316622"/>
                <a:gd name="connsiteY39" fmla="*/ 246169 h 269321"/>
                <a:gd name="connsiteX40" fmla="*/ 297142 w 316622"/>
                <a:gd name="connsiteY40" fmla="*/ 245488 h 269321"/>
                <a:gd name="connsiteX41" fmla="*/ 296045 w 316622"/>
                <a:gd name="connsiteY41" fmla="*/ 243907 h 269321"/>
                <a:gd name="connsiteX42" fmla="*/ 295305 w 316622"/>
                <a:gd name="connsiteY42" fmla="*/ 243872 h 269321"/>
                <a:gd name="connsiteX43" fmla="*/ 294713 w 316622"/>
                <a:gd name="connsiteY43" fmla="*/ 243526 h 269321"/>
                <a:gd name="connsiteX44" fmla="*/ 295197 w 316622"/>
                <a:gd name="connsiteY44" fmla="*/ 242791 h 269321"/>
                <a:gd name="connsiteX45" fmla="*/ 296358 w 316622"/>
                <a:gd name="connsiteY45" fmla="*/ 241692 h 269321"/>
                <a:gd name="connsiteX46" fmla="*/ 297974 w 316622"/>
                <a:gd name="connsiteY46" fmla="*/ 238406 h 269321"/>
                <a:gd name="connsiteX47" fmla="*/ 300224 w 316622"/>
                <a:gd name="connsiteY47" fmla="*/ 236854 h 269321"/>
                <a:gd name="connsiteX48" fmla="*/ 304206 w 316622"/>
                <a:gd name="connsiteY48" fmla="*/ 235855 h 269321"/>
                <a:gd name="connsiteX49" fmla="*/ 305283 w 316622"/>
                <a:gd name="connsiteY49" fmla="*/ 235418 h 269321"/>
                <a:gd name="connsiteX50" fmla="*/ 306272 w 316622"/>
                <a:gd name="connsiteY50" fmla="*/ 234261 h 269321"/>
                <a:gd name="connsiteX51" fmla="*/ 307367 w 316622"/>
                <a:gd name="connsiteY51" fmla="*/ 233515 h 269321"/>
                <a:gd name="connsiteX52" fmla="*/ 308697 w 316622"/>
                <a:gd name="connsiteY52" fmla="*/ 233614 h 269321"/>
                <a:gd name="connsiteX53" fmla="*/ 309924 w 316622"/>
                <a:gd name="connsiteY53" fmla="*/ 234061 h 269321"/>
                <a:gd name="connsiteX54" fmla="*/ 310680 w 316622"/>
                <a:gd name="connsiteY54" fmla="*/ 234537 h 269321"/>
                <a:gd name="connsiteX55" fmla="*/ 311247 w 316622"/>
                <a:gd name="connsiteY55" fmla="*/ 234042 h 269321"/>
                <a:gd name="connsiteX56" fmla="*/ 311800 w 316622"/>
                <a:gd name="connsiteY56" fmla="*/ 232606 h 269321"/>
                <a:gd name="connsiteX57" fmla="*/ 311461 w 316622"/>
                <a:gd name="connsiteY57" fmla="*/ 231344 h 269321"/>
                <a:gd name="connsiteX58" fmla="*/ 311636 w 316622"/>
                <a:gd name="connsiteY58" fmla="*/ 227872 h 269321"/>
                <a:gd name="connsiteX59" fmla="*/ 312349 w 316622"/>
                <a:gd name="connsiteY59" fmla="*/ 225900 h 269321"/>
                <a:gd name="connsiteX60" fmla="*/ 74603 w 316622"/>
                <a:gd name="connsiteY60" fmla="*/ 143377 h 269321"/>
                <a:gd name="connsiteX61" fmla="*/ 76893 w 316622"/>
                <a:gd name="connsiteY61" fmla="*/ 144695 h 269321"/>
                <a:gd name="connsiteX62" fmla="*/ 79254 w 316622"/>
                <a:gd name="connsiteY62" fmla="*/ 147418 h 269321"/>
                <a:gd name="connsiteX63" fmla="*/ 78474 w 316622"/>
                <a:gd name="connsiteY63" fmla="*/ 149829 h 269321"/>
                <a:gd name="connsiteX64" fmla="*/ 76999 w 316622"/>
                <a:gd name="connsiteY64" fmla="*/ 147609 h 269321"/>
                <a:gd name="connsiteX65" fmla="*/ 75044 w 316622"/>
                <a:gd name="connsiteY65" fmla="*/ 145662 h 269321"/>
                <a:gd name="connsiteX66" fmla="*/ 74598 w 316622"/>
                <a:gd name="connsiteY66" fmla="*/ 143859 h 269321"/>
                <a:gd name="connsiteX67" fmla="*/ 161140 w 316622"/>
                <a:gd name="connsiteY67" fmla="*/ 0 h 269321"/>
                <a:gd name="connsiteX68" fmla="*/ 161386 w 316622"/>
                <a:gd name="connsiteY68" fmla="*/ 1392 h 269321"/>
                <a:gd name="connsiteX69" fmla="*/ 162243 w 316622"/>
                <a:gd name="connsiteY69" fmla="*/ 3172 h 269321"/>
                <a:gd name="connsiteX70" fmla="*/ 162833 w 316622"/>
                <a:gd name="connsiteY70" fmla="*/ 4145 h 269321"/>
                <a:gd name="connsiteX71" fmla="*/ 162343 w 316622"/>
                <a:gd name="connsiteY71" fmla="*/ 5415 h 269321"/>
                <a:gd name="connsiteX72" fmla="*/ 162729 w 316622"/>
                <a:gd name="connsiteY72" fmla="*/ 6460 h 269321"/>
                <a:gd name="connsiteX73" fmla="*/ 164329 w 316622"/>
                <a:gd name="connsiteY73" fmla="*/ 8341 h 269321"/>
                <a:gd name="connsiteX74" fmla="*/ 166324 w 316622"/>
                <a:gd name="connsiteY74" fmla="*/ 10112 h 269321"/>
                <a:gd name="connsiteX75" fmla="*/ 168102 w 316622"/>
                <a:gd name="connsiteY75" fmla="*/ 11243 h 269321"/>
                <a:gd name="connsiteX76" fmla="*/ 168603 w 316622"/>
                <a:gd name="connsiteY76" fmla="*/ 11120 h 269321"/>
                <a:gd name="connsiteX77" fmla="*/ 169920 w 316622"/>
                <a:gd name="connsiteY77" fmla="*/ 10798 h 269321"/>
                <a:gd name="connsiteX78" fmla="*/ 172150 w 316622"/>
                <a:gd name="connsiteY78" fmla="*/ 9638 h 269321"/>
                <a:gd name="connsiteX79" fmla="*/ 174008 w 316622"/>
                <a:gd name="connsiteY79" fmla="*/ 9273 h 269321"/>
                <a:gd name="connsiteX80" fmla="*/ 175070 w 316622"/>
                <a:gd name="connsiteY80" fmla="*/ 10162 h 269321"/>
                <a:gd name="connsiteX81" fmla="*/ 175670 w 316622"/>
                <a:gd name="connsiteY81" fmla="*/ 10663 h 269321"/>
                <a:gd name="connsiteX82" fmla="*/ 176841 w 316622"/>
                <a:gd name="connsiteY82" fmla="*/ 12664 h 269321"/>
                <a:gd name="connsiteX83" fmla="*/ 177169 w 316622"/>
                <a:gd name="connsiteY83" fmla="*/ 14752 h 269321"/>
                <a:gd name="connsiteX84" fmla="*/ 177689 w 316622"/>
                <a:gd name="connsiteY84" fmla="*/ 16484 h 269321"/>
                <a:gd name="connsiteX85" fmla="*/ 178637 w 316622"/>
                <a:gd name="connsiteY85" fmla="*/ 17186 h 269321"/>
                <a:gd name="connsiteX86" fmla="*/ 182192 w 316622"/>
                <a:gd name="connsiteY86" fmla="*/ 17416 h 269321"/>
                <a:gd name="connsiteX87" fmla="*/ 184811 w 316622"/>
                <a:gd name="connsiteY87" fmla="*/ 18058 h 269321"/>
                <a:gd name="connsiteX88" fmla="*/ 185504 w 316622"/>
                <a:gd name="connsiteY88" fmla="*/ 18639 h 269321"/>
                <a:gd name="connsiteX89" fmla="*/ 186400 w 316622"/>
                <a:gd name="connsiteY89" fmla="*/ 22482 h 269321"/>
                <a:gd name="connsiteX90" fmla="*/ 186888 w 316622"/>
                <a:gd name="connsiteY90" fmla="*/ 23025 h 269321"/>
                <a:gd name="connsiteX91" fmla="*/ 187541 w 316622"/>
                <a:gd name="connsiteY91" fmla="*/ 22572 h 269321"/>
                <a:gd name="connsiteX92" fmla="*/ 188186 w 316622"/>
                <a:gd name="connsiteY92" fmla="*/ 21940 h 269321"/>
                <a:gd name="connsiteX93" fmla="*/ 189082 w 316622"/>
                <a:gd name="connsiteY93" fmla="*/ 21839 h 269321"/>
                <a:gd name="connsiteX94" fmla="*/ 190620 w 316622"/>
                <a:gd name="connsiteY94" fmla="*/ 22083 h 269321"/>
                <a:gd name="connsiteX95" fmla="*/ 192645 w 316622"/>
                <a:gd name="connsiteY95" fmla="*/ 22159 h 269321"/>
                <a:gd name="connsiteX96" fmla="*/ 194734 w 316622"/>
                <a:gd name="connsiteY96" fmla="*/ 22582 h 269321"/>
                <a:gd name="connsiteX97" fmla="*/ 197618 w 316622"/>
                <a:gd name="connsiteY97" fmla="*/ 24750 h 269321"/>
                <a:gd name="connsiteX98" fmla="*/ 197508 w 316622"/>
                <a:gd name="connsiteY98" fmla="*/ 25465 h 269321"/>
                <a:gd name="connsiteX99" fmla="*/ 196945 w 316622"/>
                <a:gd name="connsiteY99" fmla="*/ 26720 h 269321"/>
                <a:gd name="connsiteX100" fmla="*/ 196748 w 316622"/>
                <a:gd name="connsiteY100" fmla="*/ 27721 h 269321"/>
                <a:gd name="connsiteX101" fmla="*/ 197245 w 316622"/>
                <a:gd name="connsiteY101" fmla="*/ 28123 h 269321"/>
                <a:gd name="connsiteX102" fmla="*/ 198007 w 316622"/>
                <a:gd name="connsiteY102" fmla="*/ 29156 h 269321"/>
                <a:gd name="connsiteX103" fmla="*/ 197824 w 316622"/>
                <a:gd name="connsiteY103" fmla="*/ 30350 h 269321"/>
                <a:gd name="connsiteX104" fmla="*/ 197081 w 316622"/>
                <a:gd name="connsiteY104" fmla="*/ 31186 h 269321"/>
                <a:gd name="connsiteX105" fmla="*/ 196783 w 316622"/>
                <a:gd name="connsiteY105" fmla="*/ 31875 h 269321"/>
                <a:gd name="connsiteX106" fmla="*/ 196787 w 316622"/>
                <a:gd name="connsiteY106" fmla="*/ 32323 h 269321"/>
                <a:gd name="connsiteX107" fmla="*/ 197059 w 316622"/>
                <a:gd name="connsiteY107" fmla="*/ 32695 h 269321"/>
                <a:gd name="connsiteX108" fmla="*/ 197651 w 316622"/>
                <a:gd name="connsiteY108" fmla="*/ 33022 h 269321"/>
                <a:gd name="connsiteX109" fmla="*/ 201911 w 316622"/>
                <a:gd name="connsiteY109" fmla="*/ 33463 h 269321"/>
                <a:gd name="connsiteX110" fmla="*/ 205809 w 316622"/>
                <a:gd name="connsiteY110" fmla="*/ 33022 h 269321"/>
                <a:gd name="connsiteX111" fmla="*/ 208266 w 316622"/>
                <a:gd name="connsiteY111" fmla="*/ 31805 h 269321"/>
                <a:gd name="connsiteX112" fmla="*/ 208685 w 316622"/>
                <a:gd name="connsiteY112" fmla="*/ 30522 h 269321"/>
                <a:gd name="connsiteX113" fmla="*/ 209383 w 316622"/>
                <a:gd name="connsiteY113" fmla="*/ 29072 h 269321"/>
                <a:gd name="connsiteX114" fmla="*/ 210847 w 316622"/>
                <a:gd name="connsiteY114" fmla="*/ 27858 h 269321"/>
                <a:gd name="connsiteX115" fmla="*/ 211860 w 316622"/>
                <a:gd name="connsiteY115" fmla="*/ 27450 h 269321"/>
                <a:gd name="connsiteX116" fmla="*/ 212786 w 316622"/>
                <a:gd name="connsiteY116" fmla="*/ 27950 h 269321"/>
                <a:gd name="connsiteX117" fmla="*/ 211227 w 316622"/>
                <a:gd name="connsiteY117" fmla="*/ 33042 h 269321"/>
                <a:gd name="connsiteX118" fmla="*/ 212365 w 316622"/>
                <a:gd name="connsiteY118" fmla="*/ 34342 h 269321"/>
                <a:gd name="connsiteX119" fmla="*/ 212533 w 316622"/>
                <a:gd name="connsiteY119" fmla="*/ 36284 h 269321"/>
                <a:gd name="connsiteX120" fmla="*/ 212941 w 316622"/>
                <a:gd name="connsiteY120" fmla="*/ 37983 h 269321"/>
                <a:gd name="connsiteX121" fmla="*/ 214334 w 316622"/>
                <a:gd name="connsiteY121" fmla="*/ 37951 h 269321"/>
                <a:gd name="connsiteX122" fmla="*/ 216023 w 316622"/>
                <a:gd name="connsiteY122" fmla="*/ 38265 h 269321"/>
                <a:gd name="connsiteX123" fmla="*/ 217219 w 316622"/>
                <a:gd name="connsiteY123" fmla="*/ 38893 h 269321"/>
                <a:gd name="connsiteX124" fmla="*/ 218614 w 316622"/>
                <a:gd name="connsiteY124" fmla="*/ 39902 h 269321"/>
                <a:gd name="connsiteX125" fmla="*/ 220625 w 316622"/>
                <a:gd name="connsiteY125" fmla="*/ 40829 h 269321"/>
                <a:gd name="connsiteX126" fmla="*/ 222035 w 316622"/>
                <a:gd name="connsiteY126" fmla="*/ 41155 h 269321"/>
                <a:gd name="connsiteX127" fmla="*/ 222546 w 316622"/>
                <a:gd name="connsiteY127" fmla="*/ 41929 h 269321"/>
                <a:gd name="connsiteX128" fmla="*/ 223686 w 316622"/>
                <a:gd name="connsiteY128" fmla="*/ 42825 h 269321"/>
                <a:gd name="connsiteX129" fmla="*/ 225481 w 316622"/>
                <a:gd name="connsiteY129" fmla="*/ 44702 h 269321"/>
                <a:gd name="connsiteX130" fmla="*/ 227087 w 316622"/>
                <a:gd name="connsiteY130" fmla="*/ 45954 h 269321"/>
                <a:gd name="connsiteX131" fmla="*/ 227863 w 316622"/>
                <a:gd name="connsiteY131" fmla="*/ 45949 h 269321"/>
                <a:gd name="connsiteX132" fmla="*/ 229359 w 316622"/>
                <a:gd name="connsiteY132" fmla="*/ 45456 h 269321"/>
                <a:gd name="connsiteX133" fmla="*/ 231579 w 316622"/>
                <a:gd name="connsiteY133" fmla="*/ 45140 h 269321"/>
                <a:gd name="connsiteX134" fmla="*/ 233332 w 316622"/>
                <a:gd name="connsiteY134" fmla="*/ 45167 h 269321"/>
                <a:gd name="connsiteX135" fmla="*/ 234078 w 316622"/>
                <a:gd name="connsiteY135" fmla="*/ 46120 h 269321"/>
                <a:gd name="connsiteX136" fmla="*/ 235801 w 316622"/>
                <a:gd name="connsiteY136" fmla="*/ 46560 h 269321"/>
                <a:gd name="connsiteX137" fmla="*/ 236410 w 316622"/>
                <a:gd name="connsiteY137" fmla="*/ 46910 h 269321"/>
                <a:gd name="connsiteX138" fmla="*/ 237086 w 316622"/>
                <a:gd name="connsiteY138" fmla="*/ 47567 h 269321"/>
                <a:gd name="connsiteX139" fmla="*/ 238234 w 316622"/>
                <a:gd name="connsiteY139" fmla="*/ 47831 h 269321"/>
                <a:gd name="connsiteX140" fmla="*/ 239621 w 316622"/>
                <a:gd name="connsiteY140" fmla="*/ 47567 h 269321"/>
                <a:gd name="connsiteX141" fmla="*/ 240633 w 316622"/>
                <a:gd name="connsiteY141" fmla="*/ 46690 h 269321"/>
                <a:gd name="connsiteX142" fmla="*/ 241985 w 316622"/>
                <a:gd name="connsiteY142" fmla="*/ 46297 h 269321"/>
                <a:gd name="connsiteX143" fmla="*/ 243337 w 316622"/>
                <a:gd name="connsiteY143" fmla="*/ 46428 h 269321"/>
                <a:gd name="connsiteX144" fmla="*/ 244114 w 316622"/>
                <a:gd name="connsiteY144" fmla="*/ 46910 h 269321"/>
                <a:gd name="connsiteX145" fmla="*/ 245596 w 316622"/>
                <a:gd name="connsiteY145" fmla="*/ 47622 h 269321"/>
                <a:gd name="connsiteX146" fmla="*/ 246434 w 316622"/>
                <a:gd name="connsiteY146" fmla="*/ 47467 h 269321"/>
                <a:gd name="connsiteX147" fmla="*/ 248111 w 316622"/>
                <a:gd name="connsiteY147" fmla="*/ 47905 h 269321"/>
                <a:gd name="connsiteX148" fmla="*/ 249796 w 316622"/>
                <a:gd name="connsiteY148" fmla="*/ 49287 h 269321"/>
                <a:gd name="connsiteX149" fmla="*/ 250504 w 316622"/>
                <a:gd name="connsiteY149" fmla="*/ 50676 h 269321"/>
                <a:gd name="connsiteX150" fmla="*/ 250689 w 316622"/>
                <a:gd name="connsiteY150" fmla="*/ 51435 h 269321"/>
                <a:gd name="connsiteX151" fmla="*/ 251417 w 316622"/>
                <a:gd name="connsiteY151" fmla="*/ 52260 h 269321"/>
                <a:gd name="connsiteX152" fmla="*/ 254244 w 316622"/>
                <a:gd name="connsiteY152" fmla="*/ 55987 h 269321"/>
                <a:gd name="connsiteX153" fmla="*/ 255147 w 316622"/>
                <a:gd name="connsiteY153" fmla="*/ 56171 h 269321"/>
                <a:gd name="connsiteX154" fmla="*/ 256129 w 316622"/>
                <a:gd name="connsiteY154" fmla="*/ 55606 h 269321"/>
                <a:gd name="connsiteX155" fmla="*/ 256766 w 316622"/>
                <a:gd name="connsiteY155" fmla="*/ 54805 h 269321"/>
                <a:gd name="connsiteX156" fmla="*/ 257688 w 316622"/>
                <a:gd name="connsiteY156" fmla="*/ 54645 h 269321"/>
                <a:gd name="connsiteX157" fmla="*/ 259172 w 316622"/>
                <a:gd name="connsiteY157" fmla="*/ 55014 h 269321"/>
                <a:gd name="connsiteX158" fmla="*/ 260126 w 316622"/>
                <a:gd name="connsiteY158" fmla="*/ 55436 h 269321"/>
                <a:gd name="connsiteX159" fmla="*/ 260584 w 316622"/>
                <a:gd name="connsiteY159" fmla="*/ 57049 h 269321"/>
                <a:gd name="connsiteX160" fmla="*/ 260906 w 316622"/>
                <a:gd name="connsiteY160" fmla="*/ 57356 h 269321"/>
                <a:gd name="connsiteX161" fmla="*/ 261547 w 316622"/>
                <a:gd name="connsiteY161" fmla="*/ 57009 h 269321"/>
                <a:gd name="connsiteX162" fmla="*/ 262690 w 316622"/>
                <a:gd name="connsiteY162" fmla="*/ 56932 h 269321"/>
                <a:gd name="connsiteX163" fmla="*/ 264514 w 316622"/>
                <a:gd name="connsiteY163" fmla="*/ 57330 h 269321"/>
                <a:gd name="connsiteX164" fmla="*/ 267023 w 316622"/>
                <a:gd name="connsiteY164" fmla="*/ 56875 h 269321"/>
                <a:gd name="connsiteX165" fmla="*/ 269031 w 316622"/>
                <a:gd name="connsiteY165" fmla="*/ 56202 h 269321"/>
                <a:gd name="connsiteX166" fmla="*/ 270057 w 316622"/>
                <a:gd name="connsiteY166" fmla="*/ 56227 h 269321"/>
                <a:gd name="connsiteX167" fmla="*/ 271713 w 316622"/>
                <a:gd name="connsiteY167" fmla="*/ 58108 h 269321"/>
                <a:gd name="connsiteX168" fmla="*/ 273603 w 316622"/>
                <a:gd name="connsiteY168" fmla="*/ 58811 h 269321"/>
                <a:gd name="connsiteX169" fmla="*/ 277766 w 316622"/>
                <a:gd name="connsiteY169" fmla="*/ 59378 h 269321"/>
                <a:gd name="connsiteX170" fmla="*/ 282234 w 316622"/>
                <a:gd name="connsiteY170" fmla="*/ 60262 h 269321"/>
                <a:gd name="connsiteX171" fmla="*/ 283989 w 316622"/>
                <a:gd name="connsiteY171" fmla="*/ 60976 h 269321"/>
                <a:gd name="connsiteX172" fmla="*/ 285188 w 316622"/>
                <a:gd name="connsiteY172" fmla="*/ 61327 h 269321"/>
                <a:gd name="connsiteX173" fmla="*/ 285309 w 316622"/>
                <a:gd name="connsiteY173" fmla="*/ 63812 h 269321"/>
                <a:gd name="connsiteX174" fmla="*/ 284948 w 316622"/>
                <a:gd name="connsiteY174" fmla="*/ 64187 h 269321"/>
                <a:gd name="connsiteX175" fmla="*/ 280498 w 316622"/>
                <a:gd name="connsiteY175" fmla="*/ 69161 h 269321"/>
                <a:gd name="connsiteX176" fmla="*/ 278623 w 316622"/>
                <a:gd name="connsiteY176" fmla="*/ 70938 h 269321"/>
                <a:gd name="connsiteX177" fmla="*/ 277669 w 316622"/>
                <a:gd name="connsiteY177" fmla="*/ 73471 h 269321"/>
                <a:gd name="connsiteX178" fmla="*/ 277013 w 316622"/>
                <a:gd name="connsiteY178" fmla="*/ 77352 h 269321"/>
                <a:gd name="connsiteX179" fmla="*/ 275698 w 316622"/>
                <a:gd name="connsiteY179" fmla="*/ 81034 h 269321"/>
                <a:gd name="connsiteX180" fmla="*/ 273728 w 316622"/>
                <a:gd name="connsiteY180" fmla="*/ 84519 h 269321"/>
                <a:gd name="connsiteX181" fmla="*/ 273011 w 316622"/>
                <a:gd name="connsiteY181" fmla="*/ 87132 h 269321"/>
                <a:gd name="connsiteX182" fmla="*/ 273549 w 316622"/>
                <a:gd name="connsiteY182" fmla="*/ 88874 h 269321"/>
                <a:gd name="connsiteX183" fmla="*/ 273212 w 316622"/>
                <a:gd name="connsiteY183" fmla="*/ 91607 h 269321"/>
                <a:gd name="connsiteX184" fmla="*/ 272003 w 316622"/>
                <a:gd name="connsiteY184" fmla="*/ 95326 h 269321"/>
                <a:gd name="connsiteX185" fmla="*/ 271800 w 316622"/>
                <a:gd name="connsiteY185" fmla="*/ 98132 h 269321"/>
                <a:gd name="connsiteX186" fmla="*/ 272597 w 316622"/>
                <a:gd name="connsiteY186" fmla="*/ 100025 h 269321"/>
                <a:gd name="connsiteX187" fmla="*/ 273707 w 316622"/>
                <a:gd name="connsiteY187" fmla="*/ 100413 h 269321"/>
                <a:gd name="connsiteX188" fmla="*/ 271037 w 316622"/>
                <a:gd name="connsiteY188" fmla="*/ 101687 h 269321"/>
                <a:gd name="connsiteX189" fmla="*/ 270429 w 316622"/>
                <a:gd name="connsiteY189" fmla="*/ 102801 h 269321"/>
                <a:gd name="connsiteX190" fmla="*/ 269381 w 316622"/>
                <a:gd name="connsiteY190" fmla="*/ 104274 h 269321"/>
                <a:gd name="connsiteX191" fmla="*/ 267682 w 316622"/>
                <a:gd name="connsiteY191" fmla="*/ 104893 h 269321"/>
                <a:gd name="connsiteX192" fmla="*/ 265970 w 316622"/>
                <a:gd name="connsiteY192" fmla="*/ 105098 h 269321"/>
                <a:gd name="connsiteX193" fmla="*/ 264585 w 316622"/>
                <a:gd name="connsiteY193" fmla="*/ 104903 h 269321"/>
                <a:gd name="connsiteX194" fmla="*/ 263797 w 316622"/>
                <a:gd name="connsiteY194" fmla="*/ 104315 h 269321"/>
                <a:gd name="connsiteX195" fmla="*/ 263836 w 316622"/>
                <a:gd name="connsiteY195" fmla="*/ 103767 h 269321"/>
                <a:gd name="connsiteX196" fmla="*/ 263102 w 316622"/>
                <a:gd name="connsiteY196" fmla="*/ 103301 h 269321"/>
                <a:gd name="connsiteX197" fmla="*/ 261275 w 316622"/>
                <a:gd name="connsiteY197" fmla="*/ 103315 h 269321"/>
                <a:gd name="connsiteX198" fmla="*/ 259394 w 316622"/>
                <a:gd name="connsiteY198" fmla="*/ 104328 h 269321"/>
                <a:gd name="connsiteX199" fmla="*/ 257891 w 316622"/>
                <a:gd name="connsiteY199" fmla="*/ 105982 h 269321"/>
                <a:gd name="connsiteX200" fmla="*/ 258358 w 316622"/>
                <a:gd name="connsiteY200" fmla="*/ 106907 h 269321"/>
                <a:gd name="connsiteX201" fmla="*/ 259742 w 316622"/>
                <a:gd name="connsiteY201" fmla="*/ 107151 h 269321"/>
                <a:gd name="connsiteX202" fmla="*/ 260107 w 316622"/>
                <a:gd name="connsiteY202" fmla="*/ 107517 h 269321"/>
                <a:gd name="connsiteX203" fmla="*/ 260107 w 316622"/>
                <a:gd name="connsiteY203" fmla="*/ 107992 h 269321"/>
                <a:gd name="connsiteX204" fmla="*/ 259619 w 316622"/>
                <a:gd name="connsiteY204" fmla="*/ 108564 h 269321"/>
                <a:gd name="connsiteX205" fmla="*/ 259034 w 316622"/>
                <a:gd name="connsiteY205" fmla="*/ 109541 h 269321"/>
                <a:gd name="connsiteX206" fmla="*/ 256129 w 316622"/>
                <a:gd name="connsiteY206" fmla="*/ 112450 h 269321"/>
                <a:gd name="connsiteX207" fmla="*/ 253197 w 316622"/>
                <a:gd name="connsiteY207" fmla="*/ 115382 h 269321"/>
                <a:gd name="connsiteX208" fmla="*/ 252728 w 316622"/>
                <a:gd name="connsiteY208" fmla="*/ 116268 h 269321"/>
                <a:gd name="connsiteX209" fmla="*/ 251798 w 316622"/>
                <a:gd name="connsiteY209" fmla="*/ 116887 h 269321"/>
                <a:gd name="connsiteX210" fmla="*/ 248070 w 316622"/>
                <a:gd name="connsiteY210" fmla="*/ 118450 h 269321"/>
                <a:gd name="connsiteX211" fmla="*/ 247680 w 316622"/>
                <a:gd name="connsiteY211" fmla="*/ 119076 h 269321"/>
                <a:gd name="connsiteX212" fmla="*/ 247468 w 316622"/>
                <a:gd name="connsiteY212" fmla="*/ 121685 h 269321"/>
                <a:gd name="connsiteX213" fmla="*/ 247051 w 316622"/>
                <a:gd name="connsiteY213" fmla="*/ 123826 h 269321"/>
                <a:gd name="connsiteX214" fmla="*/ 244287 w 316622"/>
                <a:gd name="connsiteY214" fmla="*/ 125839 h 269321"/>
                <a:gd name="connsiteX215" fmla="*/ 241536 w 316622"/>
                <a:gd name="connsiteY215" fmla="*/ 127842 h 269321"/>
                <a:gd name="connsiteX216" fmla="*/ 240849 w 316622"/>
                <a:gd name="connsiteY216" fmla="*/ 129065 h 269321"/>
                <a:gd name="connsiteX217" fmla="*/ 240348 w 316622"/>
                <a:gd name="connsiteY217" fmla="*/ 130480 h 269321"/>
                <a:gd name="connsiteX218" fmla="*/ 239485 w 316622"/>
                <a:gd name="connsiteY218" fmla="*/ 132076 h 269321"/>
                <a:gd name="connsiteX219" fmla="*/ 239314 w 316622"/>
                <a:gd name="connsiteY219" fmla="*/ 132919 h 269321"/>
                <a:gd name="connsiteX220" fmla="*/ 240707 w 316622"/>
                <a:gd name="connsiteY220" fmla="*/ 134293 h 269321"/>
                <a:gd name="connsiteX221" fmla="*/ 240545 w 316622"/>
                <a:gd name="connsiteY221" fmla="*/ 135429 h 269321"/>
                <a:gd name="connsiteX222" fmla="*/ 240102 w 316622"/>
                <a:gd name="connsiteY222" fmla="*/ 137043 h 269321"/>
                <a:gd name="connsiteX223" fmla="*/ 238780 w 316622"/>
                <a:gd name="connsiteY223" fmla="*/ 138186 h 269321"/>
                <a:gd name="connsiteX224" fmla="*/ 237319 w 316622"/>
                <a:gd name="connsiteY224" fmla="*/ 138834 h 269321"/>
                <a:gd name="connsiteX225" fmla="*/ 237351 w 316622"/>
                <a:gd name="connsiteY225" fmla="*/ 140590 h 269321"/>
                <a:gd name="connsiteX226" fmla="*/ 238129 w 316622"/>
                <a:gd name="connsiteY226" fmla="*/ 140836 h 269321"/>
                <a:gd name="connsiteX227" fmla="*/ 239897 w 316622"/>
                <a:gd name="connsiteY227" fmla="*/ 140706 h 269321"/>
                <a:gd name="connsiteX228" fmla="*/ 242391 w 316622"/>
                <a:gd name="connsiteY228" fmla="*/ 139432 h 269321"/>
                <a:gd name="connsiteX229" fmla="*/ 244017 w 316622"/>
                <a:gd name="connsiteY229" fmla="*/ 137794 h 269321"/>
                <a:gd name="connsiteX230" fmla="*/ 243059 w 316622"/>
                <a:gd name="connsiteY230" fmla="*/ 136238 h 269321"/>
                <a:gd name="connsiteX231" fmla="*/ 242940 w 316622"/>
                <a:gd name="connsiteY231" fmla="*/ 135933 h 269321"/>
                <a:gd name="connsiteX232" fmla="*/ 243171 w 316622"/>
                <a:gd name="connsiteY232" fmla="*/ 135568 h 269321"/>
                <a:gd name="connsiteX233" fmla="*/ 245099 w 316622"/>
                <a:gd name="connsiteY233" fmla="*/ 133875 h 269321"/>
                <a:gd name="connsiteX234" fmla="*/ 247466 w 316622"/>
                <a:gd name="connsiteY234" fmla="*/ 132854 h 269321"/>
                <a:gd name="connsiteX235" fmla="*/ 250767 w 316622"/>
                <a:gd name="connsiteY235" fmla="*/ 132664 h 269321"/>
                <a:gd name="connsiteX236" fmla="*/ 254745 w 316622"/>
                <a:gd name="connsiteY236" fmla="*/ 133263 h 269321"/>
                <a:gd name="connsiteX237" fmla="*/ 255142 w 316622"/>
                <a:gd name="connsiteY237" fmla="*/ 133516 h 269321"/>
                <a:gd name="connsiteX238" fmla="*/ 254950 w 316622"/>
                <a:gd name="connsiteY238" fmla="*/ 134554 h 269321"/>
                <a:gd name="connsiteX239" fmla="*/ 255321 w 316622"/>
                <a:gd name="connsiteY239" fmla="*/ 136085 h 269321"/>
                <a:gd name="connsiteX240" fmla="*/ 256043 w 316622"/>
                <a:gd name="connsiteY240" fmla="*/ 137159 h 269321"/>
                <a:gd name="connsiteX241" fmla="*/ 255054 w 316622"/>
                <a:gd name="connsiteY241" fmla="*/ 140205 h 269321"/>
                <a:gd name="connsiteX242" fmla="*/ 255797 w 316622"/>
                <a:gd name="connsiteY242" fmla="*/ 141159 h 269321"/>
                <a:gd name="connsiteX243" fmla="*/ 256954 w 316622"/>
                <a:gd name="connsiteY243" fmla="*/ 142299 h 269321"/>
                <a:gd name="connsiteX244" fmla="*/ 257822 w 316622"/>
                <a:gd name="connsiteY244" fmla="*/ 143340 h 269321"/>
                <a:gd name="connsiteX245" fmla="*/ 259070 w 316622"/>
                <a:gd name="connsiteY245" fmla="*/ 144296 h 269321"/>
                <a:gd name="connsiteX246" fmla="*/ 260180 w 316622"/>
                <a:gd name="connsiteY246" fmla="*/ 145906 h 269321"/>
                <a:gd name="connsiteX247" fmla="*/ 260560 w 316622"/>
                <a:gd name="connsiteY247" fmla="*/ 146818 h 269321"/>
                <a:gd name="connsiteX248" fmla="*/ 258785 w 316622"/>
                <a:gd name="connsiteY248" fmla="*/ 148402 h 269321"/>
                <a:gd name="connsiteX249" fmla="*/ 255771 w 316622"/>
                <a:gd name="connsiteY249" fmla="*/ 149886 h 269321"/>
                <a:gd name="connsiteX250" fmla="*/ 255432 w 316622"/>
                <a:gd name="connsiteY250" fmla="*/ 150836 h 269321"/>
                <a:gd name="connsiteX251" fmla="*/ 255471 w 316622"/>
                <a:gd name="connsiteY251" fmla="*/ 151916 h 269321"/>
                <a:gd name="connsiteX252" fmla="*/ 255810 w 316622"/>
                <a:gd name="connsiteY252" fmla="*/ 152765 h 269321"/>
                <a:gd name="connsiteX253" fmla="*/ 257472 w 316622"/>
                <a:gd name="connsiteY253" fmla="*/ 153857 h 269321"/>
                <a:gd name="connsiteX254" fmla="*/ 259263 w 316622"/>
                <a:gd name="connsiteY254" fmla="*/ 156327 h 269321"/>
                <a:gd name="connsiteX255" fmla="*/ 260396 w 316622"/>
                <a:gd name="connsiteY255" fmla="*/ 158528 h 269321"/>
                <a:gd name="connsiteX256" fmla="*/ 262881 w 316622"/>
                <a:gd name="connsiteY256" fmla="*/ 160637 h 269321"/>
                <a:gd name="connsiteX257" fmla="*/ 263486 w 316622"/>
                <a:gd name="connsiteY257" fmla="*/ 161261 h 269321"/>
                <a:gd name="connsiteX258" fmla="*/ 263331 w 316622"/>
                <a:gd name="connsiteY258" fmla="*/ 161788 h 269321"/>
                <a:gd name="connsiteX259" fmla="*/ 262676 w 316622"/>
                <a:gd name="connsiteY259" fmla="*/ 162686 h 269321"/>
                <a:gd name="connsiteX260" fmla="*/ 261826 w 316622"/>
                <a:gd name="connsiteY260" fmla="*/ 165676 h 269321"/>
                <a:gd name="connsiteX261" fmla="*/ 260811 w 316622"/>
                <a:gd name="connsiteY261" fmla="*/ 166151 h 269321"/>
                <a:gd name="connsiteX262" fmla="*/ 259679 w 316622"/>
                <a:gd name="connsiteY262" fmla="*/ 166344 h 269321"/>
                <a:gd name="connsiteX263" fmla="*/ 256607 w 316622"/>
                <a:gd name="connsiteY263" fmla="*/ 168532 h 269321"/>
                <a:gd name="connsiteX264" fmla="*/ 255237 w 316622"/>
                <a:gd name="connsiteY264" fmla="*/ 168267 h 269321"/>
                <a:gd name="connsiteX265" fmla="*/ 253290 w 316622"/>
                <a:gd name="connsiteY265" fmla="*/ 168295 h 269321"/>
                <a:gd name="connsiteX266" fmla="*/ 251862 w 316622"/>
                <a:gd name="connsiteY266" fmla="*/ 169016 h 269321"/>
                <a:gd name="connsiteX267" fmla="*/ 252018 w 316622"/>
                <a:gd name="connsiteY267" fmla="*/ 170378 h 269321"/>
                <a:gd name="connsiteX268" fmla="*/ 253270 w 316622"/>
                <a:gd name="connsiteY268" fmla="*/ 171624 h 269321"/>
                <a:gd name="connsiteX269" fmla="*/ 254006 w 316622"/>
                <a:gd name="connsiteY269" fmla="*/ 172980 h 269321"/>
                <a:gd name="connsiteX270" fmla="*/ 254304 w 316622"/>
                <a:gd name="connsiteY270" fmla="*/ 174390 h 269321"/>
                <a:gd name="connsiteX271" fmla="*/ 255695 w 316622"/>
                <a:gd name="connsiteY271" fmla="*/ 175434 h 269321"/>
                <a:gd name="connsiteX272" fmla="*/ 257647 w 316622"/>
                <a:gd name="connsiteY272" fmla="*/ 176058 h 269321"/>
                <a:gd name="connsiteX273" fmla="*/ 258764 w 316622"/>
                <a:gd name="connsiteY273" fmla="*/ 176100 h 269321"/>
                <a:gd name="connsiteX274" fmla="*/ 259494 w 316622"/>
                <a:gd name="connsiteY274" fmla="*/ 176475 h 269321"/>
                <a:gd name="connsiteX275" fmla="*/ 259932 w 316622"/>
                <a:gd name="connsiteY275" fmla="*/ 176958 h 269321"/>
                <a:gd name="connsiteX276" fmla="*/ 260772 w 316622"/>
                <a:gd name="connsiteY276" fmla="*/ 179974 h 269321"/>
                <a:gd name="connsiteX277" fmla="*/ 260269 w 316622"/>
                <a:gd name="connsiteY277" fmla="*/ 180730 h 269321"/>
                <a:gd name="connsiteX278" fmla="*/ 259217 w 316622"/>
                <a:gd name="connsiteY278" fmla="*/ 181052 h 269321"/>
                <a:gd name="connsiteX279" fmla="*/ 258589 w 316622"/>
                <a:gd name="connsiteY279" fmla="*/ 182291 h 269321"/>
                <a:gd name="connsiteX280" fmla="*/ 257334 w 316622"/>
                <a:gd name="connsiteY280" fmla="*/ 184118 h 269321"/>
                <a:gd name="connsiteX281" fmla="*/ 256622 w 316622"/>
                <a:gd name="connsiteY281" fmla="*/ 185583 h 269321"/>
                <a:gd name="connsiteX282" fmla="*/ 257410 w 316622"/>
                <a:gd name="connsiteY282" fmla="*/ 186872 h 269321"/>
                <a:gd name="connsiteX283" fmla="*/ 257746 w 316622"/>
                <a:gd name="connsiteY283" fmla="*/ 187826 h 269321"/>
                <a:gd name="connsiteX284" fmla="*/ 257325 w 316622"/>
                <a:gd name="connsiteY284" fmla="*/ 188808 h 269321"/>
                <a:gd name="connsiteX285" fmla="*/ 257887 w 316622"/>
                <a:gd name="connsiteY285" fmla="*/ 190337 h 269321"/>
                <a:gd name="connsiteX286" fmla="*/ 259370 w 316622"/>
                <a:gd name="connsiteY286" fmla="*/ 191849 h 269321"/>
                <a:gd name="connsiteX287" fmla="*/ 263398 w 316622"/>
                <a:gd name="connsiteY287" fmla="*/ 193974 h 269321"/>
                <a:gd name="connsiteX288" fmla="*/ 267138 w 316622"/>
                <a:gd name="connsiteY288" fmla="*/ 195701 h 269321"/>
                <a:gd name="connsiteX289" fmla="*/ 268295 w 316622"/>
                <a:gd name="connsiteY289" fmla="*/ 195988 h 269321"/>
                <a:gd name="connsiteX290" fmla="*/ 273348 w 316622"/>
                <a:gd name="connsiteY290" fmla="*/ 194877 h 269321"/>
                <a:gd name="connsiteX291" fmla="*/ 274184 w 316622"/>
                <a:gd name="connsiteY291" fmla="*/ 194973 h 269321"/>
                <a:gd name="connsiteX292" fmla="*/ 274799 w 316622"/>
                <a:gd name="connsiteY292" fmla="*/ 196296 h 269321"/>
                <a:gd name="connsiteX293" fmla="*/ 275067 w 316622"/>
                <a:gd name="connsiteY293" fmla="*/ 197186 h 269321"/>
                <a:gd name="connsiteX294" fmla="*/ 274499 w 316622"/>
                <a:gd name="connsiteY294" fmla="*/ 198527 h 269321"/>
                <a:gd name="connsiteX295" fmla="*/ 273132 w 316622"/>
                <a:gd name="connsiteY295" fmla="*/ 200372 h 269321"/>
                <a:gd name="connsiteX296" fmla="*/ 271651 w 316622"/>
                <a:gd name="connsiteY296" fmla="*/ 201842 h 269321"/>
                <a:gd name="connsiteX297" fmla="*/ 270753 w 316622"/>
                <a:gd name="connsiteY297" fmla="*/ 203091 h 269321"/>
                <a:gd name="connsiteX298" fmla="*/ 270940 w 316622"/>
                <a:gd name="connsiteY298" fmla="*/ 204224 h 269321"/>
                <a:gd name="connsiteX299" fmla="*/ 270999 w 316622"/>
                <a:gd name="connsiteY299" fmla="*/ 205731 h 269321"/>
                <a:gd name="connsiteX300" fmla="*/ 269794 w 316622"/>
                <a:gd name="connsiteY300" fmla="*/ 206182 h 269321"/>
                <a:gd name="connsiteX301" fmla="*/ 269755 w 316622"/>
                <a:gd name="connsiteY301" fmla="*/ 205884 h 269321"/>
                <a:gd name="connsiteX302" fmla="*/ 269258 w 316622"/>
                <a:gd name="connsiteY302" fmla="*/ 205630 h 269321"/>
                <a:gd name="connsiteX303" fmla="*/ 268829 w 316622"/>
                <a:gd name="connsiteY303" fmla="*/ 205780 h 269321"/>
                <a:gd name="connsiteX304" fmla="*/ 268498 w 316622"/>
                <a:gd name="connsiteY304" fmla="*/ 206107 h 269321"/>
                <a:gd name="connsiteX305" fmla="*/ 268446 w 316622"/>
                <a:gd name="connsiteY305" fmla="*/ 206687 h 269321"/>
                <a:gd name="connsiteX306" fmla="*/ 265877 w 316622"/>
                <a:gd name="connsiteY306" fmla="*/ 207649 h 269321"/>
                <a:gd name="connsiteX307" fmla="*/ 264106 w 316622"/>
                <a:gd name="connsiteY307" fmla="*/ 208646 h 269321"/>
                <a:gd name="connsiteX308" fmla="*/ 257103 w 316622"/>
                <a:gd name="connsiteY308" fmla="*/ 214594 h 269321"/>
                <a:gd name="connsiteX309" fmla="*/ 253827 w 316622"/>
                <a:gd name="connsiteY309" fmla="*/ 216336 h 269321"/>
                <a:gd name="connsiteX310" fmla="*/ 253182 w 316622"/>
                <a:gd name="connsiteY310" fmla="*/ 217385 h 269321"/>
                <a:gd name="connsiteX311" fmla="*/ 252514 w 316622"/>
                <a:gd name="connsiteY311" fmla="*/ 219345 h 269321"/>
                <a:gd name="connsiteX312" fmla="*/ 250590 w 316622"/>
                <a:gd name="connsiteY312" fmla="*/ 221026 h 269321"/>
                <a:gd name="connsiteX313" fmla="*/ 248906 w 316622"/>
                <a:gd name="connsiteY313" fmla="*/ 221825 h 269321"/>
                <a:gd name="connsiteX314" fmla="*/ 244734 w 316622"/>
                <a:gd name="connsiteY314" fmla="*/ 222646 h 269321"/>
                <a:gd name="connsiteX315" fmla="*/ 240545 w 316622"/>
                <a:gd name="connsiteY315" fmla="*/ 224426 h 269321"/>
                <a:gd name="connsiteX316" fmla="*/ 238658 w 316622"/>
                <a:gd name="connsiteY316" fmla="*/ 223659 h 269321"/>
                <a:gd name="connsiteX317" fmla="*/ 233769 w 316622"/>
                <a:gd name="connsiteY317" fmla="*/ 223741 h 269321"/>
                <a:gd name="connsiteX318" fmla="*/ 230720 w 316622"/>
                <a:gd name="connsiteY318" fmla="*/ 221596 h 269321"/>
                <a:gd name="connsiteX319" fmla="*/ 224859 w 316622"/>
                <a:gd name="connsiteY319" fmla="*/ 220235 h 269321"/>
                <a:gd name="connsiteX320" fmla="*/ 222950 w 316622"/>
                <a:gd name="connsiteY320" fmla="*/ 217107 h 269321"/>
                <a:gd name="connsiteX321" fmla="*/ 220281 w 316622"/>
                <a:gd name="connsiteY321" fmla="*/ 216904 h 269321"/>
                <a:gd name="connsiteX322" fmla="*/ 218532 w 316622"/>
                <a:gd name="connsiteY322" fmla="*/ 216998 h 269321"/>
                <a:gd name="connsiteX323" fmla="*/ 217487 w 316622"/>
                <a:gd name="connsiteY323" fmla="*/ 216524 h 269321"/>
                <a:gd name="connsiteX324" fmla="*/ 217215 w 316622"/>
                <a:gd name="connsiteY324" fmla="*/ 215456 h 269321"/>
                <a:gd name="connsiteX325" fmla="*/ 217191 w 316622"/>
                <a:gd name="connsiteY325" fmla="*/ 214427 h 269321"/>
                <a:gd name="connsiteX326" fmla="*/ 215339 w 316622"/>
                <a:gd name="connsiteY326" fmla="*/ 214901 h 269321"/>
                <a:gd name="connsiteX327" fmla="*/ 213922 w 316622"/>
                <a:gd name="connsiteY327" fmla="*/ 214901 h 269321"/>
                <a:gd name="connsiteX328" fmla="*/ 213077 w 316622"/>
                <a:gd name="connsiteY328" fmla="*/ 215313 h 269321"/>
                <a:gd name="connsiteX329" fmla="*/ 212410 w 316622"/>
                <a:gd name="connsiteY329" fmla="*/ 215789 h 269321"/>
                <a:gd name="connsiteX330" fmla="*/ 211622 w 316622"/>
                <a:gd name="connsiteY330" fmla="*/ 215485 h 269321"/>
                <a:gd name="connsiteX331" fmla="*/ 211164 w 316622"/>
                <a:gd name="connsiteY331" fmla="*/ 215587 h 269321"/>
                <a:gd name="connsiteX332" fmla="*/ 211205 w 316622"/>
                <a:gd name="connsiteY332" fmla="*/ 216193 h 269321"/>
                <a:gd name="connsiteX333" fmla="*/ 209504 w 316622"/>
                <a:gd name="connsiteY333" fmla="*/ 216344 h 269321"/>
                <a:gd name="connsiteX334" fmla="*/ 207660 w 316622"/>
                <a:gd name="connsiteY334" fmla="*/ 215973 h 269321"/>
                <a:gd name="connsiteX335" fmla="*/ 202818 w 316622"/>
                <a:gd name="connsiteY335" fmla="*/ 214355 h 269321"/>
                <a:gd name="connsiteX336" fmla="*/ 202075 w 316622"/>
                <a:gd name="connsiteY336" fmla="*/ 214108 h 269321"/>
                <a:gd name="connsiteX337" fmla="*/ 198715 w 316622"/>
                <a:gd name="connsiteY337" fmla="*/ 213482 h 269321"/>
                <a:gd name="connsiteX338" fmla="*/ 197357 w 316622"/>
                <a:gd name="connsiteY338" fmla="*/ 212836 h 269321"/>
                <a:gd name="connsiteX339" fmla="*/ 196258 w 316622"/>
                <a:gd name="connsiteY339" fmla="*/ 211236 h 269321"/>
                <a:gd name="connsiteX340" fmla="*/ 195418 w 316622"/>
                <a:gd name="connsiteY340" fmla="*/ 210730 h 269321"/>
                <a:gd name="connsiteX341" fmla="*/ 194921 w 316622"/>
                <a:gd name="connsiteY341" fmla="*/ 210427 h 269321"/>
                <a:gd name="connsiteX342" fmla="*/ 191786 w 316622"/>
                <a:gd name="connsiteY342" fmla="*/ 211235 h 269321"/>
                <a:gd name="connsiteX343" fmla="*/ 190698 w 316622"/>
                <a:gd name="connsiteY343" fmla="*/ 212494 h 269321"/>
                <a:gd name="connsiteX344" fmla="*/ 188998 w 316622"/>
                <a:gd name="connsiteY344" fmla="*/ 213967 h 269321"/>
                <a:gd name="connsiteX345" fmla="*/ 177370 w 316622"/>
                <a:gd name="connsiteY345" fmla="*/ 221183 h 269321"/>
                <a:gd name="connsiteX346" fmla="*/ 175247 w 316622"/>
                <a:gd name="connsiteY346" fmla="*/ 224201 h 269321"/>
                <a:gd name="connsiteX347" fmla="*/ 172790 w 316622"/>
                <a:gd name="connsiteY347" fmla="*/ 228639 h 269321"/>
                <a:gd name="connsiteX348" fmla="*/ 172598 w 316622"/>
                <a:gd name="connsiteY348" fmla="*/ 230707 h 269321"/>
                <a:gd name="connsiteX349" fmla="*/ 173656 w 316622"/>
                <a:gd name="connsiteY349" fmla="*/ 237309 h 269321"/>
                <a:gd name="connsiteX350" fmla="*/ 176020 w 316622"/>
                <a:gd name="connsiteY350" fmla="*/ 240769 h 269321"/>
                <a:gd name="connsiteX351" fmla="*/ 176320 w 316622"/>
                <a:gd name="connsiteY351" fmla="*/ 241569 h 269321"/>
                <a:gd name="connsiteX352" fmla="*/ 175010 w 316622"/>
                <a:gd name="connsiteY352" fmla="*/ 241573 h 269321"/>
                <a:gd name="connsiteX353" fmla="*/ 172809 w 316622"/>
                <a:gd name="connsiteY353" fmla="*/ 241141 h 269321"/>
                <a:gd name="connsiteX354" fmla="*/ 170982 w 316622"/>
                <a:gd name="connsiteY354" fmla="*/ 240607 h 269321"/>
                <a:gd name="connsiteX355" fmla="*/ 169244 w 316622"/>
                <a:gd name="connsiteY355" fmla="*/ 240905 h 269321"/>
                <a:gd name="connsiteX356" fmla="*/ 167569 w 316622"/>
                <a:gd name="connsiteY356" fmla="*/ 241620 h 269321"/>
                <a:gd name="connsiteX357" fmla="*/ 166104 w 316622"/>
                <a:gd name="connsiteY357" fmla="*/ 242052 h 269321"/>
                <a:gd name="connsiteX358" fmla="*/ 165053 w 316622"/>
                <a:gd name="connsiteY358" fmla="*/ 242173 h 269321"/>
                <a:gd name="connsiteX359" fmla="*/ 164349 w 316622"/>
                <a:gd name="connsiteY359" fmla="*/ 242585 h 269321"/>
                <a:gd name="connsiteX360" fmla="*/ 164012 w 316622"/>
                <a:gd name="connsiteY360" fmla="*/ 243409 h 269321"/>
                <a:gd name="connsiteX361" fmla="*/ 163943 w 316622"/>
                <a:gd name="connsiteY361" fmla="*/ 243985 h 269321"/>
                <a:gd name="connsiteX362" fmla="*/ 162092 w 316622"/>
                <a:gd name="connsiteY362" fmla="*/ 243843 h 269321"/>
                <a:gd name="connsiteX363" fmla="*/ 157812 w 316622"/>
                <a:gd name="connsiteY363" fmla="*/ 242658 h 269321"/>
                <a:gd name="connsiteX364" fmla="*/ 153964 w 316622"/>
                <a:gd name="connsiteY364" fmla="*/ 241841 h 269321"/>
                <a:gd name="connsiteX365" fmla="*/ 151708 w 316622"/>
                <a:gd name="connsiteY365" fmla="*/ 242770 h 269321"/>
                <a:gd name="connsiteX366" fmla="*/ 150256 w 316622"/>
                <a:gd name="connsiteY366" fmla="*/ 243638 h 269321"/>
                <a:gd name="connsiteX367" fmla="*/ 149235 w 316622"/>
                <a:gd name="connsiteY367" fmla="*/ 243505 h 269321"/>
                <a:gd name="connsiteX368" fmla="*/ 148460 w 316622"/>
                <a:gd name="connsiteY368" fmla="*/ 242592 h 269321"/>
                <a:gd name="connsiteX369" fmla="*/ 147940 w 316622"/>
                <a:gd name="connsiteY369" fmla="*/ 241698 h 269321"/>
                <a:gd name="connsiteX370" fmla="*/ 146432 w 316622"/>
                <a:gd name="connsiteY370" fmla="*/ 240878 h 269321"/>
                <a:gd name="connsiteX371" fmla="*/ 143034 w 316622"/>
                <a:gd name="connsiteY371" fmla="*/ 239645 h 269321"/>
                <a:gd name="connsiteX372" fmla="*/ 143208 w 316622"/>
                <a:gd name="connsiteY372" fmla="*/ 239050 h 269321"/>
                <a:gd name="connsiteX373" fmla="*/ 143789 w 316622"/>
                <a:gd name="connsiteY373" fmla="*/ 238220 h 269321"/>
                <a:gd name="connsiteX374" fmla="*/ 143772 w 316622"/>
                <a:gd name="connsiteY374" fmla="*/ 237708 h 269321"/>
                <a:gd name="connsiteX375" fmla="*/ 143118 w 316622"/>
                <a:gd name="connsiteY375" fmla="*/ 236947 h 269321"/>
                <a:gd name="connsiteX376" fmla="*/ 139985 w 316622"/>
                <a:gd name="connsiteY376" fmla="*/ 236130 h 269321"/>
                <a:gd name="connsiteX377" fmla="*/ 138508 w 316622"/>
                <a:gd name="connsiteY377" fmla="*/ 235924 h 269321"/>
                <a:gd name="connsiteX378" fmla="*/ 137568 w 316622"/>
                <a:gd name="connsiteY378" fmla="*/ 236486 h 269321"/>
                <a:gd name="connsiteX379" fmla="*/ 136892 w 316622"/>
                <a:gd name="connsiteY379" fmla="*/ 237174 h 269321"/>
                <a:gd name="connsiteX380" fmla="*/ 135147 w 316622"/>
                <a:gd name="connsiteY380" fmla="*/ 234643 h 269321"/>
                <a:gd name="connsiteX381" fmla="*/ 133906 w 316622"/>
                <a:gd name="connsiteY381" fmla="*/ 234128 h 269321"/>
                <a:gd name="connsiteX382" fmla="*/ 132027 w 316622"/>
                <a:gd name="connsiteY382" fmla="*/ 234043 h 269321"/>
                <a:gd name="connsiteX383" fmla="*/ 129879 w 316622"/>
                <a:gd name="connsiteY383" fmla="*/ 233270 h 269321"/>
                <a:gd name="connsiteX384" fmla="*/ 127643 w 316622"/>
                <a:gd name="connsiteY384" fmla="*/ 232283 h 269321"/>
                <a:gd name="connsiteX385" fmla="*/ 122213 w 316622"/>
                <a:gd name="connsiteY385" fmla="*/ 230703 h 269321"/>
                <a:gd name="connsiteX386" fmla="*/ 120718 w 316622"/>
                <a:gd name="connsiteY386" fmla="*/ 230514 h 269321"/>
                <a:gd name="connsiteX387" fmla="*/ 120120 w 316622"/>
                <a:gd name="connsiteY387" fmla="*/ 230764 h 269321"/>
                <a:gd name="connsiteX388" fmla="*/ 119721 w 316622"/>
                <a:gd name="connsiteY388" fmla="*/ 231709 h 269321"/>
                <a:gd name="connsiteX389" fmla="*/ 119505 w 316622"/>
                <a:gd name="connsiteY389" fmla="*/ 234377 h 269321"/>
                <a:gd name="connsiteX390" fmla="*/ 119276 w 316622"/>
                <a:gd name="connsiteY390" fmla="*/ 234672 h 269321"/>
                <a:gd name="connsiteX391" fmla="*/ 116756 w 316622"/>
                <a:gd name="connsiteY391" fmla="*/ 234761 h 269321"/>
                <a:gd name="connsiteX392" fmla="*/ 113651 w 316622"/>
                <a:gd name="connsiteY392" fmla="*/ 234390 h 269321"/>
                <a:gd name="connsiteX393" fmla="*/ 112228 w 316622"/>
                <a:gd name="connsiteY393" fmla="*/ 234574 h 269321"/>
                <a:gd name="connsiteX394" fmla="*/ 110958 w 316622"/>
                <a:gd name="connsiteY394" fmla="*/ 234583 h 269321"/>
                <a:gd name="connsiteX395" fmla="*/ 109762 w 316622"/>
                <a:gd name="connsiteY395" fmla="*/ 233877 h 269321"/>
                <a:gd name="connsiteX396" fmla="*/ 104399 w 316622"/>
                <a:gd name="connsiteY396" fmla="*/ 234685 h 269321"/>
                <a:gd name="connsiteX397" fmla="*/ 103507 w 316622"/>
                <a:gd name="connsiteY397" fmla="*/ 234291 h 269321"/>
                <a:gd name="connsiteX398" fmla="*/ 102212 w 316622"/>
                <a:gd name="connsiteY398" fmla="*/ 233086 h 269321"/>
                <a:gd name="connsiteX399" fmla="*/ 100769 w 316622"/>
                <a:gd name="connsiteY399" fmla="*/ 232114 h 269321"/>
                <a:gd name="connsiteX400" fmla="*/ 99647 w 316622"/>
                <a:gd name="connsiteY400" fmla="*/ 231615 h 269321"/>
                <a:gd name="connsiteX401" fmla="*/ 98691 w 316622"/>
                <a:gd name="connsiteY401" fmla="*/ 231043 h 269321"/>
                <a:gd name="connsiteX402" fmla="*/ 97822 w 316622"/>
                <a:gd name="connsiteY402" fmla="*/ 230950 h 269321"/>
                <a:gd name="connsiteX403" fmla="*/ 96499 w 316622"/>
                <a:gd name="connsiteY403" fmla="*/ 231504 h 269321"/>
                <a:gd name="connsiteX404" fmla="*/ 94670 w 316622"/>
                <a:gd name="connsiteY404" fmla="*/ 231739 h 269321"/>
                <a:gd name="connsiteX405" fmla="*/ 93152 w 316622"/>
                <a:gd name="connsiteY405" fmla="*/ 231667 h 269321"/>
                <a:gd name="connsiteX406" fmla="*/ 92342 w 316622"/>
                <a:gd name="connsiteY406" fmla="*/ 231748 h 269321"/>
                <a:gd name="connsiteX407" fmla="*/ 88942 w 316622"/>
                <a:gd name="connsiteY407" fmla="*/ 228789 h 269321"/>
                <a:gd name="connsiteX408" fmla="*/ 88445 w 316622"/>
                <a:gd name="connsiteY408" fmla="*/ 227979 h 269321"/>
                <a:gd name="connsiteX409" fmla="*/ 86752 w 316622"/>
                <a:gd name="connsiteY409" fmla="*/ 227754 h 269321"/>
                <a:gd name="connsiteX410" fmla="*/ 84660 w 316622"/>
                <a:gd name="connsiteY410" fmla="*/ 227718 h 269321"/>
                <a:gd name="connsiteX411" fmla="*/ 79317 w 316622"/>
                <a:gd name="connsiteY411" fmla="*/ 225799 h 269321"/>
                <a:gd name="connsiteX412" fmla="*/ 76885 w 316622"/>
                <a:gd name="connsiteY412" fmla="*/ 224768 h 269321"/>
                <a:gd name="connsiteX413" fmla="*/ 76529 w 316622"/>
                <a:gd name="connsiteY413" fmla="*/ 224155 h 269321"/>
                <a:gd name="connsiteX414" fmla="*/ 76562 w 316622"/>
                <a:gd name="connsiteY414" fmla="*/ 223659 h 269321"/>
                <a:gd name="connsiteX415" fmla="*/ 76147 w 316622"/>
                <a:gd name="connsiteY415" fmla="*/ 223766 h 269321"/>
                <a:gd name="connsiteX416" fmla="*/ 75397 w 316622"/>
                <a:gd name="connsiteY416" fmla="*/ 224643 h 269321"/>
                <a:gd name="connsiteX417" fmla="*/ 75004 w 316622"/>
                <a:gd name="connsiteY417" fmla="*/ 225358 h 269321"/>
                <a:gd name="connsiteX418" fmla="*/ 74484 w 316622"/>
                <a:gd name="connsiteY418" fmla="*/ 225492 h 269321"/>
                <a:gd name="connsiteX419" fmla="*/ 73716 w 316622"/>
                <a:gd name="connsiteY419" fmla="*/ 225381 h 269321"/>
                <a:gd name="connsiteX420" fmla="*/ 73007 w 316622"/>
                <a:gd name="connsiteY420" fmla="*/ 224978 h 269321"/>
                <a:gd name="connsiteX421" fmla="*/ 72573 w 316622"/>
                <a:gd name="connsiteY421" fmla="*/ 224459 h 269321"/>
                <a:gd name="connsiteX422" fmla="*/ 73038 w 316622"/>
                <a:gd name="connsiteY422" fmla="*/ 223551 h 269321"/>
                <a:gd name="connsiteX423" fmla="*/ 73852 w 316622"/>
                <a:gd name="connsiteY423" fmla="*/ 222367 h 269321"/>
                <a:gd name="connsiteX424" fmla="*/ 74190 w 316622"/>
                <a:gd name="connsiteY424" fmla="*/ 221078 h 269321"/>
                <a:gd name="connsiteX425" fmla="*/ 74116 w 316622"/>
                <a:gd name="connsiteY425" fmla="*/ 219924 h 269321"/>
                <a:gd name="connsiteX426" fmla="*/ 72766 w 316622"/>
                <a:gd name="connsiteY426" fmla="*/ 219183 h 269321"/>
                <a:gd name="connsiteX427" fmla="*/ 70781 w 316622"/>
                <a:gd name="connsiteY427" fmla="*/ 218874 h 269321"/>
                <a:gd name="connsiteX428" fmla="*/ 69329 w 316622"/>
                <a:gd name="connsiteY428" fmla="*/ 218786 h 269321"/>
                <a:gd name="connsiteX429" fmla="*/ 67434 w 316622"/>
                <a:gd name="connsiteY429" fmla="*/ 218126 h 269321"/>
                <a:gd name="connsiteX430" fmla="*/ 66541 w 316622"/>
                <a:gd name="connsiteY430" fmla="*/ 217650 h 269321"/>
                <a:gd name="connsiteX431" fmla="*/ 65668 w 316622"/>
                <a:gd name="connsiteY431" fmla="*/ 216364 h 269321"/>
                <a:gd name="connsiteX432" fmla="*/ 65639 w 316622"/>
                <a:gd name="connsiteY432" fmla="*/ 215428 h 269321"/>
                <a:gd name="connsiteX433" fmla="*/ 69234 w 316622"/>
                <a:gd name="connsiteY433" fmla="*/ 214602 h 269321"/>
                <a:gd name="connsiteX434" fmla="*/ 72476 w 316622"/>
                <a:gd name="connsiteY434" fmla="*/ 211216 h 269321"/>
                <a:gd name="connsiteX435" fmla="*/ 75546 w 316622"/>
                <a:gd name="connsiteY435" fmla="*/ 198890 h 269321"/>
                <a:gd name="connsiteX436" fmla="*/ 77768 w 316622"/>
                <a:gd name="connsiteY436" fmla="*/ 184245 h 269321"/>
                <a:gd name="connsiteX437" fmla="*/ 79420 w 316622"/>
                <a:gd name="connsiteY437" fmla="*/ 181469 h 269321"/>
                <a:gd name="connsiteX438" fmla="*/ 81495 w 316622"/>
                <a:gd name="connsiteY438" fmla="*/ 180706 h 269321"/>
                <a:gd name="connsiteX439" fmla="*/ 79817 w 316622"/>
                <a:gd name="connsiteY439" fmla="*/ 178684 h 269321"/>
                <a:gd name="connsiteX440" fmla="*/ 78766 w 316622"/>
                <a:gd name="connsiteY440" fmla="*/ 179708 h 269321"/>
                <a:gd name="connsiteX441" fmla="*/ 78325 w 316622"/>
                <a:gd name="connsiteY441" fmla="*/ 180794 h 269321"/>
                <a:gd name="connsiteX442" fmla="*/ 77775 w 316622"/>
                <a:gd name="connsiteY442" fmla="*/ 181336 h 269321"/>
                <a:gd name="connsiteX443" fmla="*/ 79016 w 316622"/>
                <a:gd name="connsiteY443" fmla="*/ 167825 h 269321"/>
                <a:gd name="connsiteX444" fmla="*/ 79901 w 316622"/>
                <a:gd name="connsiteY444" fmla="*/ 162861 h 269321"/>
                <a:gd name="connsiteX445" fmla="*/ 81406 w 316622"/>
                <a:gd name="connsiteY445" fmla="*/ 157650 h 269321"/>
                <a:gd name="connsiteX446" fmla="*/ 84485 w 316622"/>
                <a:gd name="connsiteY446" fmla="*/ 159720 h 269321"/>
                <a:gd name="connsiteX447" fmla="*/ 87037 w 316622"/>
                <a:gd name="connsiteY447" fmla="*/ 161817 h 269321"/>
                <a:gd name="connsiteX448" fmla="*/ 88357 w 316622"/>
                <a:gd name="connsiteY448" fmla="*/ 163636 h 269321"/>
                <a:gd name="connsiteX449" fmla="*/ 90027 w 316622"/>
                <a:gd name="connsiteY449" fmla="*/ 169686 h 269321"/>
                <a:gd name="connsiteX450" fmla="*/ 91290 w 316622"/>
                <a:gd name="connsiteY450" fmla="*/ 170954 h 269321"/>
                <a:gd name="connsiteX451" fmla="*/ 93181 w 316622"/>
                <a:gd name="connsiteY451" fmla="*/ 172226 h 269321"/>
                <a:gd name="connsiteX452" fmla="*/ 92434 w 316622"/>
                <a:gd name="connsiteY452" fmla="*/ 170837 h 269321"/>
                <a:gd name="connsiteX453" fmla="*/ 91133 w 316622"/>
                <a:gd name="connsiteY453" fmla="*/ 169776 h 269321"/>
                <a:gd name="connsiteX454" fmla="*/ 89099 w 316622"/>
                <a:gd name="connsiteY454" fmla="*/ 161709 h 269321"/>
                <a:gd name="connsiteX455" fmla="*/ 87823 w 316622"/>
                <a:gd name="connsiteY455" fmla="*/ 159420 h 269321"/>
                <a:gd name="connsiteX456" fmla="*/ 85836 w 316622"/>
                <a:gd name="connsiteY456" fmla="*/ 157492 h 269321"/>
                <a:gd name="connsiteX457" fmla="*/ 79438 w 316622"/>
                <a:gd name="connsiteY457" fmla="*/ 153428 h 269321"/>
                <a:gd name="connsiteX458" fmla="*/ 78863 w 316622"/>
                <a:gd name="connsiteY458" fmla="*/ 152643 h 269321"/>
                <a:gd name="connsiteX459" fmla="*/ 78554 w 316622"/>
                <a:gd name="connsiteY459" fmla="*/ 151089 h 269321"/>
                <a:gd name="connsiteX460" fmla="*/ 80668 w 316622"/>
                <a:gd name="connsiteY460" fmla="*/ 151155 h 269321"/>
                <a:gd name="connsiteX461" fmla="*/ 82495 w 316622"/>
                <a:gd name="connsiteY461" fmla="*/ 151910 h 269321"/>
                <a:gd name="connsiteX462" fmla="*/ 82279 w 316622"/>
                <a:gd name="connsiteY462" fmla="*/ 151040 h 269321"/>
                <a:gd name="connsiteX463" fmla="*/ 81737 w 316622"/>
                <a:gd name="connsiteY463" fmla="*/ 150131 h 269321"/>
                <a:gd name="connsiteX464" fmla="*/ 80889 w 316622"/>
                <a:gd name="connsiteY464" fmla="*/ 146830 h 269321"/>
                <a:gd name="connsiteX465" fmla="*/ 80181 w 316622"/>
                <a:gd name="connsiteY465" fmla="*/ 139107 h 269321"/>
                <a:gd name="connsiteX466" fmla="*/ 80277 w 316622"/>
                <a:gd name="connsiteY466" fmla="*/ 137782 h 269321"/>
                <a:gd name="connsiteX467" fmla="*/ 79962 w 316622"/>
                <a:gd name="connsiteY467" fmla="*/ 136157 h 269321"/>
                <a:gd name="connsiteX468" fmla="*/ 77916 w 316622"/>
                <a:gd name="connsiteY468" fmla="*/ 135793 h 269321"/>
                <a:gd name="connsiteX469" fmla="*/ 76280 w 316622"/>
                <a:gd name="connsiteY469" fmla="*/ 135726 h 269321"/>
                <a:gd name="connsiteX470" fmla="*/ 74518 w 316622"/>
                <a:gd name="connsiteY470" fmla="*/ 135084 h 269321"/>
                <a:gd name="connsiteX471" fmla="*/ 65805 w 316622"/>
                <a:gd name="connsiteY471" fmla="*/ 130514 h 269321"/>
                <a:gd name="connsiteX472" fmla="*/ 62822 w 316622"/>
                <a:gd name="connsiteY472" fmla="*/ 125790 h 269321"/>
                <a:gd name="connsiteX473" fmla="*/ 59772 w 316622"/>
                <a:gd name="connsiteY473" fmla="*/ 122297 h 269321"/>
                <a:gd name="connsiteX474" fmla="*/ 59040 w 316622"/>
                <a:gd name="connsiteY474" fmla="*/ 120772 h 269321"/>
                <a:gd name="connsiteX475" fmla="*/ 59088 w 316622"/>
                <a:gd name="connsiteY475" fmla="*/ 119226 h 269321"/>
                <a:gd name="connsiteX476" fmla="*/ 60667 w 316622"/>
                <a:gd name="connsiteY476" fmla="*/ 115957 h 269321"/>
                <a:gd name="connsiteX477" fmla="*/ 59273 w 316622"/>
                <a:gd name="connsiteY477" fmla="*/ 113891 h 269321"/>
                <a:gd name="connsiteX478" fmla="*/ 57911 w 316622"/>
                <a:gd name="connsiteY478" fmla="*/ 113480 h 269321"/>
                <a:gd name="connsiteX479" fmla="*/ 56727 w 316622"/>
                <a:gd name="connsiteY479" fmla="*/ 112457 h 269321"/>
                <a:gd name="connsiteX480" fmla="*/ 57799 w 316622"/>
                <a:gd name="connsiteY480" fmla="*/ 110751 h 269321"/>
                <a:gd name="connsiteX481" fmla="*/ 58690 w 316622"/>
                <a:gd name="connsiteY481" fmla="*/ 109659 h 269321"/>
                <a:gd name="connsiteX482" fmla="*/ 60475 w 316622"/>
                <a:gd name="connsiteY482" fmla="*/ 109362 h 269321"/>
                <a:gd name="connsiteX483" fmla="*/ 62816 w 316622"/>
                <a:gd name="connsiteY483" fmla="*/ 109724 h 269321"/>
                <a:gd name="connsiteX484" fmla="*/ 65036 w 316622"/>
                <a:gd name="connsiteY484" fmla="*/ 110712 h 269321"/>
                <a:gd name="connsiteX485" fmla="*/ 66778 w 316622"/>
                <a:gd name="connsiteY485" fmla="*/ 110974 h 269321"/>
                <a:gd name="connsiteX486" fmla="*/ 61629 w 316622"/>
                <a:gd name="connsiteY486" fmla="*/ 108323 h 269321"/>
                <a:gd name="connsiteX487" fmla="*/ 53279 w 316622"/>
                <a:gd name="connsiteY487" fmla="*/ 109217 h 269321"/>
                <a:gd name="connsiteX488" fmla="*/ 51479 w 316622"/>
                <a:gd name="connsiteY488" fmla="*/ 108875 h 269321"/>
                <a:gd name="connsiteX489" fmla="*/ 49959 w 316622"/>
                <a:gd name="connsiteY489" fmla="*/ 108284 h 269321"/>
                <a:gd name="connsiteX490" fmla="*/ 49365 w 316622"/>
                <a:gd name="connsiteY490" fmla="*/ 106336 h 269321"/>
                <a:gd name="connsiteX491" fmla="*/ 50552 w 316622"/>
                <a:gd name="connsiteY491" fmla="*/ 105458 h 269321"/>
                <a:gd name="connsiteX492" fmla="*/ 51628 w 316622"/>
                <a:gd name="connsiteY492" fmla="*/ 103833 h 269321"/>
                <a:gd name="connsiteX493" fmla="*/ 50411 w 316622"/>
                <a:gd name="connsiteY493" fmla="*/ 102690 h 269321"/>
                <a:gd name="connsiteX494" fmla="*/ 48834 w 316622"/>
                <a:gd name="connsiteY494" fmla="*/ 102257 h 269321"/>
                <a:gd name="connsiteX495" fmla="*/ 46360 w 316622"/>
                <a:gd name="connsiteY495" fmla="*/ 102282 h 269321"/>
                <a:gd name="connsiteX496" fmla="*/ 44052 w 316622"/>
                <a:gd name="connsiteY496" fmla="*/ 102627 h 269321"/>
                <a:gd name="connsiteX497" fmla="*/ 43466 w 316622"/>
                <a:gd name="connsiteY497" fmla="*/ 101970 h 269321"/>
                <a:gd name="connsiteX498" fmla="*/ 44874 w 316622"/>
                <a:gd name="connsiteY498" fmla="*/ 100158 h 269321"/>
                <a:gd name="connsiteX499" fmla="*/ 43678 w 316622"/>
                <a:gd name="connsiteY499" fmla="*/ 99491 h 269321"/>
                <a:gd name="connsiteX500" fmla="*/ 42082 w 316622"/>
                <a:gd name="connsiteY500" fmla="*/ 99802 h 269321"/>
                <a:gd name="connsiteX501" fmla="*/ 39767 w 316622"/>
                <a:gd name="connsiteY501" fmla="*/ 100178 h 269321"/>
                <a:gd name="connsiteX502" fmla="*/ 37553 w 316622"/>
                <a:gd name="connsiteY502" fmla="*/ 99609 h 269321"/>
                <a:gd name="connsiteX503" fmla="*/ 35460 w 316622"/>
                <a:gd name="connsiteY503" fmla="*/ 97547 h 269321"/>
                <a:gd name="connsiteX504" fmla="*/ 34073 w 316622"/>
                <a:gd name="connsiteY504" fmla="*/ 97562 h 269321"/>
                <a:gd name="connsiteX505" fmla="*/ 33120 w 316622"/>
                <a:gd name="connsiteY505" fmla="*/ 97817 h 269321"/>
                <a:gd name="connsiteX506" fmla="*/ 31706 w 316622"/>
                <a:gd name="connsiteY506" fmla="*/ 97023 h 269321"/>
                <a:gd name="connsiteX507" fmla="*/ 30218 w 316622"/>
                <a:gd name="connsiteY507" fmla="*/ 96824 h 269321"/>
                <a:gd name="connsiteX508" fmla="*/ 29156 w 316622"/>
                <a:gd name="connsiteY508" fmla="*/ 97087 h 269321"/>
                <a:gd name="connsiteX509" fmla="*/ 27744 w 316622"/>
                <a:gd name="connsiteY509" fmla="*/ 95903 h 269321"/>
                <a:gd name="connsiteX510" fmla="*/ 19051 w 316622"/>
                <a:gd name="connsiteY510" fmla="*/ 93527 h 269321"/>
                <a:gd name="connsiteX511" fmla="*/ 15297 w 316622"/>
                <a:gd name="connsiteY511" fmla="*/ 93236 h 269321"/>
                <a:gd name="connsiteX512" fmla="*/ 11854 w 316622"/>
                <a:gd name="connsiteY512" fmla="*/ 94313 h 269321"/>
                <a:gd name="connsiteX513" fmla="*/ 9959 w 316622"/>
                <a:gd name="connsiteY513" fmla="*/ 93939 h 269321"/>
                <a:gd name="connsiteX514" fmla="*/ 8566 w 316622"/>
                <a:gd name="connsiteY514" fmla="*/ 92403 h 269321"/>
                <a:gd name="connsiteX515" fmla="*/ 7397 w 316622"/>
                <a:gd name="connsiteY515" fmla="*/ 89823 h 269321"/>
                <a:gd name="connsiteX516" fmla="*/ 1851 w 316622"/>
                <a:gd name="connsiteY516" fmla="*/ 87832 h 269321"/>
                <a:gd name="connsiteX517" fmla="*/ 2948 w 316622"/>
                <a:gd name="connsiteY517" fmla="*/ 86526 h 269321"/>
                <a:gd name="connsiteX518" fmla="*/ 5530 w 316622"/>
                <a:gd name="connsiteY518" fmla="*/ 86217 h 269321"/>
                <a:gd name="connsiteX519" fmla="*/ 8506 w 316622"/>
                <a:gd name="connsiteY519" fmla="*/ 85310 h 269321"/>
                <a:gd name="connsiteX520" fmla="*/ 9576 w 316622"/>
                <a:gd name="connsiteY520" fmla="*/ 84147 h 269321"/>
                <a:gd name="connsiteX521" fmla="*/ 7250 w 316622"/>
                <a:gd name="connsiteY521" fmla="*/ 82790 h 269321"/>
                <a:gd name="connsiteX522" fmla="*/ 5535 w 316622"/>
                <a:gd name="connsiteY522" fmla="*/ 82457 h 269321"/>
                <a:gd name="connsiteX523" fmla="*/ 4824 w 316622"/>
                <a:gd name="connsiteY523" fmla="*/ 81969 h 269321"/>
                <a:gd name="connsiteX524" fmla="*/ 4099 w 316622"/>
                <a:gd name="connsiteY524" fmla="*/ 80751 h 269321"/>
                <a:gd name="connsiteX525" fmla="*/ 5127 w 316622"/>
                <a:gd name="connsiteY525" fmla="*/ 80193 h 269321"/>
                <a:gd name="connsiteX526" fmla="*/ 5851 w 316622"/>
                <a:gd name="connsiteY526" fmla="*/ 80489 h 269321"/>
                <a:gd name="connsiteX527" fmla="*/ 7942 w 316622"/>
                <a:gd name="connsiteY527" fmla="*/ 80665 h 269321"/>
                <a:gd name="connsiteX528" fmla="*/ 11523 w 316622"/>
                <a:gd name="connsiteY528" fmla="*/ 80365 h 269321"/>
                <a:gd name="connsiteX529" fmla="*/ 10188 w 316622"/>
                <a:gd name="connsiteY529" fmla="*/ 79136 h 269321"/>
                <a:gd name="connsiteX530" fmla="*/ 8803 w 316622"/>
                <a:gd name="connsiteY530" fmla="*/ 78862 h 269321"/>
                <a:gd name="connsiteX531" fmla="*/ 8167 w 316622"/>
                <a:gd name="connsiteY531" fmla="*/ 78554 h 269321"/>
                <a:gd name="connsiteX532" fmla="*/ 5256 w 316622"/>
                <a:gd name="connsiteY532" fmla="*/ 78421 h 269321"/>
                <a:gd name="connsiteX533" fmla="*/ 3931 w 316622"/>
                <a:gd name="connsiteY533" fmla="*/ 78840 h 269321"/>
                <a:gd name="connsiteX534" fmla="*/ 954 w 316622"/>
                <a:gd name="connsiteY534" fmla="*/ 78681 h 269321"/>
                <a:gd name="connsiteX535" fmla="*/ 309 w 316622"/>
                <a:gd name="connsiteY535" fmla="*/ 77352 h 269321"/>
                <a:gd name="connsiteX536" fmla="*/ 0 w 316622"/>
                <a:gd name="connsiteY536" fmla="*/ 76212 h 269321"/>
                <a:gd name="connsiteX537" fmla="*/ 923 w 316622"/>
                <a:gd name="connsiteY537" fmla="*/ 73668 h 269321"/>
                <a:gd name="connsiteX538" fmla="*/ 5115 w 316622"/>
                <a:gd name="connsiteY538" fmla="*/ 71394 h 269321"/>
                <a:gd name="connsiteX539" fmla="*/ 15558 w 316622"/>
                <a:gd name="connsiteY539" fmla="*/ 68905 h 269321"/>
                <a:gd name="connsiteX540" fmla="*/ 20052 w 316622"/>
                <a:gd name="connsiteY540" fmla="*/ 69269 h 269321"/>
                <a:gd name="connsiteX541" fmla="*/ 23167 w 316622"/>
                <a:gd name="connsiteY541" fmla="*/ 68821 h 269321"/>
                <a:gd name="connsiteX542" fmla="*/ 26900 w 316622"/>
                <a:gd name="connsiteY542" fmla="*/ 67251 h 269321"/>
                <a:gd name="connsiteX543" fmla="*/ 28547 w 316622"/>
                <a:gd name="connsiteY543" fmla="*/ 65905 h 269321"/>
                <a:gd name="connsiteX544" fmla="*/ 33855 w 316622"/>
                <a:gd name="connsiteY544" fmla="*/ 65112 h 269321"/>
                <a:gd name="connsiteX545" fmla="*/ 38901 w 316622"/>
                <a:gd name="connsiteY545" fmla="*/ 66540 h 269321"/>
                <a:gd name="connsiteX546" fmla="*/ 43553 w 316622"/>
                <a:gd name="connsiteY546" fmla="*/ 71931 h 269321"/>
                <a:gd name="connsiteX547" fmla="*/ 45776 w 316622"/>
                <a:gd name="connsiteY547" fmla="*/ 73755 h 269321"/>
                <a:gd name="connsiteX548" fmla="*/ 51219 w 316622"/>
                <a:gd name="connsiteY548" fmla="*/ 70589 h 269321"/>
                <a:gd name="connsiteX549" fmla="*/ 59328 w 316622"/>
                <a:gd name="connsiteY549" fmla="*/ 70682 h 269321"/>
                <a:gd name="connsiteX550" fmla="*/ 61003 w 316622"/>
                <a:gd name="connsiteY550" fmla="*/ 72470 h 269321"/>
                <a:gd name="connsiteX551" fmla="*/ 61679 w 316622"/>
                <a:gd name="connsiteY551" fmla="*/ 70964 h 269321"/>
                <a:gd name="connsiteX552" fmla="*/ 63170 w 316622"/>
                <a:gd name="connsiteY552" fmla="*/ 69201 h 269321"/>
                <a:gd name="connsiteX553" fmla="*/ 64359 w 316622"/>
                <a:gd name="connsiteY553" fmla="*/ 70005 h 269321"/>
                <a:gd name="connsiteX554" fmla="*/ 64961 w 316622"/>
                <a:gd name="connsiteY554" fmla="*/ 71094 h 269321"/>
                <a:gd name="connsiteX555" fmla="*/ 73520 w 316622"/>
                <a:gd name="connsiteY555" fmla="*/ 70785 h 269321"/>
                <a:gd name="connsiteX556" fmla="*/ 74872 w 316622"/>
                <a:gd name="connsiteY556" fmla="*/ 70467 h 269321"/>
                <a:gd name="connsiteX557" fmla="*/ 72573 w 316622"/>
                <a:gd name="connsiteY557" fmla="*/ 69187 h 269321"/>
                <a:gd name="connsiteX558" fmla="*/ 70693 w 316622"/>
                <a:gd name="connsiteY558" fmla="*/ 66117 h 269321"/>
                <a:gd name="connsiteX559" fmla="*/ 70303 w 316622"/>
                <a:gd name="connsiteY559" fmla="*/ 54792 h 269321"/>
                <a:gd name="connsiteX560" fmla="*/ 67932 w 316622"/>
                <a:gd name="connsiteY560" fmla="*/ 51621 h 269321"/>
                <a:gd name="connsiteX561" fmla="*/ 65210 w 316622"/>
                <a:gd name="connsiteY561" fmla="*/ 46549 h 269321"/>
                <a:gd name="connsiteX562" fmla="*/ 63958 w 316622"/>
                <a:gd name="connsiteY562" fmla="*/ 43535 h 269321"/>
                <a:gd name="connsiteX563" fmla="*/ 63840 w 316622"/>
                <a:gd name="connsiteY563" fmla="*/ 42492 h 269321"/>
                <a:gd name="connsiteX564" fmla="*/ 64259 w 316622"/>
                <a:gd name="connsiteY564" fmla="*/ 40986 h 269321"/>
                <a:gd name="connsiteX565" fmla="*/ 67605 w 316622"/>
                <a:gd name="connsiteY565" fmla="*/ 41067 h 269321"/>
                <a:gd name="connsiteX566" fmla="*/ 70190 w 316622"/>
                <a:gd name="connsiteY566" fmla="*/ 41449 h 269321"/>
                <a:gd name="connsiteX567" fmla="*/ 75110 w 316622"/>
                <a:gd name="connsiteY567" fmla="*/ 40310 h 269321"/>
                <a:gd name="connsiteX568" fmla="*/ 77478 w 316622"/>
                <a:gd name="connsiteY568" fmla="*/ 41090 h 269321"/>
                <a:gd name="connsiteX569" fmla="*/ 77338 w 316622"/>
                <a:gd name="connsiteY569" fmla="*/ 43445 h 269321"/>
                <a:gd name="connsiteX570" fmla="*/ 78061 w 316622"/>
                <a:gd name="connsiteY570" fmla="*/ 46413 h 269321"/>
                <a:gd name="connsiteX571" fmla="*/ 78886 w 316622"/>
                <a:gd name="connsiteY571" fmla="*/ 47849 h 269321"/>
                <a:gd name="connsiteX572" fmla="*/ 80134 w 316622"/>
                <a:gd name="connsiteY572" fmla="*/ 49481 h 269321"/>
                <a:gd name="connsiteX573" fmla="*/ 84100 w 316622"/>
                <a:gd name="connsiteY573" fmla="*/ 49330 h 269321"/>
                <a:gd name="connsiteX574" fmla="*/ 88382 w 316622"/>
                <a:gd name="connsiteY574" fmla="*/ 50289 h 269321"/>
                <a:gd name="connsiteX575" fmla="*/ 93791 w 316622"/>
                <a:gd name="connsiteY575" fmla="*/ 50437 h 269321"/>
                <a:gd name="connsiteX576" fmla="*/ 101694 w 316622"/>
                <a:gd name="connsiteY576" fmla="*/ 52091 h 269321"/>
                <a:gd name="connsiteX577" fmla="*/ 105062 w 316622"/>
                <a:gd name="connsiteY577" fmla="*/ 51133 h 269321"/>
                <a:gd name="connsiteX578" fmla="*/ 108319 w 316622"/>
                <a:gd name="connsiteY578" fmla="*/ 49091 h 269321"/>
                <a:gd name="connsiteX579" fmla="*/ 114527 w 316622"/>
                <a:gd name="connsiteY579" fmla="*/ 47747 h 269321"/>
                <a:gd name="connsiteX580" fmla="*/ 115022 w 316622"/>
                <a:gd name="connsiteY580" fmla="*/ 47035 h 269321"/>
                <a:gd name="connsiteX581" fmla="*/ 111448 w 316622"/>
                <a:gd name="connsiteY581" fmla="*/ 47319 h 269321"/>
                <a:gd name="connsiteX582" fmla="*/ 108170 w 316622"/>
                <a:gd name="connsiteY582" fmla="*/ 46023 h 269321"/>
                <a:gd name="connsiteX583" fmla="*/ 107728 w 316622"/>
                <a:gd name="connsiteY583" fmla="*/ 44615 h 269321"/>
                <a:gd name="connsiteX584" fmla="*/ 108107 w 316622"/>
                <a:gd name="connsiteY584" fmla="*/ 43349 h 269321"/>
                <a:gd name="connsiteX585" fmla="*/ 109438 w 316622"/>
                <a:gd name="connsiteY585" fmla="*/ 40433 h 269321"/>
                <a:gd name="connsiteX586" fmla="*/ 118935 w 316622"/>
                <a:gd name="connsiteY586" fmla="*/ 35828 h 269321"/>
                <a:gd name="connsiteX587" fmla="*/ 125743 w 316622"/>
                <a:gd name="connsiteY587" fmla="*/ 34466 h 269321"/>
                <a:gd name="connsiteX588" fmla="*/ 132850 w 316622"/>
                <a:gd name="connsiteY588" fmla="*/ 31926 h 269321"/>
                <a:gd name="connsiteX589" fmla="*/ 136426 w 316622"/>
                <a:gd name="connsiteY589" fmla="*/ 29319 h 269321"/>
                <a:gd name="connsiteX590" fmla="*/ 138788 w 316622"/>
                <a:gd name="connsiteY590" fmla="*/ 25948 h 269321"/>
                <a:gd name="connsiteX591" fmla="*/ 139548 w 316622"/>
                <a:gd name="connsiteY591" fmla="*/ 25207 h 269321"/>
                <a:gd name="connsiteX592" fmla="*/ 140529 w 316622"/>
                <a:gd name="connsiteY592" fmla="*/ 24585 h 269321"/>
                <a:gd name="connsiteX593" fmla="*/ 139617 w 316622"/>
                <a:gd name="connsiteY593" fmla="*/ 23376 h 269321"/>
                <a:gd name="connsiteX594" fmla="*/ 140235 w 316622"/>
                <a:gd name="connsiteY594" fmla="*/ 10443 h 269321"/>
                <a:gd name="connsiteX595" fmla="*/ 140900 w 316622"/>
                <a:gd name="connsiteY595" fmla="*/ 8106 h 269321"/>
                <a:gd name="connsiteX596" fmla="*/ 142286 w 316622"/>
                <a:gd name="connsiteY596" fmla="*/ 6195 h 269321"/>
                <a:gd name="connsiteX597" fmla="*/ 144396 w 316622"/>
                <a:gd name="connsiteY597" fmla="*/ 4716 h 269321"/>
                <a:gd name="connsiteX598" fmla="*/ 147598 w 316622"/>
                <a:gd name="connsiteY598" fmla="*/ 3112 h 269321"/>
                <a:gd name="connsiteX599" fmla="*/ 159389 w 316622"/>
                <a:gd name="connsiteY599" fmla="*/ 895 h 26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Lst>
              <a:rect l="l" t="t" r="r" b="b"/>
              <a:pathLst>
                <a:path w="316622" h="269321">
                  <a:moveTo>
                    <a:pt x="313500" y="225790"/>
                  </a:moveTo>
                  <a:lnTo>
                    <a:pt x="314562" y="226875"/>
                  </a:lnTo>
                  <a:lnTo>
                    <a:pt x="314508" y="227834"/>
                  </a:lnTo>
                  <a:lnTo>
                    <a:pt x="314901" y="230102"/>
                  </a:lnTo>
                  <a:lnTo>
                    <a:pt x="314940" y="231576"/>
                  </a:lnTo>
                  <a:lnTo>
                    <a:pt x="314361" y="235501"/>
                  </a:lnTo>
                  <a:lnTo>
                    <a:pt x="314782" y="236649"/>
                  </a:lnTo>
                  <a:lnTo>
                    <a:pt x="315581" y="237450"/>
                  </a:lnTo>
                  <a:lnTo>
                    <a:pt x="315953" y="238329"/>
                  </a:lnTo>
                  <a:lnTo>
                    <a:pt x="316622" y="248763"/>
                  </a:lnTo>
                  <a:lnTo>
                    <a:pt x="316495" y="249592"/>
                  </a:lnTo>
                  <a:lnTo>
                    <a:pt x="313791" y="253771"/>
                  </a:lnTo>
                  <a:lnTo>
                    <a:pt x="313182" y="254996"/>
                  </a:lnTo>
                  <a:lnTo>
                    <a:pt x="313048" y="260165"/>
                  </a:lnTo>
                  <a:lnTo>
                    <a:pt x="312593" y="261552"/>
                  </a:lnTo>
                  <a:lnTo>
                    <a:pt x="311634" y="262920"/>
                  </a:lnTo>
                  <a:lnTo>
                    <a:pt x="309922" y="267337"/>
                  </a:lnTo>
                  <a:lnTo>
                    <a:pt x="308434" y="269321"/>
                  </a:lnTo>
                  <a:lnTo>
                    <a:pt x="304385" y="266901"/>
                  </a:lnTo>
                  <a:lnTo>
                    <a:pt x="301997" y="265854"/>
                  </a:lnTo>
                  <a:lnTo>
                    <a:pt x="300826" y="264725"/>
                  </a:lnTo>
                  <a:lnTo>
                    <a:pt x="300062" y="263945"/>
                  </a:lnTo>
                  <a:lnTo>
                    <a:pt x="300554" y="262905"/>
                  </a:lnTo>
                  <a:lnTo>
                    <a:pt x="301643" y="261824"/>
                  </a:lnTo>
                  <a:lnTo>
                    <a:pt x="301815" y="260973"/>
                  </a:lnTo>
                  <a:lnTo>
                    <a:pt x="299254" y="260009"/>
                  </a:lnTo>
                  <a:lnTo>
                    <a:pt x="298082" y="259365"/>
                  </a:lnTo>
                  <a:lnTo>
                    <a:pt x="298097" y="258237"/>
                  </a:lnTo>
                  <a:lnTo>
                    <a:pt x="298982" y="256476"/>
                  </a:lnTo>
                  <a:lnTo>
                    <a:pt x="298578" y="255025"/>
                  </a:lnTo>
                  <a:lnTo>
                    <a:pt x="297101" y="255099"/>
                  </a:lnTo>
                  <a:lnTo>
                    <a:pt x="295957" y="254877"/>
                  </a:lnTo>
                  <a:lnTo>
                    <a:pt x="295808" y="254123"/>
                  </a:lnTo>
                  <a:lnTo>
                    <a:pt x="296654" y="253156"/>
                  </a:lnTo>
                  <a:lnTo>
                    <a:pt x="297740" y="251893"/>
                  </a:lnTo>
                  <a:lnTo>
                    <a:pt x="297706" y="250499"/>
                  </a:lnTo>
                  <a:lnTo>
                    <a:pt x="296393" y="249898"/>
                  </a:lnTo>
                  <a:lnTo>
                    <a:pt x="295203" y="248765"/>
                  </a:lnTo>
                  <a:lnTo>
                    <a:pt x="294726" y="247224"/>
                  </a:lnTo>
                  <a:lnTo>
                    <a:pt x="295648" y="246169"/>
                  </a:lnTo>
                  <a:lnTo>
                    <a:pt x="297142" y="245488"/>
                  </a:lnTo>
                  <a:lnTo>
                    <a:pt x="296045" y="243907"/>
                  </a:lnTo>
                  <a:lnTo>
                    <a:pt x="295305" y="243872"/>
                  </a:lnTo>
                  <a:lnTo>
                    <a:pt x="294713" y="243526"/>
                  </a:lnTo>
                  <a:lnTo>
                    <a:pt x="295197" y="242791"/>
                  </a:lnTo>
                  <a:lnTo>
                    <a:pt x="296358" y="241692"/>
                  </a:lnTo>
                  <a:lnTo>
                    <a:pt x="297974" y="238406"/>
                  </a:lnTo>
                  <a:lnTo>
                    <a:pt x="300224" y="236854"/>
                  </a:lnTo>
                  <a:lnTo>
                    <a:pt x="304206" y="235855"/>
                  </a:lnTo>
                  <a:lnTo>
                    <a:pt x="305283" y="235418"/>
                  </a:lnTo>
                  <a:lnTo>
                    <a:pt x="306272" y="234261"/>
                  </a:lnTo>
                  <a:lnTo>
                    <a:pt x="307367" y="233515"/>
                  </a:lnTo>
                  <a:lnTo>
                    <a:pt x="308697" y="233614"/>
                  </a:lnTo>
                  <a:lnTo>
                    <a:pt x="309924" y="234061"/>
                  </a:lnTo>
                  <a:lnTo>
                    <a:pt x="310680" y="234537"/>
                  </a:lnTo>
                  <a:lnTo>
                    <a:pt x="311247" y="234042"/>
                  </a:lnTo>
                  <a:lnTo>
                    <a:pt x="311800" y="232606"/>
                  </a:lnTo>
                  <a:lnTo>
                    <a:pt x="311461" y="231344"/>
                  </a:lnTo>
                  <a:lnTo>
                    <a:pt x="311636" y="227872"/>
                  </a:lnTo>
                  <a:lnTo>
                    <a:pt x="312349" y="225900"/>
                  </a:lnTo>
                  <a:close/>
                  <a:moveTo>
                    <a:pt x="74603" y="143377"/>
                  </a:moveTo>
                  <a:lnTo>
                    <a:pt x="76893" y="144695"/>
                  </a:lnTo>
                  <a:lnTo>
                    <a:pt x="79254" y="147418"/>
                  </a:lnTo>
                  <a:lnTo>
                    <a:pt x="78474" y="149829"/>
                  </a:lnTo>
                  <a:lnTo>
                    <a:pt x="76999" y="147609"/>
                  </a:lnTo>
                  <a:lnTo>
                    <a:pt x="75044" y="145662"/>
                  </a:lnTo>
                  <a:lnTo>
                    <a:pt x="74598" y="143859"/>
                  </a:lnTo>
                  <a:close/>
                  <a:moveTo>
                    <a:pt x="161140" y="0"/>
                  </a:moveTo>
                  <a:lnTo>
                    <a:pt x="161386" y="1392"/>
                  </a:lnTo>
                  <a:lnTo>
                    <a:pt x="162243" y="3172"/>
                  </a:lnTo>
                  <a:lnTo>
                    <a:pt x="162833" y="4145"/>
                  </a:lnTo>
                  <a:lnTo>
                    <a:pt x="162343" y="5415"/>
                  </a:lnTo>
                  <a:lnTo>
                    <a:pt x="162729" y="6460"/>
                  </a:lnTo>
                  <a:lnTo>
                    <a:pt x="164329" y="8341"/>
                  </a:lnTo>
                  <a:lnTo>
                    <a:pt x="166324" y="10112"/>
                  </a:lnTo>
                  <a:lnTo>
                    <a:pt x="168102" y="11243"/>
                  </a:lnTo>
                  <a:lnTo>
                    <a:pt x="168603" y="11120"/>
                  </a:lnTo>
                  <a:lnTo>
                    <a:pt x="169920" y="10798"/>
                  </a:lnTo>
                  <a:lnTo>
                    <a:pt x="172150" y="9638"/>
                  </a:lnTo>
                  <a:lnTo>
                    <a:pt x="174008" y="9273"/>
                  </a:lnTo>
                  <a:lnTo>
                    <a:pt x="175070" y="10162"/>
                  </a:lnTo>
                  <a:lnTo>
                    <a:pt x="175670" y="10663"/>
                  </a:lnTo>
                  <a:lnTo>
                    <a:pt x="176841" y="12664"/>
                  </a:lnTo>
                  <a:lnTo>
                    <a:pt x="177169" y="14752"/>
                  </a:lnTo>
                  <a:lnTo>
                    <a:pt x="177689" y="16484"/>
                  </a:lnTo>
                  <a:lnTo>
                    <a:pt x="178637" y="17186"/>
                  </a:lnTo>
                  <a:lnTo>
                    <a:pt x="182192" y="17416"/>
                  </a:lnTo>
                  <a:lnTo>
                    <a:pt x="184811" y="18058"/>
                  </a:lnTo>
                  <a:lnTo>
                    <a:pt x="185504" y="18639"/>
                  </a:lnTo>
                  <a:lnTo>
                    <a:pt x="186400" y="22482"/>
                  </a:lnTo>
                  <a:lnTo>
                    <a:pt x="186888" y="23025"/>
                  </a:lnTo>
                  <a:lnTo>
                    <a:pt x="187541" y="22572"/>
                  </a:lnTo>
                  <a:lnTo>
                    <a:pt x="188186" y="21940"/>
                  </a:lnTo>
                  <a:lnTo>
                    <a:pt x="189082" y="21839"/>
                  </a:lnTo>
                  <a:lnTo>
                    <a:pt x="190620" y="22083"/>
                  </a:lnTo>
                  <a:lnTo>
                    <a:pt x="192645" y="22159"/>
                  </a:lnTo>
                  <a:lnTo>
                    <a:pt x="194734" y="22582"/>
                  </a:lnTo>
                  <a:lnTo>
                    <a:pt x="197618" y="24750"/>
                  </a:lnTo>
                  <a:lnTo>
                    <a:pt x="197508" y="25465"/>
                  </a:lnTo>
                  <a:lnTo>
                    <a:pt x="196945" y="26720"/>
                  </a:lnTo>
                  <a:lnTo>
                    <a:pt x="196748" y="27721"/>
                  </a:lnTo>
                  <a:lnTo>
                    <a:pt x="197245" y="28123"/>
                  </a:lnTo>
                  <a:lnTo>
                    <a:pt x="198007" y="29156"/>
                  </a:lnTo>
                  <a:lnTo>
                    <a:pt x="197824" y="30350"/>
                  </a:lnTo>
                  <a:lnTo>
                    <a:pt x="197081" y="31186"/>
                  </a:lnTo>
                  <a:lnTo>
                    <a:pt x="196783" y="31875"/>
                  </a:lnTo>
                  <a:lnTo>
                    <a:pt x="196787" y="32323"/>
                  </a:lnTo>
                  <a:lnTo>
                    <a:pt x="197059" y="32695"/>
                  </a:lnTo>
                  <a:lnTo>
                    <a:pt x="197651" y="33022"/>
                  </a:lnTo>
                  <a:lnTo>
                    <a:pt x="201911" y="33463"/>
                  </a:lnTo>
                  <a:lnTo>
                    <a:pt x="205809" y="33022"/>
                  </a:lnTo>
                  <a:lnTo>
                    <a:pt x="208266" y="31805"/>
                  </a:lnTo>
                  <a:lnTo>
                    <a:pt x="208685" y="30522"/>
                  </a:lnTo>
                  <a:lnTo>
                    <a:pt x="209383" y="29072"/>
                  </a:lnTo>
                  <a:lnTo>
                    <a:pt x="210847" y="27858"/>
                  </a:lnTo>
                  <a:lnTo>
                    <a:pt x="211860" y="27450"/>
                  </a:lnTo>
                  <a:lnTo>
                    <a:pt x="212786" y="27950"/>
                  </a:lnTo>
                  <a:lnTo>
                    <a:pt x="211227" y="33042"/>
                  </a:lnTo>
                  <a:lnTo>
                    <a:pt x="212365" y="34342"/>
                  </a:lnTo>
                  <a:lnTo>
                    <a:pt x="212533" y="36284"/>
                  </a:lnTo>
                  <a:lnTo>
                    <a:pt x="212941" y="37983"/>
                  </a:lnTo>
                  <a:lnTo>
                    <a:pt x="214334" y="37951"/>
                  </a:lnTo>
                  <a:lnTo>
                    <a:pt x="216023" y="38265"/>
                  </a:lnTo>
                  <a:lnTo>
                    <a:pt x="217219" y="38893"/>
                  </a:lnTo>
                  <a:lnTo>
                    <a:pt x="218614" y="39902"/>
                  </a:lnTo>
                  <a:lnTo>
                    <a:pt x="220625" y="40829"/>
                  </a:lnTo>
                  <a:lnTo>
                    <a:pt x="222035" y="41155"/>
                  </a:lnTo>
                  <a:lnTo>
                    <a:pt x="222546" y="41929"/>
                  </a:lnTo>
                  <a:lnTo>
                    <a:pt x="223686" y="42825"/>
                  </a:lnTo>
                  <a:lnTo>
                    <a:pt x="225481" y="44702"/>
                  </a:lnTo>
                  <a:lnTo>
                    <a:pt x="227087" y="45954"/>
                  </a:lnTo>
                  <a:lnTo>
                    <a:pt x="227863" y="45949"/>
                  </a:lnTo>
                  <a:lnTo>
                    <a:pt x="229359" y="45456"/>
                  </a:lnTo>
                  <a:lnTo>
                    <a:pt x="231579" y="45140"/>
                  </a:lnTo>
                  <a:lnTo>
                    <a:pt x="233332" y="45167"/>
                  </a:lnTo>
                  <a:lnTo>
                    <a:pt x="234078" y="46120"/>
                  </a:lnTo>
                  <a:lnTo>
                    <a:pt x="235801" y="46560"/>
                  </a:lnTo>
                  <a:lnTo>
                    <a:pt x="236410" y="46910"/>
                  </a:lnTo>
                  <a:lnTo>
                    <a:pt x="237086" y="47567"/>
                  </a:lnTo>
                  <a:lnTo>
                    <a:pt x="238234" y="47831"/>
                  </a:lnTo>
                  <a:lnTo>
                    <a:pt x="239621" y="47567"/>
                  </a:lnTo>
                  <a:lnTo>
                    <a:pt x="240633" y="46690"/>
                  </a:lnTo>
                  <a:lnTo>
                    <a:pt x="241985" y="46297"/>
                  </a:lnTo>
                  <a:lnTo>
                    <a:pt x="243337" y="46428"/>
                  </a:lnTo>
                  <a:lnTo>
                    <a:pt x="244114" y="46910"/>
                  </a:lnTo>
                  <a:lnTo>
                    <a:pt x="245596" y="47622"/>
                  </a:lnTo>
                  <a:lnTo>
                    <a:pt x="246434" y="47467"/>
                  </a:lnTo>
                  <a:lnTo>
                    <a:pt x="248111" y="47905"/>
                  </a:lnTo>
                  <a:lnTo>
                    <a:pt x="249796" y="49287"/>
                  </a:lnTo>
                  <a:lnTo>
                    <a:pt x="250504" y="50676"/>
                  </a:lnTo>
                  <a:lnTo>
                    <a:pt x="250689" y="51435"/>
                  </a:lnTo>
                  <a:lnTo>
                    <a:pt x="251417" y="52260"/>
                  </a:lnTo>
                  <a:lnTo>
                    <a:pt x="254244" y="55987"/>
                  </a:lnTo>
                  <a:lnTo>
                    <a:pt x="255147" y="56171"/>
                  </a:lnTo>
                  <a:lnTo>
                    <a:pt x="256129" y="55606"/>
                  </a:lnTo>
                  <a:lnTo>
                    <a:pt x="256766" y="54805"/>
                  </a:lnTo>
                  <a:lnTo>
                    <a:pt x="257688" y="54645"/>
                  </a:lnTo>
                  <a:lnTo>
                    <a:pt x="259172" y="55014"/>
                  </a:lnTo>
                  <a:lnTo>
                    <a:pt x="260126" y="55436"/>
                  </a:lnTo>
                  <a:lnTo>
                    <a:pt x="260584" y="57049"/>
                  </a:lnTo>
                  <a:lnTo>
                    <a:pt x="260906" y="57356"/>
                  </a:lnTo>
                  <a:lnTo>
                    <a:pt x="261547" y="57009"/>
                  </a:lnTo>
                  <a:lnTo>
                    <a:pt x="262690" y="56932"/>
                  </a:lnTo>
                  <a:lnTo>
                    <a:pt x="264514" y="57330"/>
                  </a:lnTo>
                  <a:lnTo>
                    <a:pt x="267023" y="56875"/>
                  </a:lnTo>
                  <a:lnTo>
                    <a:pt x="269031" y="56202"/>
                  </a:lnTo>
                  <a:lnTo>
                    <a:pt x="270057" y="56227"/>
                  </a:lnTo>
                  <a:lnTo>
                    <a:pt x="271713" y="58108"/>
                  </a:lnTo>
                  <a:lnTo>
                    <a:pt x="273603" y="58811"/>
                  </a:lnTo>
                  <a:lnTo>
                    <a:pt x="277766" y="59378"/>
                  </a:lnTo>
                  <a:lnTo>
                    <a:pt x="282234" y="60262"/>
                  </a:lnTo>
                  <a:lnTo>
                    <a:pt x="283989" y="60976"/>
                  </a:lnTo>
                  <a:lnTo>
                    <a:pt x="285188" y="61327"/>
                  </a:lnTo>
                  <a:lnTo>
                    <a:pt x="285309" y="63812"/>
                  </a:lnTo>
                  <a:lnTo>
                    <a:pt x="284948" y="64187"/>
                  </a:lnTo>
                  <a:lnTo>
                    <a:pt x="280498" y="69161"/>
                  </a:lnTo>
                  <a:lnTo>
                    <a:pt x="278623" y="70938"/>
                  </a:lnTo>
                  <a:lnTo>
                    <a:pt x="277669" y="73471"/>
                  </a:lnTo>
                  <a:lnTo>
                    <a:pt x="277013" y="77352"/>
                  </a:lnTo>
                  <a:lnTo>
                    <a:pt x="275698" y="81034"/>
                  </a:lnTo>
                  <a:lnTo>
                    <a:pt x="273728" y="84519"/>
                  </a:lnTo>
                  <a:lnTo>
                    <a:pt x="273011" y="87132"/>
                  </a:lnTo>
                  <a:lnTo>
                    <a:pt x="273549" y="88874"/>
                  </a:lnTo>
                  <a:lnTo>
                    <a:pt x="273212" y="91607"/>
                  </a:lnTo>
                  <a:lnTo>
                    <a:pt x="272003" y="95326"/>
                  </a:lnTo>
                  <a:lnTo>
                    <a:pt x="271800" y="98132"/>
                  </a:lnTo>
                  <a:lnTo>
                    <a:pt x="272597" y="100025"/>
                  </a:lnTo>
                  <a:lnTo>
                    <a:pt x="273707" y="100413"/>
                  </a:lnTo>
                  <a:lnTo>
                    <a:pt x="271037" y="101687"/>
                  </a:lnTo>
                  <a:lnTo>
                    <a:pt x="270429" y="102801"/>
                  </a:lnTo>
                  <a:lnTo>
                    <a:pt x="269381" y="104274"/>
                  </a:lnTo>
                  <a:lnTo>
                    <a:pt x="267682" y="104893"/>
                  </a:lnTo>
                  <a:lnTo>
                    <a:pt x="265970" y="105098"/>
                  </a:lnTo>
                  <a:lnTo>
                    <a:pt x="264585" y="104903"/>
                  </a:lnTo>
                  <a:lnTo>
                    <a:pt x="263797" y="104315"/>
                  </a:lnTo>
                  <a:lnTo>
                    <a:pt x="263836" y="103767"/>
                  </a:lnTo>
                  <a:lnTo>
                    <a:pt x="263102" y="103301"/>
                  </a:lnTo>
                  <a:lnTo>
                    <a:pt x="261275" y="103315"/>
                  </a:lnTo>
                  <a:lnTo>
                    <a:pt x="259394" y="104328"/>
                  </a:lnTo>
                  <a:lnTo>
                    <a:pt x="257891" y="105982"/>
                  </a:lnTo>
                  <a:lnTo>
                    <a:pt x="258358" y="106907"/>
                  </a:lnTo>
                  <a:lnTo>
                    <a:pt x="259742" y="107151"/>
                  </a:lnTo>
                  <a:lnTo>
                    <a:pt x="260107" y="107517"/>
                  </a:lnTo>
                  <a:lnTo>
                    <a:pt x="260107" y="107992"/>
                  </a:lnTo>
                  <a:lnTo>
                    <a:pt x="259619" y="108564"/>
                  </a:lnTo>
                  <a:lnTo>
                    <a:pt x="259034" y="109541"/>
                  </a:lnTo>
                  <a:lnTo>
                    <a:pt x="256129" y="112450"/>
                  </a:lnTo>
                  <a:lnTo>
                    <a:pt x="253197" y="115382"/>
                  </a:lnTo>
                  <a:lnTo>
                    <a:pt x="252728" y="116268"/>
                  </a:lnTo>
                  <a:lnTo>
                    <a:pt x="251798" y="116887"/>
                  </a:lnTo>
                  <a:lnTo>
                    <a:pt x="248070" y="118450"/>
                  </a:lnTo>
                  <a:lnTo>
                    <a:pt x="247680" y="119076"/>
                  </a:lnTo>
                  <a:lnTo>
                    <a:pt x="247468" y="121685"/>
                  </a:lnTo>
                  <a:lnTo>
                    <a:pt x="247051" y="123826"/>
                  </a:lnTo>
                  <a:lnTo>
                    <a:pt x="244287" y="125839"/>
                  </a:lnTo>
                  <a:lnTo>
                    <a:pt x="241536" y="127842"/>
                  </a:lnTo>
                  <a:lnTo>
                    <a:pt x="240849" y="129065"/>
                  </a:lnTo>
                  <a:lnTo>
                    <a:pt x="240348" y="130480"/>
                  </a:lnTo>
                  <a:lnTo>
                    <a:pt x="239485" y="132076"/>
                  </a:lnTo>
                  <a:lnTo>
                    <a:pt x="239314" y="132919"/>
                  </a:lnTo>
                  <a:lnTo>
                    <a:pt x="240707" y="134293"/>
                  </a:lnTo>
                  <a:lnTo>
                    <a:pt x="240545" y="135429"/>
                  </a:lnTo>
                  <a:lnTo>
                    <a:pt x="240102" y="137043"/>
                  </a:lnTo>
                  <a:lnTo>
                    <a:pt x="238780" y="138186"/>
                  </a:lnTo>
                  <a:lnTo>
                    <a:pt x="237319" y="138834"/>
                  </a:lnTo>
                  <a:lnTo>
                    <a:pt x="237351" y="140590"/>
                  </a:lnTo>
                  <a:lnTo>
                    <a:pt x="238129" y="140836"/>
                  </a:lnTo>
                  <a:lnTo>
                    <a:pt x="239897" y="140706"/>
                  </a:lnTo>
                  <a:lnTo>
                    <a:pt x="242391" y="139432"/>
                  </a:lnTo>
                  <a:lnTo>
                    <a:pt x="244017" y="137794"/>
                  </a:lnTo>
                  <a:lnTo>
                    <a:pt x="243059" y="136238"/>
                  </a:lnTo>
                  <a:lnTo>
                    <a:pt x="242940" y="135933"/>
                  </a:lnTo>
                  <a:lnTo>
                    <a:pt x="243171" y="135568"/>
                  </a:lnTo>
                  <a:lnTo>
                    <a:pt x="245099" y="133875"/>
                  </a:lnTo>
                  <a:lnTo>
                    <a:pt x="247466" y="132854"/>
                  </a:lnTo>
                  <a:lnTo>
                    <a:pt x="250767" y="132664"/>
                  </a:lnTo>
                  <a:lnTo>
                    <a:pt x="254745" y="133263"/>
                  </a:lnTo>
                  <a:lnTo>
                    <a:pt x="255142" y="133516"/>
                  </a:lnTo>
                  <a:lnTo>
                    <a:pt x="254950" y="134554"/>
                  </a:lnTo>
                  <a:lnTo>
                    <a:pt x="255321" y="136085"/>
                  </a:lnTo>
                  <a:lnTo>
                    <a:pt x="256043" y="137159"/>
                  </a:lnTo>
                  <a:lnTo>
                    <a:pt x="255054" y="140205"/>
                  </a:lnTo>
                  <a:lnTo>
                    <a:pt x="255797" y="141159"/>
                  </a:lnTo>
                  <a:lnTo>
                    <a:pt x="256954" y="142299"/>
                  </a:lnTo>
                  <a:lnTo>
                    <a:pt x="257822" y="143340"/>
                  </a:lnTo>
                  <a:lnTo>
                    <a:pt x="259070" y="144296"/>
                  </a:lnTo>
                  <a:lnTo>
                    <a:pt x="260180" y="145906"/>
                  </a:lnTo>
                  <a:lnTo>
                    <a:pt x="260560" y="146818"/>
                  </a:lnTo>
                  <a:lnTo>
                    <a:pt x="258785" y="148402"/>
                  </a:lnTo>
                  <a:lnTo>
                    <a:pt x="255771" y="149886"/>
                  </a:lnTo>
                  <a:lnTo>
                    <a:pt x="255432" y="150836"/>
                  </a:lnTo>
                  <a:lnTo>
                    <a:pt x="255471" y="151916"/>
                  </a:lnTo>
                  <a:lnTo>
                    <a:pt x="255810" y="152765"/>
                  </a:lnTo>
                  <a:lnTo>
                    <a:pt x="257472" y="153857"/>
                  </a:lnTo>
                  <a:lnTo>
                    <a:pt x="259263" y="156327"/>
                  </a:lnTo>
                  <a:lnTo>
                    <a:pt x="260396" y="158528"/>
                  </a:lnTo>
                  <a:lnTo>
                    <a:pt x="262881" y="160637"/>
                  </a:lnTo>
                  <a:lnTo>
                    <a:pt x="263486" y="161261"/>
                  </a:lnTo>
                  <a:lnTo>
                    <a:pt x="263331" y="161788"/>
                  </a:lnTo>
                  <a:lnTo>
                    <a:pt x="262676" y="162686"/>
                  </a:lnTo>
                  <a:lnTo>
                    <a:pt x="261826" y="165676"/>
                  </a:lnTo>
                  <a:lnTo>
                    <a:pt x="260811" y="166151"/>
                  </a:lnTo>
                  <a:lnTo>
                    <a:pt x="259679" y="166344"/>
                  </a:lnTo>
                  <a:lnTo>
                    <a:pt x="256607" y="168532"/>
                  </a:lnTo>
                  <a:lnTo>
                    <a:pt x="255237" y="168267"/>
                  </a:lnTo>
                  <a:lnTo>
                    <a:pt x="253290" y="168295"/>
                  </a:lnTo>
                  <a:lnTo>
                    <a:pt x="251862" y="169016"/>
                  </a:lnTo>
                  <a:lnTo>
                    <a:pt x="252018" y="170378"/>
                  </a:lnTo>
                  <a:lnTo>
                    <a:pt x="253270" y="171624"/>
                  </a:lnTo>
                  <a:lnTo>
                    <a:pt x="254006" y="172980"/>
                  </a:lnTo>
                  <a:lnTo>
                    <a:pt x="254304" y="174390"/>
                  </a:lnTo>
                  <a:lnTo>
                    <a:pt x="255695" y="175434"/>
                  </a:lnTo>
                  <a:lnTo>
                    <a:pt x="257647" y="176058"/>
                  </a:lnTo>
                  <a:lnTo>
                    <a:pt x="258764" y="176100"/>
                  </a:lnTo>
                  <a:lnTo>
                    <a:pt x="259494" y="176475"/>
                  </a:lnTo>
                  <a:lnTo>
                    <a:pt x="259932" y="176958"/>
                  </a:lnTo>
                  <a:lnTo>
                    <a:pt x="260772" y="179974"/>
                  </a:lnTo>
                  <a:lnTo>
                    <a:pt x="260269" y="180730"/>
                  </a:lnTo>
                  <a:lnTo>
                    <a:pt x="259217" y="181052"/>
                  </a:lnTo>
                  <a:lnTo>
                    <a:pt x="258589" y="182291"/>
                  </a:lnTo>
                  <a:lnTo>
                    <a:pt x="257334" y="184118"/>
                  </a:lnTo>
                  <a:lnTo>
                    <a:pt x="256622" y="185583"/>
                  </a:lnTo>
                  <a:lnTo>
                    <a:pt x="257410" y="186872"/>
                  </a:lnTo>
                  <a:lnTo>
                    <a:pt x="257746" y="187826"/>
                  </a:lnTo>
                  <a:lnTo>
                    <a:pt x="257325" y="188808"/>
                  </a:lnTo>
                  <a:lnTo>
                    <a:pt x="257887" y="190337"/>
                  </a:lnTo>
                  <a:lnTo>
                    <a:pt x="259370" y="191849"/>
                  </a:lnTo>
                  <a:lnTo>
                    <a:pt x="263398" y="193974"/>
                  </a:lnTo>
                  <a:lnTo>
                    <a:pt x="267138" y="195701"/>
                  </a:lnTo>
                  <a:lnTo>
                    <a:pt x="268295" y="195988"/>
                  </a:lnTo>
                  <a:lnTo>
                    <a:pt x="273348" y="194877"/>
                  </a:lnTo>
                  <a:lnTo>
                    <a:pt x="274184" y="194973"/>
                  </a:lnTo>
                  <a:lnTo>
                    <a:pt x="274799" y="196296"/>
                  </a:lnTo>
                  <a:lnTo>
                    <a:pt x="275067" y="197186"/>
                  </a:lnTo>
                  <a:lnTo>
                    <a:pt x="274499" y="198527"/>
                  </a:lnTo>
                  <a:lnTo>
                    <a:pt x="273132" y="200372"/>
                  </a:lnTo>
                  <a:lnTo>
                    <a:pt x="271651" y="201842"/>
                  </a:lnTo>
                  <a:lnTo>
                    <a:pt x="270753" y="203091"/>
                  </a:lnTo>
                  <a:lnTo>
                    <a:pt x="270940" y="204224"/>
                  </a:lnTo>
                  <a:lnTo>
                    <a:pt x="270999" y="205731"/>
                  </a:lnTo>
                  <a:lnTo>
                    <a:pt x="269794" y="206182"/>
                  </a:lnTo>
                  <a:lnTo>
                    <a:pt x="269755" y="205884"/>
                  </a:lnTo>
                  <a:lnTo>
                    <a:pt x="269258" y="205630"/>
                  </a:lnTo>
                  <a:lnTo>
                    <a:pt x="268829" y="205780"/>
                  </a:lnTo>
                  <a:lnTo>
                    <a:pt x="268498" y="206107"/>
                  </a:lnTo>
                  <a:lnTo>
                    <a:pt x="268446" y="206687"/>
                  </a:lnTo>
                  <a:lnTo>
                    <a:pt x="265877" y="207649"/>
                  </a:lnTo>
                  <a:lnTo>
                    <a:pt x="264106" y="208646"/>
                  </a:lnTo>
                  <a:lnTo>
                    <a:pt x="257103" y="214594"/>
                  </a:lnTo>
                  <a:lnTo>
                    <a:pt x="253827" y="216336"/>
                  </a:lnTo>
                  <a:lnTo>
                    <a:pt x="253182" y="217385"/>
                  </a:lnTo>
                  <a:lnTo>
                    <a:pt x="252514" y="219345"/>
                  </a:lnTo>
                  <a:lnTo>
                    <a:pt x="250590" y="221026"/>
                  </a:lnTo>
                  <a:lnTo>
                    <a:pt x="248906" y="221825"/>
                  </a:lnTo>
                  <a:lnTo>
                    <a:pt x="244734" y="222646"/>
                  </a:lnTo>
                  <a:lnTo>
                    <a:pt x="240545" y="224426"/>
                  </a:lnTo>
                  <a:lnTo>
                    <a:pt x="238658" y="223659"/>
                  </a:lnTo>
                  <a:lnTo>
                    <a:pt x="233769" y="223741"/>
                  </a:lnTo>
                  <a:lnTo>
                    <a:pt x="230720" y="221596"/>
                  </a:lnTo>
                  <a:lnTo>
                    <a:pt x="224859" y="220235"/>
                  </a:lnTo>
                  <a:lnTo>
                    <a:pt x="222950" y="217107"/>
                  </a:lnTo>
                  <a:lnTo>
                    <a:pt x="220281" y="216904"/>
                  </a:lnTo>
                  <a:lnTo>
                    <a:pt x="218532" y="216998"/>
                  </a:lnTo>
                  <a:lnTo>
                    <a:pt x="217487" y="216524"/>
                  </a:lnTo>
                  <a:lnTo>
                    <a:pt x="217215" y="215456"/>
                  </a:lnTo>
                  <a:lnTo>
                    <a:pt x="217191" y="214427"/>
                  </a:lnTo>
                  <a:lnTo>
                    <a:pt x="215339" y="214901"/>
                  </a:lnTo>
                  <a:lnTo>
                    <a:pt x="213922" y="214901"/>
                  </a:lnTo>
                  <a:lnTo>
                    <a:pt x="213077" y="215313"/>
                  </a:lnTo>
                  <a:lnTo>
                    <a:pt x="212410" y="215789"/>
                  </a:lnTo>
                  <a:lnTo>
                    <a:pt x="211622" y="215485"/>
                  </a:lnTo>
                  <a:lnTo>
                    <a:pt x="211164" y="215587"/>
                  </a:lnTo>
                  <a:lnTo>
                    <a:pt x="211205" y="216193"/>
                  </a:lnTo>
                  <a:lnTo>
                    <a:pt x="209504" y="216344"/>
                  </a:lnTo>
                  <a:lnTo>
                    <a:pt x="207660" y="215973"/>
                  </a:lnTo>
                  <a:lnTo>
                    <a:pt x="202818" y="214355"/>
                  </a:lnTo>
                  <a:lnTo>
                    <a:pt x="202075" y="214108"/>
                  </a:lnTo>
                  <a:lnTo>
                    <a:pt x="198715" y="213482"/>
                  </a:lnTo>
                  <a:lnTo>
                    <a:pt x="197357" y="212836"/>
                  </a:lnTo>
                  <a:lnTo>
                    <a:pt x="196258" y="211236"/>
                  </a:lnTo>
                  <a:lnTo>
                    <a:pt x="195418" y="210730"/>
                  </a:lnTo>
                  <a:lnTo>
                    <a:pt x="194921" y="210427"/>
                  </a:lnTo>
                  <a:lnTo>
                    <a:pt x="191786" y="211235"/>
                  </a:lnTo>
                  <a:lnTo>
                    <a:pt x="190698" y="212494"/>
                  </a:lnTo>
                  <a:lnTo>
                    <a:pt x="188998" y="213967"/>
                  </a:lnTo>
                  <a:lnTo>
                    <a:pt x="177370" y="221183"/>
                  </a:lnTo>
                  <a:lnTo>
                    <a:pt x="175247" y="224201"/>
                  </a:lnTo>
                  <a:lnTo>
                    <a:pt x="172790" y="228639"/>
                  </a:lnTo>
                  <a:lnTo>
                    <a:pt x="172598" y="230707"/>
                  </a:lnTo>
                  <a:lnTo>
                    <a:pt x="173656" y="237309"/>
                  </a:lnTo>
                  <a:lnTo>
                    <a:pt x="176020" y="240769"/>
                  </a:lnTo>
                  <a:lnTo>
                    <a:pt x="176320" y="241569"/>
                  </a:lnTo>
                  <a:lnTo>
                    <a:pt x="175010" y="241573"/>
                  </a:lnTo>
                  <a:lnTo>
                    <a:pt x="172809" y="241141"/>
                  </a:lnTo>
                  <a:lnTo>
                    <a:pt x="170982" y="240607"/>
                  </a:lnTo>
                  <a:lnTo>
                    <a:pt x="169244" y="240905"/>
                  </a:lnTo>
                  <a:lnTo>
                    <a:pt x="167569" y="241620"/>
                  </a:lnTo>
                  <a:lnTo>
                    <a:pt x="166104" y="242052"/>
                  </a:lnTo>
                  <a:lnTo>
                    <a:pt x="165053" y="242173"/>
                  </a:lnTo>
                  <a:lnTo>
                    <a:pt x="164349" y="242585"/>
                  </a:lnTo>
                  <a:lnTo>
                    <a:pt x="164012" y="243409"/>
                  </a:lnTo>
                  <a:lnTo>
                    <a:pt x="163943" y="243985"/>
                  </a:lnTo>
                  <a:lnTo>
                    <a:pt x="162092" y="243843"/>
                  </a:lnTo>
                  <a:lnTo>
                    <a:pt x="157812" y="242658"/>
                  </a:lnTo>
                  <a:lnTo>
                    <a:pt x="153964" y="241841"/>
                  </a:lnTo>
                  <a:lnTo>
                    <a:pt x="151708" y="242770"/>
                  </a:lnTo>
                  <a:lnTo>
                    <a:pt x="150256" y="243638"/>
                  </a:lnTo>
                  <a:lnTo>
                    <a:pt x="149235" y="243505"/>
                  </a:lnTo>
                  <a:lnTo>
                    <a:pt x="148460" y="242592"/>
                  </a:lnTo>
                  <a:lnTo>
                    <a:pt x="147940" y="241698"/>
                  </a:lnTo>
                  <a:lnTo>
                    <a:pt x="146432" y="240878"/>
                  </a:lnTo>
                  <a:lnTo>
                    <a:pt x="143034" y="239645"/>
                  </a:lnTo>
                  <a:lnTo>
                    <a:pt x="143208" y="239050"/>
                  </a:lnTo>
                  <a:lnTo>
                    <a:pt x="143789" y="238220"/>
                  </a:lnTo>
                  <a:lnTo>
                    <a:pt x="143772" y="237708"/>
                  </a:lnTo>
                  <a:lnTo>
                    <a:pt x="143118" y="236947"/>
                  </a:lnTo>
                  <a:lnTo>
                    <a:pt x="139985" y="236130"/>
                  </a:lnTo>
                  <a:lnTo>
                    <a:pt x="138508" y="235924"/>
                  </a:lnTo>
                  <a:lnTo>
                    <a:pt x="137568" y="236486"/>
                  </a:lnTo>
                  <a:lnTo>
                    <a:pt x="136892" y="237174"/>
                  </a:lnTo>
                  <a:lnTo>
                    <a:pt x="135147" y="234643"/>
                  </a:lnTo>
                  <a:lnTo>
                    <a:pt x="133906" y="234128"/>
                  </a:lnTo>
                  <a:lnTo>
                    <a:pt x="132027" y="234043"/>
                  </a:lnTo>
                  <a:lnTo>
                    <a:pt x="129879" y="233270"/>
                  </a:lnTo>
                  <a:lnTo>
                    <a:pt x="127643" y="232283"/>
                  </a:lnTo>
                  <a:lnTo>
                    <a:pt x="122213" y="230703"/>
                  </a:lnTo>
                  <a:lnTo>
                    <a:pt x="120718" y="230514"/>
                  </a:lnTo>
                  <a:lnTo>
                    <a:pt x="120120" y="230764"/>
                  </a:lnTo>
                  <a:lnTo>
                    <a:pt x="119721" y="231709"/>
                  </a:lnTo>
                  <a:lnTo>
                    <a:pt x="119505" y="234377"/>
                  </a:lnTo>
                  <a:lnTo>
                    <a:pt x="119276" y="234672"/>
                  </a:lnTo>
                  <a:lnTo>
                    <a:pt x="116756" y="234761"/>
                  </a:lnTo>
                  <a:lnTo>
                    <a:pt x="113651" y="234390"/>
                  </a:lnTo>
                  <a:lnTo>
                    <a:pt x="112228" y="234574"/>
                  </a:lnTo>
                  <a:lnTo>
                    <a:pt x="110958" y="234583"/>
                  </a:lnTo>
                  <a:lnTo>
                    <a:pt x="109762" y="233877"/>
                  </a:lnTo>
                  <a:lnTo>
                    <a:pt x="104399" y="234685"/>
                  </a:lnTo>
                  <a:lnTo>
                    <a:pt x="103507" y="234291"/>
                  </a:lnTo>
                  <a:lnTo>
                    <a:pt x="102212" y="233086"/>
                  </a:lnTo>
                  <a:lnTo>
                    <a:pt x="100769" y="232114"/>
                  </a:lnTo>
                  <a:lnTo>
                    <a:pt x="99647" y="231615"/>
                  </a:lnTo>
                  <a:lnTo>
                    <a:pt x="98691" y="231043"/>
                  </a:lnTo>
                  <a:lnTo>
                    <a:pt x="97822" y="230950"/>
                  </a:lnTo>
                  <a:lnTo>
                    <a:pt x="96499" y="231504"/>
                  </a:lnTo>
                  <a:lnTo>
                    <a:pt x="94670" y="231739"/>
                  </a:lnTo>
                  <a:lnTo>
                    <a:pt x="93152" y="231667"/>
                  </a:lnTo>
                  <a:lnTo>
                    <a:pt x="92342" y="231748"/>
                  </a:lnTo>
                  <a:lnTo>
                    <a:pt x="88942" y="228789"/>
                  </a:lnTo>
                  <a:lnTo>
                    <a:pt x="88445" y="227979"/>
                  </a:lnTo>
                  <a:lnTo>
                    <a:pt x="86752" y="227754"/>
                  </a:lnTo>
                  <a:lnTo>
                    <a:pt x="84660" y="227718"/>
                  </a:lnTo>
                  <a:lnTo>
                    <a:pt x="79317" y="225799"/>
                  </a:lnTo>
                  <a:lnTo>
                    <a:pt x="76885" y="224768"/>
                  </a:lnTo>
                  <a:lnTo>
                    <a:pt x="76529" y="224155"/>
                  </a:lnTo>
                  <a:lnTo>
                    <a:pt x="76562" y="223659"/>
                  </a:lnTo>
                  <a:lnTo>
                    <a:pt x="76147" y="223766"/>
                  </a:lnTo>
                  <a:lnTo>
                    <a:pt x="75397" y="224643"/>
                  </a:lnTo>
                  <a:lnTo>
                    <a:pt x="75004" y="225358"/>
                  </a:lnTo>
                  <a:lnTo>
                    <a:pt x="74484" y="225492"/>
                  </a:lnTo>
                  <a:lnTo>
                    <a:pt x="73716" y="225381"/>
                  </a:lnTo>
                  <a:lnTo>
                    <a:pt x="73007" y="224978"/>
                  </a:lnTo>
                  <a:lnTo>
                    <a:pt x="72573" y="224459"/>
                  </a:lnTo>
                  <a:lnTo>
                    <a:pt x="73038" y="223551"/>
                  </a:lnTo>
                  <a:lnTo>
                    <a:pt x="73852" y="222367"/>
                  </a:lnTo>
                  <a:lnTo>
                    <a:pt x="74190" y="221078"/>
                  </a:lnTo>
                  <a:lnTo>
                    <a:pt x="74116" y="219924"/>
                  </a:lnTo>
                  <a:lnTo>
                    <a:pt x="72766" y="219183"/>
                  </a:lnTo>
                  <a:lnTo>
                    <a:pt x="70781" y="218874"/>
                  </a:lnTo>
                  <a:lnTo>
                    <a:pt x="69329" y="218786"/>
                  </a:lnTo>
                  <a:lnTo>
                    <a:pt x="67434" y="218126"/>
                  </a:lnTo>
                  <a:lnTo>
                    <a:pt x="66541" y="217650"/>
                  </a:lnTo>
                  <a:lnTo>
                    <a:pt x="65668" y="216364"/>
                  </a:lnTo>
                  <a:lnTo>
                    <a:pt x="65639" y="215428"/>
                  </a:lnTo>
                  <a:lnTo>
                    <a:pt x="69234" y="214602"/>
                  </a:lnTo>
                  <a:lnTo>
                    <a:pt x="72476" y="211216"/>
                  </a:lnTo>
                  <a:lnTo>
                    <a:pt x="75546" y="198890"/>
                  </a:lnTo>
                  <a:lnTo>
                    <a:pt x="77768" y="184245"/>
                  </a:lnTo>
                  <a:lnTo>
                    <a:pt x="79420" y="181469"/>
                  </a:lnTo>
                  <a:lnTo>
                    <a:pt x="81495" y="180706"/>
                  </a:lnTo>
                  <a:lnTo>
                    <a:pt x="79817" y="178684"/>
                  </a:lnTo>
                  <a:lnTo>
                    <a:pt x="78766" y="179708"/>
                  </a:lnTo>
                  <a:lnTo>
                    <a:pt x="78325" y="180794"/>
                  </a:lnTo>
                  <a:lnTo>
                    <a:pt x="77775" y="181336"/>
                  </a:lnTo>
                  <a:lnTo>
                    <a:pt x="79016" y="167825"/>
                  </a:lnTo>
                  <a:lnTo>
                    <a:pt x="79901" y="162861"/>
                  </a:lnTo>
                  <a:lnTo>
                    <a:pt x="81406" y="157650"/>
                  </a:lnTo>
                  <a:lnTo>
                    <a:pt x="84485" y="159720"/>
                  </a:lnTo>
                  <a:lnTo>
                    <a:pt x="87037" y="161817"/>
                  </a:lnTo>
                  <a:lnTo>
                    <a:pt x="88357" y="163636"/>
                  </a:lnTo>
                  <a:lnTo>
                    <a:pt x="90027" y="169686"/>
                  </a:lnTo>
                  <a:lnTo>
                    <a:pt x="91290" y="170954"/>
                  </a:lnTo>
                  <a:lnTo>
                    <a:pt x="93181" y="172226"/>
                  </a:lnTo>
                  <a:lnTo>
                    <a:pt x="92434" y="170837"/>
                  </a:lnTo>
                  <a:lnTo>
                    <a:pt x="91133" y="169776"/>
                  </a:lnTo>
                  <a:lnTo>
                    <a:pt x="89099" y="161709"/>
                  </a:lnTo>
                  <a:lnTo>
                    <a:pt x="87823" y="159420"/>
                  </a:lnTo>
                  <a:lnTo>
                    <a:pt x="85836" y="157492"/>
                  </a:lnTo>
                  <a:lnTo>
                    <a:pt x="79438" y="153428"/>
                  </a:lnTo>
                  <a:lnTo>
                    <a:pt x="78863" y="152643"/>
                  </a:lnTo>
                  <a:lnTo>
                    <a:pt x="78554" y="151089"/>
                  </a:lnTo>
                  <a:lnTo>
                    <a:pt x="80668" y="151155"/>
                  </a:lnTo>
                  <a:lnTo>
                    <a:pt x="82495" y="151910"/>
                  </a:lnTo>
                  <a:lnTo>
                    <a:pt x="82279" y="151040"/>
                  </a:lnTo>
                  <a:lnTo>
                    <a:pt x="81737" y="150131"/>
                  </a:lnTo>
                  <a:lnTo>
                    <a:pt x="80889" y="146830"/>
                  </a:lnTo>
                  <a:lnTo>
                    <a:pt x="80181" y="139107"/>
                  </a:lnTo>
                  <a:lnTo>
                    <a:pt x="80277" y="137782"/>
                  </a:lnTo>
                  <a:lnTo>
                    <a:pt x="79962" y="136157"/>
                  </a:lnTo>
                  <a:lnTo>
                    <a:pt x="77916" y="135793"/>
                  </a:lnTo>
                  <a:lnTo>
                    <a:pt x="76280" y="135726"/>
                  </a:lnTo>
                  <a:lnTo>
                    <a:pt x="74518" y="135084"/>
                  </a:lnTo>
                  <a:lnTo>
                    <a:pt x="65805" y="130514"/>
                  </a:lnTo>
                  <a:lnTo>
                    <a:pt x="62822" y="125790"/>
                  </a:lnTo>
                  <a:lnTo>
                    <a:pt x="59772" y="122297"/>
                  </a:lnTo>
                  <a:lnTo>
                    <a:pt x="59040" y="120772"/>
                  </a:lnTo>
                  <a:lnTo>
                    <a:pt x="59088" y="119226"/>
                  </a:lnTo>
                  <a:lnTo>
                    <a:pt x="60667" y="115957"/>
                  </a:lnTo>
                  <a:lnTo>
                    <a:pt x="59273" y="113891"/>
                  </a:lnTo>
                  <a:lnTo>
                    <a:pt x="57911" y="113480"/>
                  </a:lnTo>
                  <a:lnTo>
                    <a:pt x="56727" y="112457"/>
                  </a:lnTo>
                  <a:lnTo>
                    <a:pt x="57799" y="110751"/>
                  </a:lnTo>
                  <a:lnTo>
                    <a:pt x="58690" y="109659"/>
                  </a:lnTo>
                  <a:lnTo>
                    <a:pt x="60475" y="109362"/>
                  </a:lnTo>
                  <a:lnTo>
                    <a:pt x="62816" y="109724"/>
                  </a:lnTo>
                  <a:lnTo>
                    <a:pt x="65036" y="110712"/>
                  </a:lnTo>
                  <a:lnTo>
                    <a:pt x="66778" y="110974"/>
                  </a:lnTo>
                  <a:lnTo>
                    <a:pt x="61629" y="108323"/>
                  </a:lnTo>
                  <a:lnTo>
                    <a:pt x="53279" y="109217"/>
                  </a:lnTo>
                  <a:lnTo>
                    <a:pt x="51479" y="108875"/>
                  </a:lnTo>
                  <a:lnTo>
                    <a:pt x="49959" y="108284"/>
                  </a:lnTo>
                  <a:lnTo>
                    <a:pt x="49365" y="106336"/>
                  </a:lnTo>
                  <a:lnTo>
                    <a:pt x="50552" y="105458"/>
                  </a:lnTo>
                  <a:lnTo>
                    <a:pt x="51628" y="103833"/>
                  </a:lnTo>
                  <a:lnTo>
                    <a:pt x="50411" y="102690"/>
                  </a:lnTo>
                  <a:lnTo>
                    <a:pt x="48834" y="102257"/>
                  </a:lnTo>
                  <a:lnTo>
                    <a:pt x="46360" y="102282"/>
                  </a:lnTo>
                  <a:lnTo>
                    <a:pt x="44052" y="102627"/>
                  </a:lnTo>
                  <a:lnTo>
                    <a:pt x="43466" y="101970"/>
                  </a:lnTo>
                  <a:lnTo>
                    <a:pt x="44874" y="100158"/>
                  </a:lnTo>
                  <a:lnTo>
                    <a:pt x="43678" y="99491"/>
                  </a:lnTo>
                  <a:lnTo>
                    <a:pt x="42082" y="99802"/>
                  </a:lnTo>
                  <a:lnTo>
                    <a:pt x="39767" y="100178"/>
                  </a:lnTo>
                  <a:lnTo>
                    <a:pt x="37553" y="99609"/>
                  </a:lnTo>
                  <a:lnTo>
                    <a:pt x="35460" y="97547"/>
                  </a:lnTo>
                  <a:lnTo>
                    <a:pt x="34073" y="97562"/>
                  </a:lnTo>
                  <a:lnTo>
                    <a:pt x="33120" y="97817"/>
                  </a:lnTo>
                  <a:lnTo>
                    <a:pt x="31706" y="97023"/>
                  </a:lnTo>
                  <a:lnTo>
                    <a:pt x="30218" y="96824"/>
                  </a:lnTo>
                  <a:lnTo>
                    <a:pt x="29156" y="97087"/>
                  </a:lnTo>
                  <a:lnTo>
                    <a:pt x="27744" y="95903"/>
                  </a:lnTo>
                  <a:lnTo>
                    <a:pt x="19051" y="93527"/>
                  </a:lnTo>
                  <a:lnTo>
                    <a:pt x="15297" y="93236"/>
                  </a:lnTo>
                  <a:lnTo>
                    <a:pt x="11854" y="94313"/>
                  </a:lnTo>
                  <a:lnTo>
                    <a:pt x="9959" y="93939"/>
                  </a:lnTo>
                  <a:lnTo>
                    <a:pt x="8566" y="92403"/>
                  </a:lnTo>
                  <a:lnTo>
                    <a:pt x="7397" y="89823"/>
                  </a:lnTo>
                  <a:lnTo>
                    <a:pt x="1851" y="87832"/>
                  </a:lnTo>
                  <a:lnTo>
                    <a:pt x="2948" y="86526"/>
                  </a:lnTo>
                  <a:lnTo>
                    <a:pt x="5530" y="86217"/>
                  </a:lnTo>
                  <a:lnTo>
                    <a:pt x="8506" y="85310"/>
                  </a:lnTo>
                  <a:lnTo>
                    <a:pt x="9576" y="84147"/>
                  </a:lnTo>
                  <a:lnTo>
                    <a:pt x="7250" y="82790"/>
                  </a:lnTo>
                  <a:lnTo>
                    <a:pt x="5535" y="82457"/>
                  </a:lnTo>
                  <a:lnTo>
                    <a:pt x="4824" y="81969"/>
                  </a:lnTo>
                  <a:lnTo>
                    <a:pt x="4099" y="80751"/>
                  </a:lnTo>
                  <a:lnTo>
                    <a:pt x="5127" y="80193"/>
                  </a:lnTo>
                  <a:lnTo>
                    <a:pt x="5851" y="80489"/>
                  </a:lnTo>
                  <a:lnTo>
                    <a:pt x="7942" y="80665"/>
                  </a:lnTo>
                  <a:lnTo>
                    <a:pt x="11523" y="80365"/>
                  </a:lnTo>
                  <a:lnTo>
                    <a:pt x="10188" y="79136"/>
                  </a:lnTo>
                  <a:lnTo>
                    <a:pt x="8803" y="78862"/>
                  </a:lnTo>
                  <a:lnTo>
                    <a:pt x="8167" y="78554"/>
                  </a:lnTo>
                  <a:lnTo>
                    <a:pt x="5256" y="78421"/>
                  </a:lnTo>
                  <a:lnTo>
                    <a:pt x="3931" y="78840"/>
                  </a:lnTo>
                  <a:lnTo>
                    <a:pt x="954" y="78681"/>
                  </a:lnTo>
                  <a:lnTo>
                    <a:pt x="309" y="77352"/>
                  </a:lnTo>
                  <a:lnTo>
                    <a:pt x="0" y="76212"/>
                  </a:lnTo>
                  <a:lnTo>
                    <a:pt x="923" y="73668"/>
                  </a:lnTo>
                  <a:lnTo>
                    <a:pt x="5115" y="71394"/>
                  </a:lnTo>
                  <a:lnTo>
                    <a:pt x="15558" y="68905"/>
                  </a:lnTo>
                  <a:lnTo>
                    <a:pt x="20052" y="69269"/>
                  </a:lnTo>
                  <a:lnTo>
                    <a:pt x="23167" y="68821"/>
                  </a:lnTo>
                  <a:lnTo>
                    <a:pt x="26900" y="67251"/>
                  </a:lnTo>
                  <a:lnTo>
                    <a:pt x="28547" y="65905"/>
                  </a:lnTo>
                  <a:lnTo>
                    <a:pt x="33855" y="65112"/>
                  </a:lnTo>
                  <a:lnTo>
                    <a:pt x="38901" y="66540"/>
                  </a:lnTo>
                  <a:lnTo>
                    <a:pt x="43553" y="71931"/>
                  </a:lnTo>
                  <a:lnTo>
                    <a:pt x="45776" y="73755"/>
                  </a:lnTo>
                  <a:lnTo>
                    <a:pt x="51219" y="70589"/>
                  </a:lnTo>
                  <a:lnTo>
                    <a:pt x="59328" y="70682"/>
                  </a:lnTo>
                  <a:lnTo>
                    <a:pt x="61003" y="72470"/>
                  </a:lnTo>
                  <a:lnTo>
                    <a:pt x="61679" y="70964"/>
                  </a:lnTo>
                  <a:lnTo>
                    <a:pt x="63170" y="69201"/>
                  </a:lnTo>
                  <a:lnTo>
                    <a:pt x="64359" y="70005"/>
                  </a:lnTo>
                  <a:lnTo>
                    <a:pt x="64961" y="71094"/>
                  </a:lnTo>
                  <a:lnTo>
                    <a:pt x="73520" y="70785"/>
                  </a:lnTo>
                  <a:lnTo>
                    <a:pt x="74872" y="70467"/>
                  </a:lnTo>
                  <a:lnTo>
                    <a:pt x="72573" y="69187"/>
                  </a:lnTo>
                  <a:lnTo>
                    <a:pt x="70693" y="66117"/>
                  </a:lnTo>
                  <a:lnTo>
                    <a:pt x="70303" y="54792"/>
                  </a:lnTo>
                  <a:lnTo>
                    <a:pt x="67932" y="51621"/>
                  </a:lnTo>
                  <a:lnTo>
                    <a:pt x="65210" y="46549"/>
                  </a:lnTo>
                  <a:lnTo>
                    <a:pt x="63958" y="43535"/>
                  </a:lnTo>
                  <a:lnTo>
                    <a:pt x="63840" y="42492"/>
                  </a:lnTo>
                  <a:lnTo>
                    <a:pt x="64259" y="40986"/>
                  </a:lnTo>
                  <a:lnTo>
                    <a:pt x="67605" y="41067"/>
                  </a:lnTo>
                  <a:lnTo>
                    <a:pt x="70190" y="41449"/>
                  </a:lnTo>
                  <a:lnTo>
                    <a:pt x="75110" y="40310"/>
                  </a:lnTo>
                  <a:lnTo>
                    <a:pt x="77478" y="41090"/>
                  </a:lnTo>
                  <a:lnTo>
                    <a:pt x="77338" y="43445"/>
                  </a:lnTo>
                  <a:lnTo>
                    <a:pt x="78061" y="46413"/>
                  </a:lnTo>
                  <a:lnTo>
                    <a:pt x="78886" y="47849"/>
                  </a:lnTo>
                  <a:lnTo>
                    <a:pt x="80134" y="49481"/>
                  </a:lnTo>
                  <a:lnTo>
                    <a:pt x="84100" y="49330"/>
                  </a:lnTo>
                  <a:lnTo>
                    <a:pt x="88382" y="50289"/>
                  </a:lnTo>
                  <a:lnTo>
                    <a:pt x="93791" y="50437"/>
                  </a:lnTo>
                  <a:lnTo>
                    <a:pt x="101694" y="52091"/>
                  </a:lnTo>
                  <a:lnTo>
                    <a:pt x="105062" y="51133"/>
                  </a:lnTo>
                  <a:lnTo>
                    <a:pt x="108319" y="49091"/>
                  </a:lnTo>
                  <a:lnTo>
                    <a:pt x="114527" y="47747"/>
                  </a:lnTo>
                  <a:lnTo>
                    <a:pt x="115022" y="47035"/>
                  </a:lnTo>
                  <a:lnTo>
                    <a:pt x="111448" y="47319"/>
                  </a:lnTo>
                  <a:lnTo>
                    <a:pt x="108170" y="46023"/>
                  </a:lnTo>
                  <a:lnTo>
                    <a:pt x="107728" y="44615"/>
                  </a:lnTo>
                  <a:lnTo>
                    <a:pt x="108107" y="43349"/>
                  </a:lnTo>
                  <a:lnTo>
                    <a:pt x="109438" y="40433"/>
                  </a:lnTo>
                  <a:lnTo>
                    <a:pt x="118935" y="35828"/>
                  </a:lnTo>
                  <a:lnTo>
                    <a:pt x="125743" y="34466"/>
                  </a:lnTo>
                  <a:lnTo>
                    <a:pt x="132850" y="31926"/>
                  </a:lnTo>
                  <a:lnTo>
                    <a:pt x="136426" y="29319"/>
                  </a:lnTo>
                  <a:lnTo>
                    <a:pt x="138788" y="25948"/>
                  </a:lnTo>
                  <a:lnTo>
                    <a:pt x="139548" y="25207"/>
                  </a:lnTo>
                  <a:lnTo>
                    <a:pt x="140529" y="24585"/>
                  </a:lnTo>
                  <a:lnTo>
                    <a:pt x="139617" y="23376"/>
                  </a:lnTo>
                  <a:lnTo>
                    <a:pt x="140235" y="10443"/>
                  </a:lnTo>
                  <a:lnTo>
                    <a:pt x="140900" y="8106"/>
                  </a:lnTo>
                  <a:lnTo>
                    <a:pt x="142286" y="6195"/>
                  </a:lnTo>
                  <a:lnTo>
                    <a:pt x="144396" y="4716"/>
                  </a:lnTo>
                  <a:lnTo>
                    <a:pt x="147598" y="3112"/>
                  </a:lnTo>
                  <a:lnTo>
                    <a:pt x="159389" y="895"/>
                  </a:lnTo>
                  <a:close/>
                </a:path>
              </a:pathLst>
            </a:custGeom>
            <a:grpFill/>
            <a:ln w="3175"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20" name="ee4p_GB_1_92573">
              <a:extLst>
                <a:ext uri="{FF2B5EF4-FFF2-40B4-BE49-F238E27FC236}">
                  <a16:creationId xmlns:a16="http://schemas.microsoft.com/office/drawing/2014/main" id="{9880F3BE-CF6C-4C12-ACAB-898CB5949975}"/>
                </a:ext>
              </a:extLst>
            </p:cNvPr>
            <p:cNvSpPr>
              <a:spLocks noChangeAspect="1"/>
            </p:cNvSpPr>
            <p:nvPr>
              <p:custDataLst>
                <p:tags r:id="rId14"/>
              </p:custDataLst>
            </p:nvPr>
          </p:nvSpPr>
          <p:spPr>
            <a:xfrm>
              <a:off x="3057753" y="3200480"/>
              <a:ext cx="867056" cy="1425664"/>
            </a:xfrm>
            <a:custGeom>
              <a:avLst/>
              <a:gdLst>
                <a:gd name="connsiteX0" fmla="*/ 130999 w 218720"/>
                <a:gd name="connsiteY0" fmla="*/ 356870 h 359632"/>
                <a:gd name="connsiteX1" fmla="*/ 134057 w 218720"/>
                <a:gd name="connsiteY1" fmla="*/ 357184 h 359632"/>
                <a:gd name="connsiteX2" fmla="*/ 135462 w 218720"/>
                <a:gd name="connsiteY2" fmla="*/ 357875 h 359632"/>
                <a:gd name="connsiteX3" fmla="*/ 135656 w 218720"/>
                <a:gd name="connsiteY3" fmla="*/ 359317 h 359632"/>
                <a:gd name="connsiteX4" fmla="*/ 134686 w 218720"/>
                <a:gd name="connsiteY4" fmla="*/ 359632 h 359632"/>
                <a:gd name="connsiteX5" fmla="*/ 133862 w 218720"/>
                <a:gd name="connsiteY5" fmla="*/ 359129 h 359632"/>
                <a:gd name="connsiteX6" fmla="*/ 132211 w 218720"/>
                <a:gd name="connsiteY6" fmla="*/ 359129 h 359632"/>
                <a:gd name="connsiteX7" fmla="*/ 130660 w 218720"/>
                <a:gd name="connsiteY7" fmla="*/ 359444 h 359632"/>
                <a:gd name="connsiteX8" fmla="*/ 123886 w 218720"/>
                <a:gd name="connsiteY8" fmla="*/ 349985 h 359632"/>
                <a:gd name="connsiteX9" fmla="*/ 124356 w 218720"/>
                <a:gd name="connsiteY9" fmla="*/ 349993 h 359632"/>
                <a:gd name="connsiteX10" fmla="*/ 124547 w 218720"/>
                <a:gd name="connsiteY10" fmla="*/ 350331 h 359632"/>
                <a:gd name="connsiteX11" fmla="*/ 123771 w 218720"/>
                <a:gd name="connsiteY11" fmla="*/ 352219 h 359632"/>
                <a:gd name="connsiteX12" fmla="*/ 121745 w 218720"/>
                <a:gd name="connsiteY12" fmla="*/ 351582 h 359632"/>
                <a:gd name="connsiteX13" fmla="*/ 121587 w 218720"/>
                <a:gd name="connsiteY13" fmla="*/ 351086 h 359632"/>
                <a:gd name="connsiteX14" fmla="*/ 151070 w 218720"/>
                <a:gd name="connsiteY14" fmla="*/ 313354 h 359632"/>
                <a:gd name="connsiteX15" fmla="*/ 154798 w 218720"/>
                <a:gd name="connsiteY15" fmla="*/ 314483 h 359632"/>
                <a:gd name="connsiteX16" fmla="*/ 156537 w 218720"/>
                <a:gd name="connsiteY16" fmla="*/ 315778 h 359632"/>
                <a:gd name="connsiteX17" fmla="*/ 154684 w 218720"/>
                <a:gd name="connsiteY17" fmla="*/ 316783 h 359632"/>
                <a:gd name="connsiteX18" fmla="*/ 154099 w 218720"/>
                <a:gd name="connsiteY18" fmla="*/ 317960 h 359632"/>
                <a:gd name="connsiteX19" fmla="*/ 153651 w 218720"/>
                <a:gd name="connsiteY19" fmla="*/ 318425 h 359632"/>
                <a:gd name="connsiteX20" fmla="*/ 152426 w 218720"/>
                <a:gd name="connsiteY20" fmla="*/ 318728 h 359632"/>
                <a:gd name="connsiteX21" fmla="*/ 151214 w 218720"/>
                <a:gd name="connsiteY21" fmla="*/ 318736 h 359632"/>
                <a:gd name="connsiteX22" fmla="*/ 146592 w 218720"/>
                <a:gd name="connsiteY22" fmla="*/ 316373 h 359632"/>
                <a:gd name="connsiteX23" fmla="*/ 145528 w 218720"/>
                <a:gd name="connsiteY23" fmla="*/ 316480 h 359632"/>
                <a:gd name="connsiteX24" fmla="*/ 146584 w 218720"/>
                <a:gd name="connsiteY24" fmla="*/ 315397 h 359632"/>
                <a:gd name="connsiteX25" fmla="*/ 149455 w 218720"/>
                <a:gd name="connsiteY25" fmla="*/ 314517 h 359632"/>
                <a:gd name="connsiteX26" fmla="*/ 81441 w 218720"/>
                <a:gd name="connsiteY26" fmla="*/ 235014 h 359632"/>
                <a:gd name="connsiteX27" fmla="*/ 84683 w 218720"/>
                <a:gd name="connsiteY27" fmla="*/ 235075 h 359632"/>
                <a:gd name="connsiteX28" fmla="*/ 87299 w 218720"/>
                <a:gd name="connsiteY28" fmla="*/ 237958 h 359632"/>
                <a:gd name="connsiteX29" fmla="*/ 88226 w 218720"/>
                <a:gd name="connsiteY29" fmla="*/ 238517 h 359632"/>
                <a:gd name="connsiteX30" fmla="*/ 90559 w 218720"/>
                <a:gd name="connsiteY30" fmla="*/ 238429 h 359632"/>
                <a:gd name="connsiteX31" fmla="*/ 89787 w 218720"/>
                <a:gd name="connsiteY31" fmla="*/ 239675 h 359632"/>
                <a:gd name="connsiteX32" fmla="*/ 87220 w 218720"/>
                <a:gd name="connsiteY32" fmla="*/ 241064 h 359632"/>
                <a:gd name="connsiteX33" fmla="*/ 85490 w 218720"/>
                <a:gd name="connsiteY33" fmla="*/ 242434 h 359632"/>
                <a:gd name="connsiteX34" fmla="*/ 83402 w 218720"/>
                <a:gd name="connsiteY34" fmla="*/ 243581 h 359632"/>
                <a:gd name="connsiteX35" fmla="*/ 82389 w 218720"/>
                <a:gd name="connsiteY35" fmla="*/ 242265 h 359632"/>
                <a:gd name="connsiteX36" fmla="*/ 81214 w 218720"/>
                <a:gd name="connsiteY36" fmla="*/ 242315 h 359632"/>
                <a:gd name="connsiteX37" fmla="*/ 79418 w 218720"/>
                <a:gd name="connsiteY37" fmla="*/ 239791 h 359632"/>
                <a:gd name="connsiteX38" fmla="*/ 79094 w 218720"/>
                <a:gd name="connsiteY38" fmla="*/ 236001 h 359632"/>
                <a:gd name="connsiteX39" fmla="*/ 82259 w 218720"/>
                <a:gd name="connsiteY39" fmla="*/ 205081 h 359632"/>
                <a:gd name="connsiteX40" fmla="*/ 82904 w 218720"/>
                <a:gd name="connsiteY40" fmla="*/ 205211 h 359632"/>
                <a:gd name="connsiteX41" fmla="*/ 83310 w 218720"/>
                <a:gd name="connsiteY41" fmla="*/ 205526 h 359632"/>
                <a:gd name="connsiteX42" fmla="*/ 84177 w 218720"/>
                <a:gd name="connsiteY42" fmla="*/ 209288 h 359632"/>
                <a:gd name="connsiteX43" fmla="*/ 82976 w 218720"/>
                <a:gd name="connsiteY43" fmla="*/ 210618 h 359632"/>
                <a:gd name="connsiteX44" fmla="*/ 82539 w 218720"/>
                <a:gd name="connsiteY44" fmla="*/ 211836 h 359632"/>
                <a:gd name="connsiteX45" fmla="*/ 78068 w 218720"/>
                <a:gd name="connsiteY45" fmla="*/ 215684 h 359632"/>
                <a:gd name="connsiteX46" fmla="*/ 76259 w 218720"/>
                <a:gd name="connsiteY46" fmla="*/ 214993 h 359632"/>
                <a:gd name="connsiteX47" fmla="*/ 74718 w 218720"/>
                <a:gd name="connsiteY47" fmla="*/ 215358 h 359632"/>
                <a:gd name="connsiteX48" fmla="*/ 74285 w 218720"/>
                <a:gd name="connsiteY48" fmla="*/ 215248 h 359632"/>
                <a:gd name="connsiteX49" fmla="*/ 75165 w 218720"/>
                <a:gd name="connsiteY49" fmla="*/ 213859 h 359632"/>
                <a:gd name="connsiteX50" fmla="*/ 76200 w 218720"/>
                <a:gd name="connsiteY50" fmla="*/ 210633 h 359632"/>
                <a:gd name="connsiteX51" fmla="*/ 78055 w 218720"/>
                <a:gd name="connsiteY51" fmla="*/ 209353 h 359632"/>
                <a:gd name="connsiteX52" fmla="*/ 80403 w 218720"/>
                <a:gd name="connsiteY52" fmla="*/ 206010 h 359632"/>
                <a:gd name="connsiteX53" fmla="*/ 39128 w 218720"/>
                <a:gd name="connsiteY53" fmla="*/ 179485 h 359632"/>
                <a:gd name="connsiteX54" fmla="*/ 42247 w 218720"/>
                <a:gd name="connsiteY54" fmla="*/ 180254 h 359632"/>
                <a:gd name="connsiteX55" fmla="*/ 44571 w 218720"/>
                <a:gd name="connsiteY55" fmla="*/ 180238 h 359632"/>
                <a:gd name="connsiteX56" fmla="*/ 46635 w 218720"/>
                <a:gd name="connsiteY56" fmla="*/ 182483 h 359632"/>
                <a:gd name="connsiteX57" fmla="*/ 47742 w 218720"/>
                <a:gd name="connsiteY57" fmla="*/ 186017 h 359632"/>
                <a:gd name="connsiteX58" fmla="*/ 50319 w 218720"/>
                <a:gd name="connsiteY58" fmla="*/ 189504 h 359632"/>
                <a:gd name="connsiteX59" fmla="*/ 53688 w 218720"/>
                <a:gd name="connsiteY59" fmla="*/ 192534 h 359632"/>
                <a:gd name="connsiteX60" fmla="*/ 53822 w 218720"/>
                <a:gd name="connsiteY60" fmla="*/ 194385 h 359632"/>
                <a:gd name="connsiteX61" fmla="*/ 52619 w 218720"/>
                <a:gd name="connsiteY61" fmla="*/ 195378 h 359632"/>
                <a:gd name="connsiteX62" fmla="*/ 50100 w 218720"/>
                <a:gd name="connsiteY62" fmla="*/ 196612 h 359632"/>
                <a:gd name="connsiteX63" fmla="*/ 50111 w 218720"/>
                <a:gd name="connsiteY63" fmla="*/ 197930 h 359632"/>
                <a:gd name="connsiteX64" fmla="*/ 51772 w 218720"/>
                <a:gd name="connsiteY64" fmla="*/ 197265 h 359632"/>
                <a:gd name="connsiteX65" fmla="*/ 53206 w 218720"/>
                <a:gd name="connsiteY65" fmla="*/ 196958 h 359632"/>
                <a:gd name="connsiteX66" fmla="*/ 56658 w 218720"/>
                <a:gd name="connsiteY66" fmla="*/ 197253 h 359632"/>
                <a:gd name="connsiteX67" fmla="*/ 57865 w 218720"/>
                <a:gd name="connsiteY67" fmla="*/ 198593 h 359632"/>
                <a:gd name="connsiteX68" fmla="*/ 58699 w 218720"/>
                <a:gd name="connsiteY68" fmla="*/ 200597 h 359632"/>
                <a:gd name="connsiteX69" fmla="*/ 59137 w 218720"/>
                <a:gd name="connsiteY69" fmla="*/ 202242 h 359632"/>
                <a:gd name="connsiteX70" fmla="*/ 58839 w 218720"/>
                <a:gd name="connsiteY70" fmla="*/ 204029 h 359632"/>
                <a:gd name="connsiteX71" fmla="*/ 57910 w 218720"/>
                <a:gd name="connsiteY71" fmla="*/ 203463 h 359632"/>
                <a:gd name="connsiteX72" fmla="*/ 56966 w 218720"/>
                <a:gd name="connsiteY72" fmla="*/ 201864 h 359632"/>
                <a:gd name="connsiteX73" fmla="*/ 55918 w 218720"/>
                <a:gd name="connsiteY73" fmla="*/ 201127 h 359632"/>
                <a:gd name="connsiteX74" fmla="*/ 54699 w 218720"/>
                <a:gd name="connsiteY74" fmla="*/ 200729 h 359632"/>
                <a:gd name="connsiteX75" fmla="*/ 55252 w 218720"/>
                <a:gd name="connsiteY75" fmla="*/ 202924 h 359632"/>
                <a:gd name="connsiteX76" fmla="*/ 55034 w 218720"/>
                <a:gd name="connsiteY76" fmla="*/ 205857 h 359632"/>
                <a:gd name="connsiteX77" fmla="*/ 55566 w 218720"/>
                <a:gd name="connsiteY77" fmla="*/ 206133 h 359632"/>
                <a:gd name="connsiteX78" fmla="*/ 57204 w 218720"/>
                <a:gd name="connsiteY78" fmla="*/ 206184 h 359632"/>
                <a:gd name="connsiteX79" fmla="*/ 56121 w 218720"/>
                <a:gd name="connsiteY79" fmla="*/ 209183 h 359632"/>
                <a:gd name="connsiteX80" fmla="*/ 53882 w 218720"/>
                <a:gd name="connsiteY80" fmla="*/ 209996 h 359632"/>
                <a:gd name="connsiteX81" fmla="*/ 51270 w 218720"/>
                <a:gd name="connsiteY81" fmla="*/ 210300 h 359632"/>
                <a:gd name="connsiteX82" fmla="*/ 50640 w 218720"/>
                <a:gd name="connsiteY82" fmla="*/ 211361 h 359632"/>
                <a:gd name="connsiteX83" fmla="*/ 50166 w 218720"/>
                <a:gd name="connsiteY83" fmla="*/ 212727 h 359632"/>
                <a:gd name="connsiteX84" fmla="*/ 48803 w 218720"/>
                <a:gd name="connsiteY84" fmla="*/ 214762 h 359632"/>
                <a:gd name="connsiteX85" fmla="*/ 47005 w 218720"/>
                <a:gd name="connsiteY85" fmla="*/ 215909 h 359632"/>
                <a:gd name="connsiteX86" fmla="*/ 44783 w 218720"/>
                <a:gd name="connsiteY86" fmla="*/ 215678 h 359632"/>
                <a:gd name="connsiteX87" fmla="*/ 42606 w 218720"/>
                <a:gd name="connsiteY87" fmla="*/ 214772 h 359632"/>
                <a:gd name="connsiteX88" fmla="*/ 40712 w 218720"/>
                <a:gd name="connsiteY88" fmla="*/ 214586 h 359632"/>
                <a:gd name="connsiteX89" fmla="*/ 39385 w 218720"/>
                <a:gd name="connsiteY89" fmla="*/ 215125 h 359632"/>
                <a:gd name="connsiteX90" fmla="*/ 38524 w 218720"/>
                <a:gd name="connsiteY90" fmla="*/ 215625 h 359632"/>
                <a:gd name="connsiteX91" fmla="*/ 37691 w 218720"/>
                <a:gd name="connsiteY91" fmla="*/ 215534 h 359632"/>
                <a:gd name="connsiteX92" fmla="*/ 35306 w 218720"/>
                <a:gd name="connsiteY92" fmla="*/ 215727 h 359632"/>
                <a:gd name="connsiteX93" fmla="*/ 33058 w 218720"/>
                <a:gd name="connsiteY93" fmla="*/ 215686 h 359632"/>
                <a:gd name="connsiteX94" fmla="*/ 32739 w 218720"/>
                <a:gd name="connsiteY94" fmla="*/ 214892 h 359632"/>
                <a:gd name="connsiteX95" fmla="*/ 33122 w 218720"/>
                <a:gd name="connsiteY95" fmla="*/ 212503 h 359632"/>
                <a:gd name="connsiteX96" fmla="*/ 32622 w 218720"/>
                <a:gd name="connsiteY96" fmla="*/ 211855 h 359632"/>
                <a:gd name="connsiteX97" fmla="*/ 30475 w 218720"/>
                <a:gd name="connsiteY97" fmla="*/ 211524 h 359632"/>
                <a:gd name="connsiteX98" fmla="*/ 29679 w 218720"/>
                <a:gd name="connsiteY98" fmla="*/ 210954 h 359632"/>
                <a:gd name="connsiteX99" fmla="*/ 28446 w 218720"/>
                <a:gd name="connsiteY99" fmla="*/ 209302 h 359632"/>
                <a:gd name="connsiteX100" fmla="*/ 28206 w 218720"/>
                <a:gd name="connsiteY100" fmla="*/ 208528 h 359632"/>
                <a:gd name="connsiteX101" fmla="*/ 28029 w 218720"/>
                <a:gd name="connsiteY101" fmla="*/ 207461 h 359632"/>
                <a:gd name="connsiteX102" fmla="*/ 26726 w 218720"/>
                <a:gd name="connsiteY102" fmla="*/ 206083 h 359632"/>
                <a:gd name="connsiteX103" fmla="*/ 25144 w 218720"/>
                <a:gd name="connsiteY103" fmla="*/ 205096 h 359632"/>
                <a:gd name="connsiteX104" fmla="*/ 24215 w 218720"/>
                <a:gd name="connsiteY104" fmla="*/ 205048 h 359632"/>
                <a:gd name="connsiteX105" fmla="*/ 22362 w 218720"/>
                <a:gd name="connsiteY105" fmla="*/ 206660 h 359632"/>
                <a:gd name="connsiteX106" fmla="*/ 20834 w 218720"/>
                <a:gd name="connsiteY106" fmla="*/ 208292 h 359632"/>
                <a:gd name="connsiteX107" fmla="*/ 21377 w 218720"/>
                <a:gd name="connsiteY107" fmla="*/ 209111 h 359632"/>
                <a:gd name="connsiteX108" fmla="*/ 21876 w 218720"/>
                <a:gd name="connsiteY108" fmla="*/ 210189 h 359632"/>
                <a:gd name="connsiteX109" fmla="*/ 21045 w 218720"/>
                <a:gd name="connsiteY109" fmla="*/ 210961 h 359632"/>
                <a:gd name="connsiteX110" fmla="*/ 18532 w 218720"/>
                <a:gd name="connsiteY110" fmla="*/ 212728 h 359632"/>
                <a:gd name="connsiteX111" fmla="*/ 18139 w 218720"/>
                <a:gd name="connsiteY111" fmla="*/ 213414 h 359632"/>
                <a:gd name="connsiteX112" fmla="*/ 17461 w 218720"/>
                <a:gd name="connsiteY112" fmla="*/ 213785 h 359632"/>
                <a:gd name="connsiteX113" fmla="*/ 16261 w 218720"/>
                <a:gd name="connsiteY113" fmla="*/ 213296 h 359632"/>
                <a:gd name="connsiteX114" fmla="*/ 13276 w 218720"/>
                <a:gd name="connsiteY114" fmla="*/ 213409 h 359632"/>
                <a:gd name="connsiteX115" fmla="*/ 11902 w 218720"/>
                <a:gd name="connsiteY115" fmla="*/ 213097 h 359632"/>
                <a:gd name="connsiteX116" fmla="*/ 10305 w 218720"/>
                <a:gd name="connsiteY116" fmla="*/ 211796 h 359632"/>
                <a:gd name="connsiteX117" fmla="*/ 6410 w 218720"/>
                <a:gd name="connsiteY117" fmla="*/ 210925 h 359632"/>
                <a:gd name="connsiteX118" fmla="*/ 5757 w 218720"/>
                <a:gd name="connsiteY118" fmla="*/ 208841 h 359632"/>
                <a:gd name="connsiteX119" fmla="*/ 5005 w 218720"/>
                <a:gd name="connsiteY119" fmla="*/ 208451 h 359632"/>
                <a:gd name="connsiteX120" fmla="*/ 587 w 218720"/>
                <a:gd name="connsiteY120" fmla="*/ 204865 h 359632"/>
                <a:gd name="connsiteX121" fmla="*/ 0 w 218720"/>
                <a:gd name="connsiteY121" fmla="*/ 203667 h 359632"/>
                <a:gd name="connsiteX122" fmla="*/ 572 w 218720"/>
                <a:gd name="connsiteY122" fmla="*/ 202952 h 359632"/>
                <a:gd name="connsiteX123" fmla="*/ 2222 w 218720"/>
                <a:gd name="connsiteY123" fmla="*/ 201868 h 359632"/>
                <a:gd name="connsiteX124" fmla="*/ 7762 w 218720"/>
                <a:gd name="connsiteY124" fmla="*/ 200072 h 359632"/>
                <a:gd name="connsiteX125" fmla="*/ 8633 w 218720"/>
                <a:gd name="connsiteY125" fmla="*/ 199348 h 359632"/>
                <a:gd name="connsiteX126" fmla="*/ 8812 w 218720"/>
                <a:gd name="connsiteY126" fmla="*/ 198709 h 359632"/>
                <a:gd name="connsiteX127" fmla="*/ 7186 w 218720"/>
                <a:gd name="connsiteY127" fmla="*/ 197979 h 359632"/>
                <a:gd name="connsiteX128" fmla="*/ 5720 w 218720"/>
                <a:gd name="connsiteY128" fmla="*/ 197172 h 359632"/>
                <a:gd name="connsiteX129" fmla="*/ 5220 w 218720"/>
                <a:gd name="connsiteY129" fmla="*/ 196643 h 359632"/>
                <a:gd name="connsiteX130" fmla="*/ 5179 w 218720"/>
                <a:gd name="connsiteY130" fmla="*/ 196184 h 359632"/>
                <a:gd name="connsiteX131" fmla="*/ 6011 w 218720"/>
                <a:gd name="connsiteY131" fmla="*/ 195586 h 359632"/>
                <a:gd name="connsiteX132" fmla="*/ 7685 w 218720"/>
                <a:gd name="connsiteY132" fmla="*/ 195543 h 359632"/>
                <a:gd name="connsiteX133" fmla="*/ 9007 w 218720"/>
                <a:gd name="connsiteY133" fmla="*/ 195813 h 359632"/>
                <a:gd name="connsiteX134" fmla="*/ 10057 w 218720"/>
                <a:gd name="connsiteY134" fmla="*/ 195275 h 359632"/>
                <a:gd name="connsiteX135" fmla="*/ 11904 w 218720"/>
                <a:gd name="connsiteY135" fmla="*/ 194734 h 359632"/>
                <a:gd name="connsiteX136" fmla="*/ 13144 w 218720"/>
                <a:gd name="connsiteY136" fmla="*/ 194052 h 359632"/>
                <a:gd name="connsiteX137" fmla="*/ 14210 w 218720"/>
                <a:gd name="connsiteY137" fmla="*/ 192290 h 359632"/>
                <a:gd name="connsiteX138" fmla="*/ 15336 w 218720"/>
                <a:gd name="connsiteY138" fmla="*/ 190705 h 359632"/>
                <a:gd name="connsiteX139" fmla="*/ 15452 w 218720"/>
                <a:gd name="connsiteY139" fmla="*/ 189845 h 359632"/>
                <a:gd name="connsiteX140" fmla="*/ 16438 w 218720"/>
                <a:gd name="connsiteY140" fmla="*/ 186828 h 359632"/>
                <a:gd name="connsiteX141" fmla="*/ 16980 w 218720"/>
                <a:gd name="connsiteY141" fmla="*/ 186079 h 359632"/>
                <a:gd name="connsiteX142" fmla="*/ 20479 w 218720"/>
                <a:gd name="connsiteY142" fmla="*/ 184101 h 359632"/>
                <a:gd name="connsiteX143" fmla="*/ 21365 w 218720"/>
                <a:gd name="connsiteY143" fmla="*/ 185181 h 359632"/>
                <a:gd name="connsiteX144" fmla="*/ 23089 w 218720"/>
                <a:gd name="connsiteY144" fmla="*/ 185445 h 359632"/>
                <a:gd name="connsiteX145" fmla="*/ 24634 w 218720"/>
                <a:gd name="connsiteY145" fmla="*/ 184451 h 359632"/>
                <a:gd name="connsiteX146" fmla="*/ 26483 w 218720"/>
                <a:gd name="connsiteY146" fmla="*/ 181313 h 359632"/>
                <a:gd name="connsiteX147" fmla="*/ 27769 w 218720"/>
                <a:gd name="connsiteY147" fmla="*/ 181116 h 359632"/>
                <a:gd name="connsiteX148" fmla="*/ 29187 w 218720"/>
                <a:gd name="connsiteY148" fmla="*/ 181370 h 359632"/>
                <a:gd name="connsiteX149" fmla="*/ 31974 w 218720"/>
                <a:gd name="connsiteY149" fmla="*/ 180975 h 359632"/>
                <a:gd name="connsiteX150" fmla="*/ 36922 w 218720"/>
                <a:gd name="connsiteY150" fmla="*/ 179509 h 359632"/>
                <a:gd name="connsiteX151" fmla="*/ 63975 w 218720"/>
                <a:gd name="connsiteY151" fmla="*/ 164784 h 359632"/>
                <a:gd name="connsiteX152" fmla="*/ 65438 w 218720"/>
                <a:gd name="connsiteY152" fmla="*/ 165590 h 359632"/>
                <a:gd name="connsiteX153" fmla="*/ 65992 w 218720"/>
                <a:gd name="connsiteY153" fmla="*/ 166340 h 359632"/>
                <a:gd name="connsiteX154" fmla="*/ 67217 w 218720"/>
                <a:gd name="connsiteY154" fmla="*/ 169218 h 359632"/>
                <a:gd name="connsiteX155" fmla="*/ 67444 w 218720"/>
                <a:gd name="connsiteY155" fmla="*/ 171683 h 359632"/>
                <a:gd name="connsiteX156" fmla="*/ 67207 w 218720"/>
                <a:gd name="connsiteY156" fmla="*/ 173091 h 359632"/>
                <a:gd name="connsiteX157" fmla="*/ 64420 w 218720"/>
                <a:gd name="connsiteY157" fmla="*/ 173114 h 359632"/>
                <a:gd name="connsiteX158" fmla="*/ 63412 w 218720"/>
                <a:gd name="connsiteY158" fmla="*/ 172847 h 359632"/>
                <a:gd name="connsiteX159" fmla="*/ 62208 w 218720"/>
                <a:gd name="connsiteY159" fmla="*/ 172095 h 359632"/>
                <a:gd name="connsiteX160" fmla="*/ 60856 w 218720"/>
                <a:gd name="connsiteY160" fmla="*/ 167842 h 359632"/>
                <a:gd name="connsiteX161" fmla="*/ 61339 w 218720"/>
                <a:gd name="connsiteY161" fmla="*/ 166336 h 359632"/>
                <a:gd name="connsiteX162" fmla="*/ 61894 w 218720"/>
                <a:gd name="connsiteY162" fmla="*/ 165598 h 359632"/>
                <a:gd name="connsiteX163" fmla="*/ 62504 w 218720"/>
                <a:gd name="connsiteY163" fmla="*/ 165025 h 359632"/>
                <a:gd name="connsiteX164" fmla="*/ 44576 w 218720"/>
                <a:gd name="connsiteY164" fmla="*/ 158143 h 359632"/>
                <a:gd name="connsiteX165" fmla="*/ 45374 w 218720"/>
                <a:gd name="connsiteY165" fmla="*/ 162138 h 359632"/>
                <a:gd name="connsiteX166" fmla="*/ 46152 w 218720"/>
                <a:gd name="connsiteY166" fmla="*/ 164611 h 359632"/>
                <a:gd name="connsiteX167" fmla="*/ 46203 w 218720"/>
                <a:gd name="connsiteY167" fmla="*/ 165455 h 359632"/>
                <a:gd name="connsiteX168" fmla="*/ 45472 w 218720"/>
                <a:gd name="connsiteY168" fmla="*/ 166628 h 359632"/>
                <a:gd name="connsiteX169" fmla="*/ 41828 w 218720"/>
                <a:gd name="connsiteY169" fmla="*/ 168187 h 359632"/>
                <a:gd name="connsiteX170" fmla="*/ 40681 w 218720"/>
                <a:gd name="connsiteY170" fmla="*/ 168196 h 359632"/>
                <a:gd name="connsiteX171" fmla="*/ 40633 w 218720"/>
                <a:gd name="connsiteY171" fmla="*/ 167818 h 359632"/>
                <a:gd name="connsiteX172" fmla="*/ 41456 w 218720"/>
                <a:gd name="connsiteY172" fmla="*/ 166231 h 359632"/>
                <a:gd name="connsiteX173" fmla="*/ 40747 w 218720"/>
                <a:gd name="connsiteY173" fmla="*/ 164429 h 359632"/>
                <a:gd name="connsiteX174" fmla="*/ 41093 w 218720"/>
                <a:gd name="connsiteY174" fmla="*/ 163059 h 359632"/>
                <a:gd name="connsiteX175" fmla="*/ 40754 w 218720"/>
                <a:gd name="connsiteY175" fmla="*/ 162807 h 359632"/>
                <a:gd name="connsiteX176" fmla="*/ 40043 w 218720"/>
                <a:gd name="connsiteY176" fmla="*/ 163001 h 359632"/>
                <a:gd name="connsiteX177" fmla="*/ 37433 w 218720"/>
                <a:gd name="connsiteY177" fmla="*/ 165178 h 359632"/>
                <a:gd name="connsiteX178" fmla="*/ 36561 w 218720"/>
                <a:gd name="connsiteY178" fmla="*/ 165393 h 359632"/>
                <a:gd name="connsiteX179" fmla="*/ 36466 w 218720"/>
                <a:gd name="connsiteY179" fmla="*/ 164951 h 359632"/>
                <a:gd name="connsiteX180" fmla="*/ 37112 w 218720"/>
                <a:gd name="connsiteY180" fmla="*/ 163168 h 359632"/>
                <a:gd name="connsiteX181" fmla="*/ 37192 w 218720"/>
                <a:gd name="connsiteY181" fmla="*/ 161948 h 359632"/>
                <a:gd name="connsiteX182" fmla="*/ 37581 w 218720"/>
                <a:gd name="connsiteY182" fmla="*/ 161198 h 359632"/>
                <a:gd name="connsiteX183" fmla="*/ 38290 w 218720"/>
                <a:gd name="connsiteY183" fmla="*/ 160506 h 359632"/>
                <a:gd name="connsiteX184" fmla="*/ 39135 w 218720"/>
                <a:gd name="connsiteY184" fmla="*/ 159986 h 359632"/>
                <a:gd name="connsiteX185" fmla="*/ 39817 w 218720"/>
                <a:gd name="connsiteY185" fmla="*/ 159912 h 359632"/>
                <a:gd name="connsiteX186" fmla="*/ 40543 w 218720"/>
                <a:gd name="connsiteY186" fmla="*/ 160448 h 359632"/>
                <a:gd name="connsiteX187" fmla="*/ 42657 w 218720"/>
                <a:gd name="connsiteY187" fmla="*/ 158952 h 359632"/>
                <a:gd name="connsiteX188" fmla="*/ 52683 w 218720"/>
                <a:gd name="connsiteY188" fmla="*/ 152228 h 359632"/>
                <a:gd name="connsiteX189" fmla="*/ 53504 w 218720"/>
                <a:gd name="connsiteY189" fmla="*/ 152283 h 359632"/>
                <a:gd name="connsiteX190" fmla="*/ 51910 w 218720"/>
                <a:gd name="connsiteY190" fmla="*/ 155806 h 359632"/>
                <a:gd name="connsiteX191" fmla="*/ 48088 w 218720"/>
                <a:gd name="connsiteY191" fmla="*/ 161752 h 359632"/>
                <a:gd name="connsiteX192" fmla="*/ 47627 w 218720"/>
                <a:gd name="connsiteY192" fmla="*/ 162086 h 359632"/>
                <a:gd name="connsiteX193" fmla="*/ 46507 w 218720"/>
                <a:gd name="connsiteY193" fmla="*/ 161994 h 359632"/>
                <a:gd name="connsiteX194" fmla="*/ 46092 w 218720"/>
                <a:gd name="connsiteY194" fmla="*/ 161493 h 359632"/>
                <a:gd name="connsiteX195" fmla="*/ 45863 w 218720"/>
                <a:gd name="connsiteY195" fmla="*/ 160723 h 359632"/>
                <a:gd name="connsiteX196" fmla="*/ 45835 w 218720"/>
                <a:gd name="connsiteY196" fmla="*/ 159309 h 359632"/>
                <a:gd name="connsiteX197" fmla="*/ 46513 w 218720"/>
                <a:gd name="connsiteY197" fmla="*/ 158297 h 359632"/>
                <a:gd name="connsiteX198" fmla="*/ 49377 w 218720"/>
                <a:gd name="connsiteY198" fmla="*/ 156767 h 359632"/>
                <a:gd name="connsiteX199" fmla="*/ 48083 w 218720"/>
                <a:gd name="connsiteY199" fmla="*/ 156224 h 359632"/>
                <a:gd name="connsiteX200" fmla="*/ 48031 w 218720"/>
                <a:gd name="connsiteY200" fmla="*/ 155842 h 359632"/>
                <a:gd name="connsiteX201" fmla="*/ 48774 w 218720"/>
                <a:gd name="connsiteY201" fmla="*/ 154570 h 359632"/>
                <a:gd name="connsiteX202" fmla="*/ 51857 w 218720"/>
                <a:gd name="connsiteY202" fmla="*/ 152588 h 359632"/>
                <a:gd name="connsiteX203" fmla="*/ 44369 w 218720"/>
                <a:gd name="connsiteY203" fmla="*/ 135637 h 359632"/>
                <a:gd name="connsiteX204" fmla="*/ 45155 w 218720"/>
                <a:gd name="connsiteY204" fmla="*/ 135769 h 359632"/>
                <a:gd name="connsiteX205" fmla="*/ 46772 w 218720"/>
                <a:gd name="connsiteY205" fmla="*/ 136896 h 359632"/>
                <a:gd name="connsiteX206" fmla="*/ 48605 w 218720"/>
                <a:gd name="connsiteY206" fmla="*/ 139261 h 359632"/>
                <a:gd name="connsiteX207" fmla="*/ 51052 w 218720"/>
                <a:gd name="connsiteY207" fmla="*/ 139637 h 359632"/>
                <a:gd name="connsiteX208" fmla="*/ 52715 w 218720"/>
                <a:gd name="connsiteY208" fmla="*/ 140638 h 359632"/>
                <a:gd name="connsiteX209" fmla="*/ 52338 w 218720"/>
                <a:gd name="connsiteY209" fmla="*/ 145224 h 359632"/>
                <a:gd name="connsiteX210" fmla="*/ 43531 w 218720"/>
                <a:gd name="connsiteY210" fmla="*/ 146965 h 359632"/>
                <a:gd name="connsiteX211" fmla="*/ 40496 w 218720"/>
                <a:gd name="connsiteY211" fmla="*/ 146811 h 359632"/>
                <a:gd name="connsiteX212" fmla="*/ 40222 w 218720"/>
                <a:gd name="connsiteY212" fmla="*/ 145957 h 359632"/>
                <a:gd name="connsiteX213" fmla="*/ 40826 w 218720"/>
                <a:gd name="connsiteY213" fmla="*/ 145386 h 359632"/>
                <a:gd name="connsiteX214" fmla="*/ 43339 w 218720"/>
                <a:gd name="connsiteY214" fmla="*/ 144831 h 359632"/>
                <a:gd name="connsiteX215" fmla="*/ 44356 w 218720"/>
                <a:gd name="connsiteY215" fmla="*/ 140639 h 359632"/>
                <a:gd name="connsiteX216" fmla="*/ 40557 w 218720"/>
                <a:gd name="connsiteY216" fmla="*/ 138708 h 359632"/>
                <a:gd name="connsiteX217" fmla="*/ 40358 w 218720"/>
                <a:gd name="connsiteY217" fmla="*/ 138165 h 359632"/>
                <a:gd name="connsiteX218" fmla="*/ 40655 w 218720"/>
                <a:gd name="connsiteY218" fmla="*/ 137243 h 359632"/>
                <a:gd name="connsiteX219" fmla="*/ 41095 w 218720"/>
                <a:gd name="connsiteY219" fmla="*/ 136832 h 359632"/>
                <a:gd name="connsiteX220" fmla="*/ 43400 w 218720"/>
                <a:gd name="connsiteY220" fmla="*/ 135854 h 359632"/>
                <a:gd name="connsiteX221" fmla="*/ 36236 w 218720"/>
                <a:gd name="connsiteY221" fmla="*/ 134929 h 359632"/>
                <a:gd name="connsiteX222" fmla="*/ 36731 w 218720"/>
                <a:gd name="connsiteY222" fmla="*/ 135137 h 359632"/>
                <a:gd name="connsiteX223" fmla="*/ 35705 w 218720"/>
                <a:gd name="connsiteY223" fmla="*/ 136368 h 359632"/>
                <a:gd name="connsiteX224" fmla="*/ 33991 w 218720"/>
                <a:gd name="connsiteY224" fmla="*/ 137675 h 359632"/>
                <a:gd name="connsiteX225" fmla="*/ 32734 w 218720"/>
                <a:gd name="connsiteY225" fmla="*/ 137850 h 359632"/>
                <a:gd name="connsiteX226" fmla="*/ 32643 w 218720"/>
                <a:gd name="connsiteY226" fmla="*/ 137405 h 359632"/>
                <a:gd name="connsiteX227" fmla="*/ 34824 w 218720"/>
                <a:gd name="connsiteY227" fmla="*/ 135279 h 359632"/>
                <a:gd name="connsiteX228" fmla="*/ 15243 w 218720"/>
                <a:gd name="connsiteY228" fmla="*/ 124000 h 359632"/>
                <a:gd name="connsiteX229" fmla="*/ 16322 w 218720"/>
                <a:gd name="connsiteY229" fmla="*/ 124589 h 359632"/>
                <a:gd name="connsiteX230" fmla="*/ 16493 w 218720"/>
                <a:gd name="connsiteY230" fmla="*/ 125125 h 359632"/>
                <a:gd name="connsiteX231" fmla="*/ 16096 w 218720"/>
                <a:gd name="connsiteY231" fmla="*/ 125691 h 359632"/>
                <a:gd name="connsiteX232" fmla="*/ 14152 w 218720"/>
                <a:gd name="connsiteY232" fmla="*/ 126126 h 359632"/>
                <a:gd name="connsiteX233" fmla="*/ 13431 w 218720"/>
                <a:gd name="connsiteY233" fmla="*/ 125871 h 359632"/>
                <a:gd name="connsiteX234" fmla="*/ 13308 w 218720"/>
                <a:gd name="connsiteY234" fmla="*/ 125472 h 359632"/>
                <a:gd name="connsiteX235" fmla="*/ 13751 w 218720"/>
                <a:gd name="connsiteY235" fmla="*/ 124384 h 359632"/>
                <a:gd name="connsiteX236" fmla="*/ 40298 w 218720"/>
                <a:gd name="connsiteY236" fmla="*/ 123001 h 359632"/>
                <a:gd name="connsiteX237" fmla="*/ 41274 w 218720"/>
                <a:gd name="connsiteY237" fmla="*/ 123606 h 359632"/>
                <a:gd name="connsiteX238" fmla="*/ 41649 w 218720"/>
                <a:gd name="connsiteY238" fmla="*/ 124298 h 359632"/>
                <a:gd name="connsiteX239" fmla="*/ 41665 w 218720"/>
                <a:gd name="connsiteY239" fmla="*/ 125065 h 359632"/>
                <a:gd name="connsiteX240" fmla="*/ 41256 w 218720"/>
                <a:gd name="connsiteY240" fmla="*/ 125714 h 359632"/>
                <a:gd name="connsiteX241" fmla="*/ 40600 w 218720"/>
                <a:gd name="connsiteY241" fmla="*/ 126121 h 359632"/>
                <a:gd name="connsiteX242" fmla="*/ 39770 w 218720"/>
                <a:gd name="connsiteY242" fmla="*/ 126043 h 359632"/>
                <a:gd name="connsiteX243" fmla="*/ 38948 w 218720"/>
                <a:gd name="connsiteY243" fmla="*/ 125518 h 359632"/>
                <a:gd name="connsiteX244" fmla="*/ 37860 w 218720"/>
                <a:gd name="connsiteY244" fmla="*/ 124032 h 359632"/>
                <a:gd name="connsiteX245" fmla="*/ 18761 w 218720"/>
                <a:gd name="connsiteY245" fmla="*/ 112439 h 359632"/>
                <a:gd name="connsiteX246" fmla="*/ 19407 w 218720"/>
                <a:gd name="connsiteY246" fmla="*/ 112818 h 359632"/>
                <a:gd name="connsiteX247" fmla="*/ 19840 w 218720"/>
                <a:gd name="connsiteY247" fmla="*/ 120602 h 359632"/>
                <a:gd name="connsiteX248" fmla="*/ 19790 w 218720"/>
                <a:gd name="connsiteY248" fmla="*/ 120951 h 359632"/>
                <a:gd name="connsiteX249" fmla="*/ 18857 w 218720"/>
                <a:gd name="connsiteY249" fmla="*/ 121127 h 359632"/>
                <a:gd name="connsiteX250" fmla="*/ 17632 w 218720"/>
                <a:gd name="connsiteY250" fmla="*/ 120957 h 359632"/>
                <a:gd name="connsiteX251" fmla="*/ 16879 w 218720"/>
                <a:gd name="connsiteY251" fmla="*/ 120465 h 359632"/>
                <a:gd name="connsiteX252" fmla="*/ 16117 w 218720"/>
                <a:gd name="connsiteY252" fmla="*/ 118518 h 359632"/>
                <a:gd name="connsiteX253" fmla="*/ 15975 w 218720"/>
                <a:gd name="connsiteY253" fmla="*/ 117339 h 359632"/>
                <a:gd name="connsiteX254" fmla="*/ 16314 w 218720"/>
                <a:gd name="connsiteY254" fmla="*/ 115145 h 359632"/>
                <a:gd name="connsiteX255" fmla="*/ 16236 w 218720"/>
                <a:gd name="connsiteY255" fmla="*/ 112521 h 359632"/>
                <a:gd name="connsiteX256" fmla="*/ 40661 w 218720"/>
                <a:gd name="connsiteY256" fmla="*/ 103259 h 359632"/>
                <a:gd name="connsiteX257" fmla="*/ 41966 w 218720"/>
                <a:gd name="connsiteY257" fmla="*/ 103921 h 359632"/>
                <a:gd name="connsiteX258" fmla="*/ 43754 w 218720"/>
                <a:gd name="connsiteY258" fmla="*/ 106023 h 359632"/>
                <a:gd name="connsiteX259" fmla="*/ 44226 w 218720"/>
                <a:gd name="connsiteY259" fmla="*/ 108582 h 359632"/>
                <a:gd name="connsiteX260" fmla="*/ 44195 w 218720"/>
                <a:gd name="connsiteY260" fmla="*/ 109988 h 359632"/>
                <a:gd name="connsiteX261" fmla="*/ 43805 w 218720"/>
                <a:gd name="connsiteY261" fmla="*/ 111640 h 359632"/>
                <a:gd name="connsiteX262" fmla="*/ 44313 w 218720"/>
                <a:gd name="connsiteY262" fmla="*/ 113393 h 359632"/>
                <a:gd name="connsiteX263" fmla="*/ 44429 w 218720"/>
                <a:gd name="connsiteY263" fmla="*/ 114645 h 359632"/>
                <a:gd name="connsiteX264" fmla="*/ 45361 w 218720"/>
                <a:gd name="connsiteY264" fmla="*/ 115043 h 359632"/>
                <a:gd name="connsiteX265" fmla="*/ 45931 w 218720"/>
                <a:gd name="connsiteY265" fmla="*/ 115619 h 359632"/>
                <a:gd name="connsiteX266" fmla="*/ 50074 w 218720"/>
                <a:gd name="connsiteY266" fmla="*/ 116264 h 359632"/>
                <a:gd name="connsiteX267" fmla="*/ 53927 w 218720"/>
                <a:gd name="connsiteY267" fmla="*/ 116083 h 359632"/>
                <a:gd name="connsiteX268" fmla="*/ 54669 w 218720"/>
                <a:gd name="connsiteY268" fmla="*/ 116598 h 359632"/>
                <a:gd name="connsiteX269" fmla="*/ 54753 w 218720"/>
                <a:gd name="connsiteY269" fmla="*/ 117416 h 359632"/>
                <a:gd name="connsiteX270" fmla="*/ 54144 w 218720"/>
                <a:gd name="connsiteY270" fmla="*/ 118318 h 359632"/>
                <a:gd name="connsiteX271" fmla="*/ 51950 w 218720"/>
                <a:gd name="connsiteY271" fmla="*/ 119963 h 359632"/>
                <a:gd name="connsiteX272" fmla="*/ 49333 w 218720"/>
                <a:gd name="connsiteY272" fmla="*/ 122618 h 359632"/>
                <a:gd name="connsiteX273" fmla="*/ 48553 w 218720"/>
                <a:gd name="connsiteY273" fmla="*/ 123171 h 359632"/>
                <a:gd name="connsiteX274" fmla="*/ 47707 w 218720"/>
                <a:gd name="connsiteY274" fmla="*/ 123194 h 359632"/>
                <a:gd name="connsiteX275" fmla="*/ 47100 w 218720"/>
                <a:gd name="connsiteY275" fmla="*/ 122956 h 359632"/>
                <a:gd name="connsiteX276" fmla="*/ 46666 w 218720"/>
                <a:gd name="connsiteY276" fmla="*/ 118230 h 359632"/>
                <a:gd name="connsiteX277" fmla="*/ 43828 w 218720"/>
                <a:gd name="connsiteY277" fmla="*/ 118835 h 359632"/>
                <a:gd name="connsiteX278" fmla="*/ 41542 w 218720"/>
                <a:gd name="connsiteY278" fmla="*/ 118766 h 359632"/>
                <a:gd name="connsiteX279" fmla="*/ 40291 w 218720"/>
                <a:gd name="connsiteY279" fmla="*/ 118190 h 359632"/>
                <a:gd name="connsiteX280" fmla="*/ 39413 w 218720"/>
                <a:gd name="connsiteY280" fmla="*/ 117080 h 359632"/>
                <a:gd name="connsiteX281" fmla="*/ 37643 w 218720"/>
                <a:gd name="connsiteY281" fmla="*/ 114224 h 359632"/>
                <a:gd name="connsiteX282" fmla="*/ 32491 w 218720"/>
                <a:gd name="connsiteY282" fmla="*/ 113100 h 359632"/>
                <a:gd name="connsiteX283" fmla="*/ 31034 w 218720"/>
                <a:gd name="connsiteY283" fmla="*/ 111525 h 359632"/>
                <a:gd name="connsiteX284" fmla="*/ 30596 w 218720"/>
                <a:gd name="connsiteY284" fmla="*/ 110573 h 359632"/>
                <a:gd name="connsiteX285" fmla="*/ 30782 w 218720"/>
                <a:gd name="connsiteY285" fmla="*/ 110047 h 359632"/>
                <a:gd name="connsiteX286" fmla="*/ 31855 w 218720"/>
                <a:gd name="connsiteY286" fmla="*/ 108875 h 359632"/>
                <a:gd name="connsiteX287" fmla="*/ 33198 w 218720"/>
                <a:gd name="connsiteY287" fmla="*/ 109293 h 359632"/>
                <a:gd name="connsiteX288" fmla="*/ 34029 w 218720"/>
                <a:gd name="connsiteY288" fmla="*/ 109037 h 359632"/>
                <a:gd name="connsiteX289" fmla="*/ 34535 w 218720"/>
                <a:gd name="connsiteY289" fmla="*/ 108513 h 359632"/>
                <a:gd name="connsiteX290" fmla="*/ 34524 w 218720"/>
                <a:gd name="connsiteY290" fmla="*/ 108083 h 359632"/>
                <a:gd name="connsiteX291" fmla="*/ 33821 w 218720"/>
                <a:gd name="connsiteY291" fmla="*/ 107061 h 359632"/>
                <a:gd name="connsiteX292" fmla="*/ 33788 w 218720"/>
                <a:gd name="connsiteY292" fmla="*/ 106743 h 359632"/>
                <a:gd name="connsiteX293" fmla="*/ 39057 w 218720"/>
                <a:gd name="connsiteY293" fmla="*/ 105449 h 359632"/>
                <a:gd name="connsiteX294" fmla="*/ 39517 w 218720"/>
                <a:gd name="connsiteY294" fmla="*/ 103424 h 359632"/>
                <a:gd name="connsiteX295" fmla="*/ 20769 w 218720"/>
                <a:gd name="connsiteY295" fmla="*/ 102908 h 359632"/>
                <a:gd name="connsiteX296" fmla="*/ 23263 w 218720"/>
                <a:gd name="connsiteY296" fmla="*/ 104705 h 359632"/>
                <a:gd name="connsiteX297" fmla="*/ 21276 w 218720"/>
                <a:gd name="connsiteY297" fmla="*/ 107680 h 359632"/>
                <a:gd name="connsiteX298" fmla="*/ 18226 w 218720"/>
                <a:gd name="connsiteY298" fmla="*/ 107666 h 359632"/>
                <a:gd name="connsiteX299" fmla="*/ 13932 w 218720"/>
                <a:gd name="connsiteY299" fmla="*/ 105492 h 359632"/>
                <a:gd name="connsiteX300" fmla="*/ 13913 w 218720"/>
                <a:gd name="connsiteY300" fmla="*/ 105049 h 359632"/>
                <a:gd name="connsiteX301" fmla="*/ 14271 w 218720"/>
                <a:gd name="connsiteY301" fmla="*/ 104396 h 359632"/>
                <a:gd name="connsiteX302" fmla="*/ 14915 w 218720"/>
                <a:gd name="connsiteY302" fmla="*/ 103879 h 359632"/>
                <a:gd name="connsiteX303" fmla="*/ 15584 w 218720"/>
                <a:gd name="connsiteY303" fmla="*/ 103756 h 359632"/>
                <a:gd name="connsiteX304" fmla="*/ 16649 w 218720"/>
                <a:gd name="connsiteY304" fmla="*/ 104113 h 359632"/>
                <a:gd name="connsiteX305" fmla="*/ 18131 w 218720"/>
                <a:gd name="connsiteY305" fmla="*/ 103541 h 359632"/>
                <a:gd name="connsiteX306" fmla="*/ 19318 w 218720"/>
                <a:gd name="connsiteY306" fmla="*/ 103722 h 359632"/>
                <a:gd name="connsiteX307" fmla="*/ 42176 w 218720"/>
                <a:gd name="connsiteY307" fmla="*/ 76583 h 359632"/>
                <a:gd name="connsiteX308" fmla="*/ 42574 w 218720"/>
                <a:gd name="connsiteY308" fmla="*/ 77039 h 359632"/>
                <a:gd name="connsiteX309" fmla="*/ 43131 w 218720"/>
                <a:gd name="connsiteY309" fmla="*/ 78770 h 359632"/>
                <a:gd name="connsiteX310" fmla="*/ 43033 w 218720"/>
                <a:gd name="connsiteY310" fmla="*/ 81087 h 359632"/>
                <a:gd name="connsiteX311" fmla="*/ 40222 w 218720"/>
                <a:gd name="connsiteY311" fmla="*/ 86702 h 359632"/>
                <a:gd name="connsiteX312" fmla="*/ 39121 w 218720"/>
                <a:gd name="connsiteY312" fmla="*/ 86840 h 359632"/>
                <a:gd name="connsiteX313" fmla="*/ 38155 w 218720"/>
                <a:gd name="connsiteY313" fmla="*/ 88241 h 359632"/>
                <a:gd name="connsiteX314" fmla="*/ 35163 w 218720"/>
                <a:gd name="connsiteY314" fmla="*/ 89786 h 359632"/>
                <a:gd name="connsiteX315" fmla="*/ 37774 w 218720"/>
                <a:gd name="connsiteY315" fmla="*/ 89818 h 359632"/>
                <a:gd name="connsiteX316" fmla="*/ 38507 w 218720"/>
                <a:gd name="connsiteY316" fmla="*/ 90332 h 359632"/>
                <a:gd name="connsiteX317" fmla="*/ 38528 w 218720"/>
                <a:gd name="connsiteY317" fmla="*/ 91440 h 359632"/>
                <a:gd name="connsiteX318" fmla="*/ 38025 w 218720"/>
                <a:gd name="connsiteY318" fmla="*/ 92084 h 359632"/>
                <a:gd name="connsiteX319" fmla="*/ 34643 w 218720"/>
                <a:gd name="connsiteY319" fmla="*/ 94646 h 359632"/>
                <a:gd name="connsiteX320" fmla="*/ 32317 w 218720"/>
                <a:gd name="connsiteY320" fmla="*/ 95617 h 359632"/>
                <a:gd name="connsiteX321" fmla="*/ 29812 w 218720"/>
                <a:gd name="connsiteY321" fmla="*/ 98289 h 359632"/>
                <a:gd name="connsiteX322" fmla="*/ 28548 w 218720"/>
                <a:gd name="connsiteY322" fmla="*/ 98322 h 359632"/>
                <a:gd name="connsiteX323" fmla="*/ 27296 w 218720"/>
                <a:gd name="connsiteY323" fmla="*/ 100020 h 359632"/>
                <a:gd name="connsiteX324" fmla="*/ 26266 w 218720"/>
                <a:gd name="connsiteY324" fmla="*/ 100766 h 359632"/>
                <a:gd name="connsiteX325" fmla="*/ 25688 w 218720"/>
                <a:gd name="connsiteY325" fmla="*/ 100768 h 359632"/>
                <a:gd name="connsiteX326" fmla="*/ 25023 w 218720"/>
                <a:gd name="connsiteY326" fmla="*/ 100392 h 359632"/>
                <a:gd name="connsiteX327" fmla="*/ 23469 w 218720"/>
                <a:gd name="connsiteY327" fmla="*/ 98730 h 359632"/>
                <a:gd name="connsiteX328" fmla="*/ 26288 w 218720"/>
                <a:gd name="connsiteY328" fmla="*/ 97094 h 359632"/>
                <a:gd name="connsiteX329" fmla="*/ 26549 w 218720"/>
                <a:gd name="connsiteY329" fmla="*/ 96174 h 359632"/>
                <a:gd name="connsiteX330" fmla="*/ 28480 w 218720"/>
                <a:gd name="connsiteY330" fmla="*/ 95217 h 359632"/>
                <a:gd name="connsiteX331" fmla="*/ 28318 w 218720"/>
                <a:gd name="connsiteY331" fmla="*/ 94918 h 359632"/>
                <a:gd name="connsiteX332" fmla="*/ 25258 w 218720"/>
                <a:gd name="connsiteY332" fmla="*/ 93571 h 359632"/>
                <a:gd name="connsiteX333" fmla="*/ 24052 w 218720"/>
                <a:gd name="connsiteY333" fmla="*/ 92664 h 359632"/>
                <a:gd name="connsiteX334" fmla="*/ 24166 w 218720"/>
                <a:gd name="connsiteY334" fmla="*/ 92190 h 359632"/>
                <a:gd name="connsiteX335" fmla="*/ 25639 w 218720"/>
                <a:gd name="connsiteY335" fmla="*/ 91147 h 359632"/>
                <a:gd name="connsiteX336" fmla="*/ 24941 w 218720"/>
                <a:gd name="connsiteY336" fmla="*/ 91009 h 359632"/>
                <a:gd name="connsiteX337" fmla="*/ 24469 w 218720"/>
                <a:gd name="connsiteY337" fmla="*/ 90446 h 359632"/>
                <a:gd name="connsiteX338" fmla="*/ 23614 w 218720"/>
                <a:gd name="connsiteY338" fmla="*/ 90232 h 359632"/>
                <a:gd name="connsiteX339" fmla="*/ 23358 w 218720"/>
                <a:gd name="connsiteY339" fmla="*/ 89707 h 359632"/>
                <a:gd name="connsiteX340" fmla="*/ 23200 w 218720"/>
                <a:gd name="connsiteY340" fmla="*/ 88328 h 359632"/>
                <a:gd name="connsiteX341" fmla="*/ 23429 w 218720"/>
                <a:gd name="connsiteY341" fmla="*/ 86917 h 359632"/>
                <a:gd name="connsiteX342" fmla="*/ 24321 w 218720"/>
                <a:gd name="connsiteY342" fmla="*/ 86294 h 359632"/>
                <a:gd name="connsiteX343" fmla="*/ 24686 w 218720"/>
                <a:gd name="connsiteY343" fmla="*/ 85626 h 359632"/>
                <a:gd name="connsiteX344" fmla="*/ 25047 w 218720"/>
                <a:gd name="connsiteY344" fmla="*/ 85421 h 359632"/>
                <a:gd name="connsiteX345" fmla="*/ 26429 w 218720"/>
                <a:gd name="connsiteY345" fmla="*/ 85776 h 359632"/>
                <a:gd name="connsiteX346" fmla="*/ 27830 w 218720"/>
                <a:gd name="connsiteY346" fmla="*/ 86905 h 359632"/>
                <a:gd name="connsiteX347" fmla="*/ 29465 w 218720"/>
                <a:gd name="connsiteY347" fmla="*/ 86470 h 359632"/>
                <a:gd name="connsiteX348" fmla="*/ 31363 w 218720"/>
                <a:gd name="connsiteY348" fmla="*/ 86685 h 359632"/>
                <a:gd name="connsiteX349" fmla="*/ 31402 w 218720"/>
                <a:gd name="connsiteY349" fmla="*/ 86423 h 359632"/>
                <a:gd name="connsiteX350" fmla="*/ 30008 w 218720"/>
                <a:gd name="connsiteY350" fmla="*/ 83645 h 359632"/>
                <a:gd name="connsiteX351" fmla="*/ 30257 w 218720"/>
                <a:gd name="connsiteY351" fmla="*/ 83077 h 359632"/>
                <a:gd name="connsiteX352" fmla="*/ 31013 w 218720"/>
                <a:gd name="connsiteY352" fmla="*/ 82429 h 359632"/>
                <a:gd name="connsiteX353" fmla="*/ 35393 w 218720"/>
                <a:gd name="connsiteY353" fmla="*/ 80446 h 359632"/>
                <a:gd name="connsiteX354" fmla="*/ 40855 w 218720"/>
                <a:gd name="connsiteY354" fmla="*/ 77107 h 359632"/>
                <a:gd name="connsiteX355" fmla="*/ 108033 w 218720"/>
                <a:gd name="connsiteY355" fmla="*/ 71824 h 359632"/>
                <a:gd name="connsiteX356" fmla="*/ 112589 w 218720"/>
                <a:gd name="connsiteY356" fmla="*/ 72316 h 359632"/>
                <a:gd name="connsiteX357" fmla="*/ 112741 w 218720"/>
                <a:gd name="connsiteY357" fmla="*/ 72940 h 359632"/>
                <a:gd name="connsiteX358" fmla="*/ 112503 w 218720"/>
                <a:gd name="connsiteY358" fmla="*/ 73806 h 359632"/>
                <a:gd name="connsiteX359" fmla="*/ 111337 w 218720"/>
                <a:gd name="connsiteY359" fmla="*/ 76175 h 359632"/>
                <a:gd name="connsiteX360" fmla="*/ 111527 w 218720"/>
                <a:gd name="connsiteY360" fmla="*/ 78816 h 359632"/>
                <a:gd name="connsiteX361" fmla="*/ 111267 w 218720"/>
                <a:gd name="connsiteY361" fmla="*/ 79616 h 359632"/>
                <a:gd name="connsiteX362" fmla="*/ 110738 w 218720"/>
                <a:gd name="connsiteY362" fmla="*/ 80602 h 359632"/>
                <a:gd name="connsiteX363" fmla="*/ 109067 w 218720"/>
                <a:gd name="connsiteY363" fmla="*/ 82442 h 359632"/>
                <a:gd name="connsiteX364" fmla="*/ 104675 w 218720"/>
                <a:gd name="connsiteY364" fmla="*/ 85069 h 359632"/>
                <a:gd name="connsiteX365" fmla="*/ 96626 w 218720"/>
                <a:gd name="connsiteY365" fmla="*/ 91095 h 359632"/>
                <a:gd name="connsiteX366" fmla="*/ 91871 w 218720"/>
                <a:gd name="connsiteY366" fmla="*/ 94080 h 359632"/>
                <a:gd name="connsiteX367" fmla="*/ 91217 w 218720"/>
                <a:gd name="connsiteY367" fmla="*/ 95514 h 359632"/>
                <a:gd name="connsiteX368" fmla="*/ 90864 w 218720"/>
                <a:gd name="connsiteY368" fmla="*/ 97507 h 359632"/>
                <a:gd name="connsiteX369" fmla="*/ 93711 w 218720"/>
                <a:gd name="connsiteY369" fmla="*/ 97902 h 359632"/>
                <a:gd name="connsiteX370" fmla="*/ 94810 w 218720"/>
                <a:gd name="connsiteY370" fmla="*/ 98577 h 359632"/>
                <a:gd name="connsiteX371" fmla="*/ 94128 w 218720"/>
                <a:gd name="connsiteY371" fmla="*/ 99588 h 359632"/>
                <a:gd name="connsiteX372" fmla="*/ 89917 w 218720"/>
                <a:gd name="connsiteY372" fmla="*/ 103097 h 359632"/>
                <a:gd name="connsiteX373" fmla="*/ 88676 w 218720"/>
                <a:gd name="connsiteY373" fmla="*/ 106264 h 359632"/>
                <a:gd name="connsiteX374" fmla="*/ 91905 w 218720"/>
                <a:gd name="connsiteY374" fmla="*/ 106152 h 359632"/>
                <a:gd name="connsiteX375" fmla="*/ 94566 w 218720"/>
                <a:gd name="connsiteY375" fmla="*/ 105544 h 359632"/>
                <a:gd name="connsiteX376" fmla="*/ 99872 w 218720"/>
                <a:gd name="connsiteY376" fmla="*/ 103569 h 359632"/>
                <a:gd name="connsiteX377" fmla="*/ 104856 w 218720"/>
                <a:gd name="connsiteY377" fmla="*/ 102101 h 359632"/>
                <a:gd name="connsiteX378" fmla="*/ 107250 w 218720"/>
                <a:gd name="connsiteY378" fmla="*/ 102040 h 359632"/>
                <a:gd name="connsiteX379" fmla="*/ 111907 w 218720"/>
                <a:gd name="connsiteY379" fmla="*/ 103211 h 359632"/>
                <a:gd name="connsiteX380" fmla="*/ 112966 w 218720"/>
                <a:gd name="connsiteY380" fmla="*/ 103248 h 359632"/>
                <a:gd name="connsiteX381" fmla="*/ 114942 w 218720"/>
                <a:gd name="connsiteY381" fmla="*/ 102707 h 359632"/>
                <a:gd name="connsiteX382" fmla="*/ 116940 w 218720"/>
                <a:gd name="connsiteY382" fmla="*/ 102611 h 359632"/>
                <a:gd name="connsiteX383" fmla="*/ 130476 w 218720"/>
                <a:gd name="connsiteY383" fmla="*/ 102975 h 359632"/>
                <a:gd name="connsiteX384" fmla="*/ 134237 w 218720"/>
                <a:gd name="connsiteY384" fmla="*/ 102288 h 359632"/>
                <a:gd name="connsiteX385" fmla="*/ 136725 w 218720"/>
                <a:gd name="connsiteY385" fmla="*/ 103110 h 359632"/>
                <a:gd name="connsiteX386" fmla="*/ 138807 w 218720"/>
                <a:gd name="connsiteY386" fmla="*/ 105161 h 359632"/>
                <a:gd name="connsiteX387" fmla="*/ 140785 w 218720"/>
                <a:gd name="connsiteY387" fmla="*/ 108939 h 359632"/>
                <a:gd name="connsiteX388" fmla="*/ 140725 w 218720"/>
                <a:gd name="connsiteY388" fmla="*/ 109567 h 359632"/>
                <a:gd name="connsiteX389" fmla="*/ 139530 w 218720"/>
                <a:gd name="connsiteY389" fmla="*/ 111286 h 359632"/>
                <a:gd name="connsiteX390" fmla="*/ 137324 w 218720"/>
                <a:gd name="connsiteY390" fmla="*/ 113440 h 359632"/>
                <a:gd name="connsiteX391" fmla="*/ 135426 w 218720"/>
                <a:gd name="connsiteY391" fmla="*/ 116402 h 359632"/>
                <a:gd name="connsiteX392" fmla="*/ 134869 w 218720"/>
                <a:gd name="connsiteY392" fmla="*/ 117998 h 359632"/>
                <a:gd name="connsiteX393" fmla="*/ 134496 w 218720"/>
                <a:gd name="connsiteY393" fmla="*/ 119743 h 359632"/>
                <a:gd name="connsiteX394" fmla="*/ 133895 w 218720"/>
                <a:gd name="connsiteY394" fmla="*/ 121356 h 359632"/>
                <a:gd name="connsiteX395" fmla="*/ 130120 w 218720"/>
                <a:gd name="connsiteY395" fmla="*/ 128914 h 359632"/>
                <a:gd name="connsiteX396" fmla="*/ 126440 w 218720"/>
                <a:gd name="connsiteY396" fmla="*/ 133093 h 359632"/>
                <a:gd name="connsiteX397" fmla="*/ 124797 w 218720"/>
                <a:gd name="connsiteY397" fmla="*/ 136055 h 359632"/>
                <a:gd name="connsiteX398" fmla="*/ 122769 w 218720"/>
                <a:gd name="connsiteY398" fmla="*/ 138412 h 359632"/>
                <a:gd name="connsiteX399" fmla="*/ 120818 w 218720"/>
                <a:gd name="connsiteY399" fmla="*/ 139893 h 359632"/>
                <a:gd name="connsiteX400" fmla="*/ 118734 w 218720"/>
                <a:gd name="connsiteY400" fmla="*/ 140879 h 359632"/>
                <a:gd name="connsiteX401" fmla="*/ 112714 w 218720"/>
                <a:gd name="connsiteY401" fmla="*/ 141933 h 359632"/>
                <a:gd name="connsiteX402" fmla="*/ 111030 w 218720"/>
                <a:gd name="connsiteY402" fmla="*/ 142688 h 359632"/>
                <a:gd name="connsiteX403" fmla="*/ 109021 w 218720"/>
                <a:gd name="connsiteY403" fmla="*/ 143984 h 359632"/>
                <a:gd name="connsiteX404" fmla="*/ 106909 w 218720"/>
                <a:gd name="connsiteY404" fmla="*/ 144625 h 359632"/>
                <a:gd name="connsiteX405" fmla="*/ 109385 w 218720"/>
                <a:gd name="connsiteY405" fmla="*/ 144544 h 359632"/>
                <a:gd name="connsiteX406" fmla="*/ 111839 w 218720"/>
                <a:gd name="connsiteY406" fmla="*/ 143823 h 359632"/>
                <a:gd name="connsiteX407" fmla="*/ 116302 w 218720"/>
                <a:gd name="connsiteY407" fmla="*/ 143559 h 359632"/>
                <a:gd name="connsiteX408" fmla="*/ 121442 w 218720"/>
                <a:gd name="connsiteY408" fmla="*/ 146041 h 359632"/>
                <a:gd name="connsiteX409" fmla="*/ 120965 w 218720"/>
                <a:gd name="connsiteY409" fmla="*/ 148069 h 359632"/>
                <a:gd name="connsiteX410" fmla="*/ 118902 w 218720"/>
                <a:gd name="connsiteY410" fmla="*/ 149672 h 359632"/>
                <a:gd name="connsiteX411" fmla="*/ 114210 w 218720"/>
                <a:gd name="connsiteY411" fmla="*/ 149924 h 359632"/>
                <a:gd name="connsiteX412" fmla="*/ 109822 w 218720"/>
                <a:gd name="connsiteY412" fmla="*/ 153482 h 359632"/>
                <a:gd name="connsiteX413" fmla="*/ 107842 w 218720"/>
                <a:gd name="connsiteY413" fmla="*/ 154576 h 359632"/>
                <a:gd name="connsiteX414" fmla="*/ 105753 w 218720"/>
                <a:gd name="connsiteY414" fmla="*/ 155119 h 359632"/>
                <a:gd name="connsiteX415" fmla="*/ 103140 w 218720"/>
                <a:gd name="connsiteY415" fmla="*/ 154958 h 359632"/>
                <a:gd name="connsiteX416" fmla="*/ 98392 w 218720"/>
                <a:gd name="connsiteY416" fmla="*/ 154006 h 359632"/>
                <a:gd name="connsiteX417" fmla="*/ 96315 w 218720"/>
                <a:gd name="connsiteY417" fmla="*/ 153011 h 359632"/>
                <a:gd name="connsiteX418" fmla="*/ 98193 w 218720"/>
                <a:gd name="connsiteY418" fmla="*/ 154635 h 359632"/>
                <a:gd name="connsiteX419" fmla="*/ 100323 w 218720"/>
                <a:gd name="connsiteY419" fmla="*/ 155481 h 359632"/>
                <a:gd name="connsiteX420" fmla="*/ 112685 w 218720"/>
                <a:gd name="connsiteY420" fmla="*/ 157477 h 359632"/>
                <a:gd name="connsiteX421" fmla="*/ 113429 w 218720"/>
                <a:gd name="connsiteY421" fmla="*/ 157270 h 359632"/>
                <a:gd name="connsiteX422" fmla="*/ 117370 w 218720"/>
                <a:gd name="connsiteY422" fmla="*/ 155162 h 359632"/>
                <a:gd name="connsiteX423" fmla="*/ 122622 w 218720"/>
                <a:gd name="connsiteY423" fmla="*/ 155130 h 359632"/>
                <a:gd name="connsiteX424" fmla="*/ 132623 w 218720"/>
                <a:gd name="connsiteY424" fmla="*/ 159002 h 359632"/>
                <a:gd name="connsiteX425" fmla="*/ 135502 w 218720"/>
                <a:gd name="connsiteY425" fmla="*/ 161957 h 359632"/>
                <a:gd name="connsiteX426" fmla="*/ 139628 w 218720"/>
                <a:gd name="connsiteY426" fmla="*/ 166187 h 359632"/>
                <a:gd name="connsiteX427" fmla="*/ 141872 w 218720"/>
                <a:gd name="connsiteY427" fmla="*/ 167836 h 359632"/>
                <a:gd name="connsiteX428" fmla="*/ 143495 w 218720"/>
                <a:gd name="connsiteY428" fmla="*/ 169330 h 359632"/>
                <a:gd name="connsiteX429" fmla="*/ 144495 w 218720"/>
                <a:gd name="connsiteY429" fmla="*/ 171567 h 359632"/>
                <a:gd name="connsiteX430" fmla="*/ 146432 w 218720"/>
                <a:gd name="connsiteY430" fmla="*/ 178938 h 359632"/>
                <a:gd name="connsiteX431" fmla="*/ 148641 w 218720"/>
                <a:gd name="connsiteY431" fmla="*/ 186118 h 359632"/>
                <a:gd name="connsiteX432" fmla="*/ 151536 w 218720"/>
                <a:gd name="connsiteY432" fmla="*/ 193871 h 359632"/>
                <a:gd name="connsiteX433" fmla="*/ 152847 w 218720"/>
                <a:gd name="connsiteY433" fmla="*/ 196020 h 359632"/>
                <a:gd name="connsiteX434" fmla="*/ 154573 w 218720"/>
                <a:gd name="connsiteY434" fmla="*/ 197526 h 359632"/>
                <a:gd name="connsiteX435" fmla="*/ 163309 w 218720"/>
                <a:gd name="connsiteY435" fmla="*/ 200984 h 359632"/>
                <a:gd name="connsiteX436" fmla="*/ 165253 w 218720"/>
                <a:gd name="connsiteY436" fmla="*/ 202129 h 359632"/>
                <a:gd name="connsiteX437" fmla="*/ 168643 w 218720"/>
                <a:gd name="connsiteY437" fmla="*/ 205449 h 359632"/>
                <a:gd name="connsiteX438" fmla="*/ 171909 w 218720"/>
                <a:gd name="connsiteY438" fmla="*/ 208981 h 359632"/>
                <a:gd name="connsiteX439" fmla="*/ 174950 w 218720"/>
                <a:gd name="connsiteY439" fmla="*/ 211690 h 359632"/>
                <a:gd name="connsiteX440" fmla="*/ 178233 w 218720"/>
                <a:gd name="connsiteY440" fmla="*/ 213881 h 359632"/>
                <a:gd name="connsiteX441" fmla="*/ 176643 w 218720"/>
                <a:gd name="connsiteY441" fmla="*/ 215018 h 359632"/>
                <a:gd name="connsiteX442" fmla="*/ 175553 w 218720"/>
                <a:gd name="connsiteY442" fmla="*/ 216806 h 359632"/>
                <a:gd name="connsiteX443" fmla="*/ 176368 w 218720"/>
                <a:gd name="connsiteY443" fmla="*/ 219234 h 359632"/>
                <a:gd name="connsiteX444" fmla="*/ 177705 w 218720"/>
                <a:gd name="connsiteY444" fmla="*/ 221551 h 359632"/>
                <a:gd name="connsiteX445" fmla="*/ 180332 w 218720"/>
                <a:gd name="connsiteY445" fmla="*/ 225253 h 359632"/>
                <a:gd name="connsiteX446" fmla="*/ 182649 w 218720"/>
                <a:gd name="connsiteY446" fmla="*/ 229287 h 359632"/>
                <a:gd name="connsiteX447" fmla="*/ 181795 w 218720"/>
                <a:gd name="connsiteY447" fmla="*/ 228678 h 359632"/>
                <a:gd name="connsiteX448" fmla="*/ 180897 w 218720"/>
                <a:gd name="connsiteY448" fmla="*/ 228344 h 359632"/>
                <a:gd name="connsiteX449" fmla="*/ 179669 w 218720"/>
                <a:gd name="connsiteY449" fmla="*/ 228444 h 359632"/>
                <a:gd name="connsiteX450" fmla="*/ 178469 w 218720"/>
                <a:gd name="connsiteY450" fmla="*/ 228249 h 359632"/>
                <a:gd name="connsiteX451" fmla="*/ 176255 w 218720"/>
                <a:gd name="connsiteY451" fmla="*/ 226987 h 359632"/>
                <a:gd name="connsiteX452" fmla="*/ 174128 w 218720"/>
                <a:gd name="connsiteY452" fmla="*/ 225436 h 359632"/>
                <a:gd name="connsiteX453" fmla="*/ 169897 w 218720"/>
                <a:gd name="connsiteY453" fmla="*/ 226059 h 359632"/>
                <a:gd name="connsiteX454" fmla="*/ 167546 w 218720"/>
                <a:gd name="connsiteY454" fmla="*/ 225780 h 359632"/>
                <a:gd name="connsiteX455" fmla="*/ 165507 w 218720"/>
                <a:gd name="connsiteY455" fmla="*/ 225821 h 359632"/>
                <a:gd name="connsiteX456" fmla="*/ 169373 w 218720"/>
                <a:gd name="connsiteY456" fmla="*/ 226717 h 359632"/>
                <a:gd name="connsiteX457" fmla="*/ 173605 w 218720"/>
                <a:gd name="connsiteY457" fmla="*/ 226779 h 359632"/>
                <a:gd name="connsiteX458" fmla="*/ 182937 w 218720"/>
                <a:gd name="connsiteY458" fmla="*/ 233539 h 359632"/>
                <a:gd name="connsiteX459" fmla="*/ 186091 w 218720"/>
                <a:gd name="connsiteY459" fmla="*/ 237535 h 359632"/>
                <a:gd name="connsiteX460" fmla="*/ 187966 w 218720"/>
                <a:gd name="connsiteY460" fmla="*/ 242808 h 359632"/>
                <a:gd name="connsiteX461" fmla="*/ 186689 w 218720"/>
                <a:gd name="connsiteY461" fmla="*/ 245172 h 359632"/>
                <a:gd name="connsiteX462" fmla="*/ 184703 w 218720"/>
                <a:gd name="connsiteY462" fmla="*/ 246703 h 359632"/>
                <a:gd name="connsiteX463" fmla="*/ 182850 w 218720"/>
                <a:gd name="connsiteY463" fmla="*/ 248453 h 359632"/>
                <a:gd name="connsiteX464" fmla="*/ 181114 w 218720"/>
                <a:gd name="connsiteY464" fmla="*/ 250427 h 359632"/>
                <a:gd name="connsiteX465" fmla="*/ 186286 w 218720"/>
                <a:gd name="connsiteY465" fmla="*/ 253324 h 359632"/>
                <a:gd name="connsiteX466" fmla="*/ 187400 w 218720"/>
                <a:gd name="connsiteY466" fmla="*/ 253236 h 359632"/>
                <a:gd name="connsiteX467" fmla="*/ 188544 w 218720"/>
                <a:gd name="connsiteY467" fmla="*/ 252831 h 359632"/>
                <a:gd name="connsiteX468" fmla="*/ 189644 w 218720"/>
                <a:gd name="connsiteY468" fmla="*/ 251846 h 359632"/>
                <a:gd name="connsiteX469" fmla="*/ 191498 w 218720"/>
                <a:gd name="connsiteY469" fmla="*/ 249447 h 359632"/>
                <a:gd name="connsiteX470" fmla="*/ 192455 w 218720"/>
                <a:gd name="connsiteY470" fmla="*/ 248592 h 359632"/>
                <a:gd name="connsiteX471" fmla="*/ 195677 w 218720"/>
                <a:gd name="connsiteY471" fmla="*/ 248284 h 359632"/>
                <a:gd name="connsiteX472" fmla="*/ 198380 w 218720"/>
                <a:gd name="connsiteY472" fmla="*/ 248468 h 359632"/>
                <a:gd name="connsiteX473" fmla="*/ 201073 w 218720"/>
                <a:gd name="connsiteY473" fmla="*/ 248998 h 359632"/>
                <a:gd name="connsiteX474" fmla="*/ 203440 w 218720"/>
                <a:gd name="connsiteY474" fmla="*/ 248830 h 359632"/>
                <a:gd name="connsiteX475" fmla="*/ 208210 w 218720"/>
                <a:gd name="connsiteY475" fmla="*/ 249860 h 359632"/>
                <a:gd name="connsiteX476" fmla="*/ 210661 w 218720"/>
                <a:gd name="connsiteY476" fmla="*/ 250789 h 359632"/>
                <a:gd name="connsiteX477" fmla="*/ 216733 w 218720"/>
                <a:gd name="connsiteY477" fmla="*/ 254966 h 359632"/>
                <a:gd name="connsiteX478" fmla="*/ 218046 w 218720"/>
                <a:gd name="connsiteY478" fmla="*/ 257247 h 359632"/>
                <a:gd name="connsiteX479" fmla="*/ 218648 w 218720"/>
                <a:gd name="connsiteY479" fmla="*/ 260190 h 359632"/>
                <a:gd name="connsiteX480" fmla="*/ 218720 w 218720"/>
                <a:gd name="connsiteY480" fmla="*/ 263449 h 359632"/>
                <a:gd name="connsiteX481" fmla="*/ 217698 w 218720"/>
                <a:gd name="connsiteY481" fmla="*/ 266425 h 359632"/>
                <a:gd name="connsiteX482" fmla="*/ 216526 w 218720"/>
                <a:gd name="connsiteY482" fmla="*/ 269108 h 359632"/>
                <a:gd name="connsiteX483" fmla="*/ 215802 w 218720"/>
                <a:gd name="connsiteY483" fmla="*/ 272568 h 359632"/>
                <a:gd name="connsiteX484" fmla="*/ 215289 w 218720"/>
                <a:gd name="connsiteY484" fmla="*/ 273813 h 359632"/>
                <a:gd name="connsiteX485" fmla="*/ 214571 w 218720"/>
                <a:gd name="connsiteY485" fmla="*/ 274788 h 359632"/>
                <a:gd name="connsiteX486" fmla="*/ 211354 w 218720"/>
                <a:gd name="connsiteY486" fmla="*/ 277512 h 359632"/>
                <a:gd name="connsiteX487" fmla="*/ 209216 w 218720"/>
                <a:gd name="connsiteY487" fmla="*/ 278631 h 359632"/>
                <a:gd name="connsiteX488" fmla="*/ 208313 w 218720"/>
                <a:gd name="connsiteY488" fmla="*/ 278140 h 359632"/>
                <a:gd name="connsiteX489" fmla="*/ 207351 w 218720"/>
                <a:gd name="connsiteY489" fmla="*/ 278208 h 359632"/>
                <a:gd name="connsiteX490" fmla="*/ 207249 w 218720"/>
                <a:gd name="connsiteY490" fmla="*/ 278862 h 359632"/>
                <a:gd name="connsiteX491" fmla="*/ 208266 w 218720"/>
                <a:gd name="connsiteY491" fmla="*/ 280251 h 359632"/>
                <a:gd name="connsiteX492" fmla="*/ 208279 w 218720"/>
                <a:gd name="connsiteY492" fmla="*/ 281926 h 359632"/>
                <a:gd name="connsiteX493" fmla="*/ 206379 w 218720"/>
                <a:gd name="connsiteY493" fmla="*/ 283165 h 359632"/>
                <a:gd name="connsiteX494" fmla="*/ 204448 w 218720"/>
                <a:gd name="connsiteY494" fmla="*/ 283694 h 359632"/>
                <a:gd name="connsiteX495" fmla="*/ 201218 w 218720"/>
                <a:gd name="connsiteY495" fmla="*/ 283034 h 359632"/>
                <a:gd name="connsiteX496" fmla="*/ 196733 w 218720"/>
                <a:gd name="connsiteY496" fmla="*/ 285340 h 359632"/>
                <a:gd name="connsiteX497" fmla="*/ 199957 w 218720"/>
                <a:gd name="connsiteY497" fmla="*/ 286524 h 359632"/>
                <a:gd name="connsiteX498" fmla="*/ 200607 w 218720"/>
                <a:gd name="connsiteY498" fmla="*/ 287784 h 359632"/>
                <a:gd name="connsiteX499" fmla="*/ 199799 w 218720"/>
                <a:gd name="connsiteY499" fmla="*/ 289997 h 359632"/>
                <a:gd name="connsiteX500" fmla="*/ 197771 w 218720"/>
                <a:gd name="connsiteY500" fmla="*/ 290983 h 359632"/>
                <a:gd name="connsiteX501" fmla="*/ 195523 w 218720"/>
                <a:gd name="connsiteY501" fmla="*/ 291420 h 359632"/>
                <a:gd name="connsiteX502" fmla="*/ 193222 w 218720"/>
                <a:gd name="connsiteY502" fmla="*/ 291524 h 359632"/>
                <a:gd name="connsiteX503" fmla="*/ 191315 w 218720"/>
                <a:gd name="connsiteY503" fmla="*/ 292065 h 359632"/>
                <a:gd name="connsiteX504" fmla="*/ 189486 w 218720"/>
                <a:gd name="connsiteY504" fmla="*/ 293107 h 359632"/>
                <a:gd name="connsiteX505" fmla="*/ 191781 w 218720"/>
                <a:gd name="connsiteY505" fmla="*/ 292553 h 359632"/>
                <a:gd name="connsiteX506" fmla="*/ 193373 w 218720"/>
                <a:gd name="connsiteY506" fmla="*/ 293038 h 359632"/>
                <a:gd name="connsiteX507" fmla="*/ 194372 w 218720"/>
                <a:gd name="connsiteY507" fmla="*/ 294897 h 359632"/>
                <a:gd name="connsiteX508" fmla="*/ 195280 w 218720"/>
                <a:gd name="connsiteY508" fmla="*/ 295428 h 359632"/>
                <a:gd name="connsiteX509" fmla="*/ 199765 w 218720"/>
                <a:gd name="connsiteY509" fmla="*/ 296222 h 359632"/>
                <a:gd name="connsiteX510" fmla="*/ 202542 w 218720"/>
                <a:gd name="connsiteY510" fmla="*/ 296216 h 359632"/>
                <a:gd name="connsiteX511" fmla="*/ 207897 w 218720"/>
                <a:gd name="connsiteY511" fmla="*/ 295765 h 359632"/>
                <a:gd name="connsiteX512" fmla="*/ 210469 w 218720"/>
                <a:gd name="connsiteY512" fmla="*/ 295776 h 359632"/>
                <a:gd name="connsiteX513" fmla="*/ 211386 w 218720"/>
                <a:gd name="connsiteY513" fmla="*/ 296112 h 359632"/>
                <a:gd name="connsiteX514" fmla="*/ 211402 w 218720"/>
                <a:gd name="connsiteY514" fmla="*/ 297650 h 359632"/>
                <a:gd name="connsiteX515" fmla="*/ 211002 w 218720"/>
                <a:gd name="connsiteY515" fmla="*/ 301424 h 359632"/>
                <a:gd name="connsiteX516" fmla="*/ 210294 w 218720"/>
                <a:gd name="connsiteY516" fmla="*/ 302201 h 359632"/>
                <a:gd name="connsiteX517" fmla="*/ 203194 w 218720"/>
                <a:gd name="connsiteY517" fmla="*/ 305366 h 359632"/>
                <a:gd name="connsiteX518" fmla="*/ 201738 w 218720"/>
                <a:gd name="connsiteY518" fmla="*/ 307574 h 359632"/>
                <a:gd name="connsiteX519" fmla="*/ 201330 w 218720"/>
                <a:gd name="connsiteY519" fmla="*/ 308911 h 359632"/>
                <a:gd name="connsiteX520" fmla="*/ 197178 w 218720"/>
                <a:gd name="connsiteY520" fmla="*/ 308674 h 359632"/>
                <a:gd name="connsiteX521" fmla="*/ 195232 w 218720"/>
                <a:gd name="connsiteY521" fmla="*/ 310087 h 359632"/>
                <a:gd name="connsiteX522" fmla="*/ 191870 w 218720"/>
                <a:gd name="connsiteY522" fmla="*/ 311025 h 359632"/>
                <a:gd name="connsiteX523" fmla="*/ 189270 w 218720"/>
                <a:gd name="connsiteY523" fmla="*/ 312022 h 359632"/>
                <a:gd name="connsiteX524" fmla="*/ 186726 w 218720"/>
                <a:gd name="connsiteY524" fmla="*/ 313282 h 359632"/>
                <a:gd name="connsiteX525" fmla="*/ 184634 w 218720"/>
                <a:gd name="connsiteY525" fmla="*/ 313658 h 359632"/>
                <a:gd name="connsiteX526" fmla="*/ 175590 w 218720"/>
                <a:gd name="connsiteY526" fmla="*/ 312163 h 359632"/>
                <a:gd name="connsiteX527" fmla="*/ 170131 w 218720"/>
                <a:gd name="connsiteY527" fmla="*/ 312286 h 359632"/>
                <a:gd name="connsiteX528" fmla="*/ 162736 w 218720"/>
                <a:gd name="connsiteY528" fmla="*/ 313589 h 359632"/>
                <a:gd name="connsiteX529" fmla="*/ 160831 w 218720"/>
                <a:gd name="connsiteY529" fmla="*/ 313374 h 359632"/>
                <a:gd name="connsiteX530" fmla="*/ 157974 w 218720"/>
                <a:gd name="connsiteY530" fmla="*/ 312126 h 359632"/>
                <a:gd name="connsiteX531" fmla="*/ 155049 w 218720"/>
                <a:gd name="connsiteY531" fmla="*/ 311282 h 359632"/>
                <a:gd name="connsiteX532" fmla="*/ 151683 w 218720"/>
                <a:gd name="connsiteY532" fmla="*/ 310911 h 359632"/>
                <a:gd name="connsiteX533" fmla="*/ 148778 w 218720"/>
                <a:gd name="connsiteY533" fmla="*/ 309757 h 359632"/>
                <a:gd name="connsiteX534" fmla="*/ 150591 w 218720"/>
                <a:gd name="connsiteY534" fmla="*/ 311976 h 359632"/>
                <a:gd name="connsiteX535" fmla="*/ 146561 w 218720"/>
                <a:gd name="connsiteY535" fmla="*/ 314112 h 359632"/>
                <a:gd name="connsiteX536" fmla="*/ 144701 w 218720"/>
                <a:gd name="connsiteY536" fmla="*/ 314537 h 359632"/>
                <a:gd name="connsiteX537" fmla="*/ 142776 w 218720"/>
                <a:gd name="connsiteY537" fmla="*/ 314471 h 359632"/>
                <a:gd name="connsiteX538" fmla="*/ 138837 w 218720"/>
                <a:gd name="connsiteY538" fmla="*/ 315051 h 359632"/>
                <a:gd name="connsiteX539" fmla="*/ 135188 w 218720"/>
                <a:gd name="connsiteY539" fmla="*/ 314755 h 359632"/>
                <a:gd name="connsiteX540" fmla="*/ 135736 w 218720"/>
                <a:gd name="connsiteY540" fmla="*/ 316273 h 359632"/>
                <a:gd name="connsiteX541" fmla="*/ 136714 w 218720"/>
                <a:gd name="connsiteY541" fmla="*/ 317595 h 359632"/>
                <a:gd name="connsiteX542" fmla="*/ 135921 w 218720"/>
                <a:gd name="connsiteY542" fmla="*/ 318170 h 359632"/>
                <a:gd name="connsiteX543" fmla="*/ 135082 w 218720"/>
                <a:gd name="connsiteY543" fmla="*/ 318313 h 359632"/>
                <a:gd name="connsiteX544" fmla="*/ 128132 w 218720"/>
                <a:gd name="connsiteY544" fmla="*/ 317315 h 359632"/>
                <a:gd name="connsiteX545" fmla="*/ 127148 w 218720"/>
                <a:gd name="connsiteY545" fmla="*/ 317504 h 359632"/>
                <a:gd name="connsiteX546" fmla="*/ 126290 w 218720"/>
                <a:gd name="connsiteY546" fmla="*/ 318425 h 359632"/>
                <a:gd name="connsiteX547" fmla="*/ 123763 w 218720"/>
                <a:gd name="connsiteY547" fmla="*/ 317928 h 359632"/>
                <a:gd name="connsiteX548" fmla="*/ 121307 w 218720"/>
                <a:gd name="connsiteY548" fmla="*/ 316375 h 359632"/>
                <a:gd name="connsiteX549" fmla="*/ 118695 w 218720"/>
                <a:gd name="connsiteY549" fmla="*/ 315332 h 359632"/>
                <a:gd name="connsiteX550" fmla="*/ 115954 w 218720"/>
                <a:gd name="connsiteY550" fmla="*/ 314842 h 359632"/>
                <a:gd name="connsiteX551" fmla="*/ 113776 w 218720"/>
                <a:gd name="connsiteY551" fmla="*/ 315011 h 359632"/>
                <a:gd name="connsiteX552" fmla="*/ 104816 w 218720"/>
                <a:gd name="connsiteY552" fmla="*/ 317460 h 359632"/>
                <a:gd name="connsiteX553" fmla="*/ 103028 w 218720"/>
                <a:gd name="connsiteY553" fmla="*/ 319915 h 359632"/>
                <a:gd name="connsiteX554" fmla="*/ 102135 w 218720"/>
                <a:gd name="connsiteY554" fmla="*/ 323393 h 359632"/>
                <a:gd name="connsiteX555" fmla="*/ 100841 w 218720"/>
                <a:gd name="connsiteY555" fmla="*/ 326476 h 359632"/>
                <a:gd name="connsiteX556" fmla="*/ 98731 w 218720"/>
                <a:gd name="connsiteY556" fmla="*/ 328848 h 359632"/>
                <a:gd name="connsiteX557" fmla="*/ 96220 w 218720"/>
                <a:gd name="connsiteY557" fmla="*/ 329157 h 359632"/>
                <a:gd name="connsiteX558" fmla="*/ 93858 w 218720"/>
                <a:gd name="connsiteY558" fmla="*/ 327516 h 359632"/>
                <a:gd name="connsiteX559" fmla="*/ 89364 w 218720"/>
                <a:gd name="connsiteY559" fmla="*/ 325702 h 359632"/>
                <a:gd name="connsiteX560" fmla="*/ 87835 w 218720"/>
                <a:gd name="connsiteY560" fmla="*/ 324476 h 359632"/>
                <a:gd name="connsiteX561" fmla="*/ 87348 w 218720"/>
                <a:gd name="connsiteY561" fmla="*/ 324404 h 359632"/>
                <a:gd name="connsiteX562" fmla="*/ 86846 w 218720"/>
                <a:gd name="connsiteY562" fmla="*/ 324843 h 359632"/>
                <a:gd name="connsiteX563" fmla="*/ 85084 w 218720"/>
                <a:gd name="connsiteY563" fmla="*/ 325396 h 359632"/>
                <a:gd name="connsiteX564" fmla="*/ 83259 w 218720"/>
                <a:gd name="connsiteY564" fmla="*/ 325422 h 359632"/>
                <a:gd name="connsiteX565" fmla="*/ 80447 w 218720"/>
                <a:gd name="connsiteY565" fmla="*/ 325910 h 359632"/>
                <a:gd name="connsiteX566" fmla="*/ 75553 w 218720"/>
                <a:gd name="connsiteY566" fmla="*/ 327384 h 359632"/>
                <a:gd name="connsiteX567" fmla="*/ 73577 w 218720"/>
                <a:gd name="connsiteY567" fmla="*/ 328384 h 359632"/>
                <a:gd name="connsiteX568" fmla="*/ 69328 w 218720"/>
                <a:gd name="connsiteY568" fmla="*/ 331139 h 359632"/>
                <a:gd name="connsiteX569" fmla="*/ 68463 w 218720"/>
                <a:gd name="connsiteY569" fmla="*/ 331901 h 359632"/>
                <a:gd name="connsiteX570" fmla="*/ 66918 w 218720"/>
                <a:gd name="connsiteY570" fmla="*/ 334677 h 359632"/>
                <a:gd name="connsiteX571" fmla="*/ 64558 w 218720"/>
                <a:gd name="connsiteY571" fmla="*/ 335166 h 359632"/>
                <a:gd name="connsiteX572" fmla="*/ 62399 w 218720"/>
                <a:gd name="connsiteY572" fmla="*/ 333388 h 359632"/>
                <a:gd name="connsiteX573" fmla="*/ 59942 w 218720"/>
                <a:gd name="connsiteY573" fmla="*/ 332767 h 359632"/>
                <a:gd name="connsiteX574" fmla="*/ 57350 w 218720"/>
                <a:gd name="connsiteY574" fmla="*/ 333375 h 359632"/>
                <a:gd name="connsiteX575" fmla="*/ 55782 w 218720"/>
                <a:gd name="connsiteY575" fmla="*/ 334320 h 359632"/>
                <a:gd name="connsiteX576" fmla="*/ 55051 w 218720"/>
                <a:gd name="connsiteY576" fmla="*/ 333552 h 359632"/>
                <a:gd name="connsiteX577" fmla="*/ 55027 w 218720"/>
                <a:gd name="connsiteY577" fmla="*/ 331973 h 359632"/>
                <a:gd name="connsiteX578" fmla="*/ 56920 w 218720"/>
                <a:gd name="connsiteY578" fmla="*/ 330091 h 359632"/>
                <a:gd name="connsiteX579" fmla="*/ 61970 w 218720"/>
                <a:gd name="connsiteY579" fmla="*/ 328668 h 359632"/>
                <a:gd name="connsiteX580" fmla="*/ 66403 w 218720"/>
                <a:gd name="connsiteY580" fmla="*/ 324972 h 359632"/>
                <a:gd name="connsiteX581" fmla="*/ 68578 w 218720"/>
                <a:gd name="connsiteY581" fmla="*/ 322716 h 359632"/>
                <a:gd name="connsiteX582" fmla="*/ 69440 w 218720"/>
                <a:gd name="connsiteY582" fmla="*/ 321446 h 359632"/>
                <a:gd name="connsiteX583" fmla="*/ 70503 w 218720"/>
                <a:gd name="connsiteY583" fmla="*/ 320636 h 359632"/>
                <a:gd name="connsiteX584" fmla="*/ 71892 w 218720"/>
                <a:gd name="connsiteY584" fmla="*/ 320330 h 359632"/>
                <a:gd name="connsiteX585" fmla="*/ 72606 w 218720"/>
                <a:gd name="connsiteY585" fmla="*/ 318925 h 359632"/>
                <a:gd name="connsiteX586" fmla="*/ 78761 w 218720"/>
                <a:gd name="connsiteY586" fmla="*/ 313270 h 359632"/>
                <a:gd name="connsiteX587" fmla="*/ 79269 w 218720"/>
                <a:gd name="connsiteY587" fmla="*/ 311971 h 359632"/>
                <a:gd name="connsiteX588" fmla="*/ 79575 w 218720"/>
                <a:gd name="connsiteY588" fmla="*/ 309646 h 359632"/>
                <a:gd name="connsiteX589" fmla="*/ 80084 w 218720"/>
                <a:gd name="connsiteY589" fmla="*/ 307405 h 359632"/>
                <a:gd name="connsiteX590" fmla="*/ 85095 w 218720"/>
                <a:gd name="connsiteY590" fmla="*/ 305953 h 359632"/>
                <a:gd name="connsiteX591" fmla="*/ 87489 w 218720"/>
                <a:gd name="connsiteY591" fmla="*/ 301233 h 359632"/>
                <a:gd name="connsiteX592" fmla="*/ 88148 w 218720"/>
                <a:gd name="connsiteY592" fmla="*/ 300859 h 359632"/>
                <a:gd name="connsiteX593" fmla="*/ 95137 w 218720"/>
                <a:gd name="connsiteY593" fmla="*/ 299992 h 359632"/>
                <a:gd name="connsiteX594" fmla="*/ 100320 w 218720"/>
                <a:gd name="connsiteY594" fmla="*/ 300061 h 359632"/>
                <a:gd name="connsiteX595" fmla="*/ 105468 w 218720"/>
                <a:gd name="connsiteY595" fmla="*/ 300986 h 359632"/>
                <a:gd name="connsiteX596" fmla="*/ 108107 w 218720"/>
                <a:gd name="connsiteY596" fmla="*/ 301069 h 359632"/>
                <a:gd name="connsiteX597" fmla="*/ 110756 w 218720"/>
                <a:gd name="connsiteY597" fmla="*/ 300750 h 359632"/>
                <a:gd name="connsiteX598" fmla="*/ 112833 w 218720"/>
                <a:gd name="connsiteY598" fmla="*/ 299474 h 359632"/>
                <a:gd name="connsiteX599" fmla="*/ 116388 w 218720"/>
                <a:gd name="connsiteY599" fmla="*/ 294868 h 359632"/>
                <a:gd name="connsiteX600" fmla="*/ 118388 w 218720"/>
                <a:gd name="connsiteY600" fmla="*/ 292838 h 359632"/>
                <a:gd name="connsiteX601" fmla="*/ 120679 w 218720"/>
                <a:gd name="connsiteY601" fmla="*/ 291002 h 359632"/>
                <a:gd name="connsiteX602" fmla="*/ 122822 w 218720"/>
                <a:gd name="connsiteY602" fmla="*/ 288904 h 359632"/>
                <a:gd name="connsiteX603" fmla="*/ 126299 w 218720"/>
                <a:gd name="connsiteY603" fmla="*/ 285012 h 359632"/>
                <a:gd name="connsiteX604" fmla="*/ 123948 w 218720"/>
                <a:gd name="connsiteY604" fmla="*/ 286353 h 359632"/>
                <a:gd name="connsiteX605" fmla="*/ 121111 w 218720"/>
                <a:gd name="connsiteY605" fmla="*/ 288480 h 359632"/>
                <a:gd name="connsiteX606" fmla="*/ 119465 w 218720"/>
                <a:gd name="connsiteY606" fmla="*/ 289713 h 359632"/>
                <a:gd name="connsiteX607" fmla="*/ 114238 w 218720"/>
                <a:gd name="connsiteY607" fmla="*/ 290955 h 359632"/>
                <a:gd name="connsiteX608" fmla="*/ 111986 w 218720"/>
                <a:gd name="connsiteY608" fmla="*/ 292221 h 359632"/>
                <a:gd name="connsiteX609" fmla="*/ 108040 w 218720"/>
                <a:gd name="connsiteY609" fmla="*/ 295078 h 359632"/>
                <a:gd name="connsiteX610" fmla="*/ 107281 w 218720"/>
                <a:gd name="connsiteY610" fmla="*/ 295315 h 359632"/>
                <a:gd name="connsiteX611" fmla="*/ 101328 w 218720"/>
                <a:gd name="connsiteY611" fmla="*/ 294629 h 359632"/>
                <a:gd name="connsiteX612" fmla="*/ 96898 w 218720"/>
                <a:gd name="connsiteY612" fmla="*/ 290923 h 359632"/>
                <a:gd name="connsiteX613" fmla="*/ 94066 w 218720"/>
                <a:gd name="connsiteY613" fmla="*/ 289402 h 359632"/>
                <a:gd name="connsiteX614" fmla="*/ 92896 w 218720"/>
                <a:gd name="connsiteY614" fmla="*/ 289230 h 359632"/>
                <a:gd name="connsiteX615" fmla="*/ 91687 w 218720"/>
                <a:gd name="connsiteY615" fmla="*/ 289682 h 359632"/>
                <a:gd name="connsiteX616" fmla="*/ 89101 w 218720"/>
                <a:gd name="connsiteY616" fmla="*/ 290145 h 359632"/>
                <a:gd name="connsiteX617" fmla="*/ 86464 w 218720"/>
                <a:gd name="connsiteY617" fmla="*/ 290066 h 359632"/>
                <a:gd name="connsiteX618" fmla="*/ 87810 w 218720"/>
                <a:gd name="connsiteY618" fmla="*/ 288352 h 359632"/>
                <a:gd name="connsiteX619" fmla="*/ 89638 w 218720"/>
                <a:gd name="connsiteY619" fmla="*/ 287393 h 359632"/>
                <a:gd name="connsiteX620" fmla="*/ 85544 w 218720"/>
                <a:gd name="connsiteY620" fmla="*/ 286727 h 359632"/>
                <a:gd name="connsiteX621" fmla="*/ 84406 w 218720"/>
                <a:gd name="connsiteY621" fmla="*/ 286205 h 359632"/>
                <a:gd name="connsiteX622" fmla="*/ 83109 w 218720"/>
                <a:gd name="connsiteY622" fmla="*/ 285002 h 359632"/>
                <a:gd name="connsiteX623" fmla="*/ 79898 w 218720"/>
                <a:gd name="connsiteY623" fmla="*/ 284796 h 359632"/>
                <a:gd name="connsiteX624" fmla="*/ 78366 w 218720"/>
                <a:gd name="connsiteY624" fmla="*/ 285103 h 359632"/>
                <a:gd name="connsiteX625" fmla="*/ 75782 w 218720"/>
                <a:gd name="connsiteY625" fmla="*/ 286693 h 359632"/>
                <a:gd name="connsiteX626" fmla="*/ 71699 w 218720"/>
                <a:gd name="connsiteY626" fmla="*/ 288383 h 359632"/>
                <a:gd name="connsiteX627" fmla="*/ 66780 w 218720"/>
                <a:gd name="connsiteY627" fmla="*/ 286040 h 359632"/>
                <a:gd name="connsiteX628" fmla="*/ 65816 w 218720"/>
                <a:gd name="connsiteY628" fmla="*/ 285012 h 359632"/>
                <a:gd name="connsiteX629" fmla="*/ 65841 w 218720"/>
                <a:gd name="connsiteY629" fmla="*/ 283027 h 359632"/>
                <a:gd name="connsiteX630" fmla="*/ 65103 w 218720"/>
                <a:gd name="connsiteY630" fmla="*/ 281453 h 359632"/>
                <a:gd name="connsiteX631" fmla="*/ 63738 w 218720"/>
                <a:gd name="connsiteY631" fmla="*/ 280898 h 359632"/>
                <a:gd name="connsiteX632" fmla="*/ 65484 w 218720"/>
                <a:gd name="connsiteY632" fmla="*/ 278846 h 359632"/>
                <a:gd name="connsiteX633" fmla="*/ 67591 w 218720"/>
                <a:gd name="connsiteY633" fmla="*/ 277479 h 359632"/>
                <a:gd name="connsiteX634" fmla="*/ 72225 w 218720"/>
                <a:gd name="connsiteY634" fmla="*/ 276120 h 359632"/>
                <a:gd name="connsiteX635" fmla="*/ 79243 w 218720"/>
                <a:gd name="connsiteY635" fmla="*/ 272892 h 359632"/>
                <a:gd name="connsiteX636" fmla="*/ 83178 w 218720"/>
                <a:gd name="connsiteY636" fmla="*/ 271516 h 359632"/>
                <a:gd name="connsiteX637" fmla="*/ 86836 w 218720"/>
                <a:gd name="connsiteY637" fmla="*/ 269140 h 359632"/>
                <a:gd name="connsiteX638" fmla="*/ 88348 w 218720"/>
                <a:gd name="connsiteY638" fmla="*/ 267690 h 359632"/>
                <a:gd name="connsiteX639" fmla="*/ 89445 w 218720"/>
                <a:gd name="connsiteY639" fmla="*/ 265705 h 359632"/>
                <a:gd name="connsiteX640" fmla="*/ 90533 w 218720"/>
                <a:gd name="connsiteY640" fmla="*/ 263266 h 359632"/>
                <a:gd name="connsiteX641" fmla="*/ 92086 w 218720"/>
                <a:gd name="connsiteY641" fmla="*/ 261284 h 359632"/>
                <a:gd name="connsiteX642" fmla="*/ 90579 w 218720"/>
                <a:gd name="connsiteY642" fmla="*/ 260812 h 359632"/>
                <a:gd name="connsiteX643" fmla="*/ 89906 w 218720"/>
                <a:gd name="connsiteY643" fmla="*/ 259315 h 359632"/>
                <a:gd name="connsiteX644" fmla="*/ 90087 w 218720"/>
                <a:gd name="connsiteY644" fmla="*/ 257796 h 359632"/>
                <a:gd name="connsiteX645" fmla="*/ 90783 w 218720"/>
                <a:gd name="connsiteY645" fmla="*/ 256448 h 359632"/>
                <a:gd name="connsiteX646" fmla="*/ 90159 w 218720"/>
                <a:gd name="connsiteY646" fmla="*/ 254756 h 359632"/>
                <a:gd name="connsiteX647" fmla="*/ 89052 w 218720"/>
                <a:gd name="connsiteY647" fmla="*/ 252986 h 359632"/>
                <a:gd name="connsiteX648" fmla="*/ 89113 w 218720"/>
                <a:gd name="connsiteY648" fmla="*/ 251607 h 359632"/>
                <a:gd name="connsiteX649" fmla="*/ 89407 w 218720"/>
                <a:gd name="connsiteY649" fmla="*/ 250132 h 359632"/>
                <a:gd name="connsiteX650" fmla="*/ 86584 w 218720"/>
                <a:gd name="connsiteY650" fmla="*/ 250211 h 359632"/>
                <a:gd name="connsiteX651" fmla="*/ 83769 w 218720"/>
                <a:gd name="connsiteY651" fmla="*/ 250672 h 359632"/>
                <a:gd name="connsiteX652" fmla="*/ 81218 w 218720"/>
                <a:gd name="connsiteY652" fmla="*/ 251718 h 359632"/>
                <a:gd name="connsiteX653" fmla="*/ 78744 w 218720"/>
                <a:gd name="connsiteY653" fmla="*/ 253137 h 359632"/>
                <a:gd name="connsiteX654" fmla="*/ 76547 w 218720"/>
                <a:gd name="connsiteY654" fmla="*/ 253400 h 359632"/>
                <a:gd name="connsiteX655" fmla="*/ 76582 w 218720"/>
                <a:gd name="connsiteY655" fmla="*/ 252265 h 359632"/>
                <a:gd name="connsiteX656" fmla="*/ 77536 w 218720"/>
                <a:gd name="connsiteY656" fmla="*/ 250861 h 359632"/>
                <a:gd name="connsiteX657" fmla="*/ 80027 w 218720"/>
                <a:gd name="connsiteY657" fmla="*/ 248854 h 359632"/>
                <a:gd name="connsiteX658" fmla="*/ 82694 w 218720"/>
                <a:gd name="connsiteY658" fmla="*/ 247189 h 359632"/>
                <a:gd name="connsiteX659" fmla="*/ 83642 w 218720"/>
                <a:gd name="connsiteY659" fmla="*/ 245923 h 359632"/>
                <a:gd name="connsiteX660" fmla="*/ 84388 w 218720"/>
                <a:gd name="connsiteY660" fmla="*/ 244452 h 359632"/>
                <a:gd name="connsiteX661" fmla="*/ 85712 w 218720"/>
                <a:gd name="connsiteY661" fmla="*/ 243271 h 359632"/>
                <a:gd name="connsiteX662" fmla="*/ 89195 w 218720"/>
                <a:gd name="connsiteY662" fmla="*/ 241037 h 359632"/>
                <a:gd name="connsiteX663" fmla="*/ 95868 w 218720"/>
                <a:gd name="connsiteY663" fmla="*/ 238521 h 359632"/>
                <a:gd name="connsiteX664" fmla="*/ 96864 w 218720"/>
                <a:gd name="connsiteY664" fmla="*/ 238373 h 359632"/>
                <a:gd name="connsiteX665" fmla="*/ 99480 w 218720"/>
                <a:gd name="connsiteY665" fmla="*/ 238665 h 359632"/>
                <a:gd name="connsiteX666" fmla="*/ 102052 w 218720"/>
                <a:gd name="connsiteY666" fmla="*/ 238285 h 359632"/>
                <a:gd name="connsiteX667" fmla="*/ 104305 w 218720"/>
                <a:gd name="connsiteY667" fmla="*/ 237379 h 359632"/>
                <a:gd name="connsiteX668" fmla="*/ 106550 w 218720"/>
                <a:gd name="connsiteY668" fmla="*/ 237184 h 359632"/>
                <a:gd name="connsiteX669" fmla="*/ 111605 w 218720"/>
                <a:gd name="connsiteY669" fmla="*/ 239795 h 359632"/>
                <a:gd name="connsiteX670" fmla="*/ 110102 w 218720"/>
                <a:gd name="connsiteY670" fmla="*/ 235754 h 359632"/>
                <a:gd name="connsiteX671" fmla="*/ 112331 w 218720"/>
                <a:gd name="connsiteY671" fmla="*/ 234786 h 359632"/>
                <a:gd name="connsiteX672" fmla="*/ 115564 w 218720"/>
                <a:gd name="connsiteY672" fmla="*/ 238440 h 359632"/>
                <a:gd name="connsiteX673" fmla="*/ 116766 w 218720"/>
                <a:gd name="connsiteY673" fmla="*/ 238825 h 359632"/>
                <a:gd name="connsiteX674" fmla="*/ 119301 w 218720"/>
                <a:gd name="connsiteY674" fmla="*/ 238295 h 359632"/>
                <a:gd name="connsiteX675" fmla="*/ 118323 w 218720"/>
                <a:gd name="connsiteY675" fmla="*/ 237679 h 359632"/>
                <a:gd name="connsiteX676" fmla="*/ 117181 w 218720"/>
                <a:gd name="connsiteY676" fmla="*/ 237642 h 359632"/>
                <a:gd name="connsiteX677" fmla="*/ 115685 w 218720"/>
                <a:gd name="connsiteY677" fmla="*/ 237091 h 359632"/>
                <a:gd name="connsiteX678" fmla="*/ 114427 w 218720"/>
                <a:gd name="connsiteY678" fmla="*/ 235919 h 359632"/>
                <a:gd name="connsiteX679" fmla="*/ 112334 w 218720"/>
                <a:gd name="connsiteY679" fmla="*/ 232195 h 359632"/>
                <a:gd name="connsiteX680" fmla="*/ 112447 w 218720"/>
                <a:gd name="connsiteY680" fmla="*/ 229982 h 359632"/>
                <a:gd name="connsiteX681" fmla="*/ 113857 w 218720"/>
                <a:gd name="connsiteY681" fmla="*/ 227679 h 359632"/>
                <a:gd name="connsiteX682" fmla="*/ 115419 w 218720"/>
                <a:gd name="connsiteY682" fmla="*/ 225557 h 359632"/>
                <a:gd name="connsiteX683" fmla="*/ 114109 w 218720"/>
                <a:gd name="connsiteY683" fmla="*/ 225135 h 359632"/>
                <a:gd name="connsiteX684" fmla="*/ 113060 w 218720"/>
                <a:gd name="connsiteY684" fmla="*/ 224323 h 359632"/>
                <a:gd name="connsiteX685" fmla="*/ 112759 w 218720"/>
                <a:gd name="connsiteY685" fmla="*/ 222197 h 359632"/>
                <a:gd name="connsiteX686" fmla="*/ 113171 w 218720"/>
                <a:gd name="connsiteY686" fmla="*/ 220318 h 359632"/>
                <a:gd name="connsiteX687" fmla="*/ 115977 w 218720"/>
                <a:gd name="connsiteY687" fmla="*/ 218657 h 359632"/>
                <a:gd name="connsiteX688" fmla="*/ 116805 w 218720"/>
                <a:gd name="connsiteY688" fmla="*/ 216135 h 359632"/>
                <a:gd name="connsiteX689" fmla="*/ 117157 w 218720"/>
                <a:gd name="connsiteY689" fmla="*/ 213357 h 359632"/>
                <a:gd name="connsiteX690" fmla="*/ 116691 w 218720"/>
                <a:gd name="connsiteY690" fmla="*/ 212082 h 359632"/>
                <a:gd name="connsiteX691" fmla="*/ 113906 w 218720"/>
                <a:gd name="connsiteY691" fmla="*/ 212287 h 359632"/>
                <a:gd name="connsiteX692" fmla="*/ 112552 w 218720"/>
                <a:gd name="connsiteY692" fmla="*/ 212807 h 359632"/>
                <a:gd name="connsiteX693" fmla="*/ 111337 w 218720"/>
                <a:gd name="connsiteY693" fmla="*/ 213630 h 359632"/>
                <a:gd name="connsiteX694" fmla="*/ 110093 w 218720"/>
                <a:gd name="connsiteY694" fmla="*/ 213581 h 359632"/>
                <a:gd name="connsiteX695" fmla="*/ 106653 w 218720"/>
                <a:gd name="connsiteY695" fmla="*/ 210505 h 359632"/>
                <a:gd name="connsiteX696" fmla="*/ 104691 w 218720"/>
                <a:gd name="connsiteY696" fmla="*/ 208176 h 359632"/>
                <a:gd name="connsiteX697" fmla="*/ 101172 w 218720"/>
                <a:gd name="connsiteY697" fmla="*/ 203238 h 359632"/>
                <a:gd name="connsiteX698" fmla="*/ 100671 w 218720"/>
                <a:gd name="connsiteY698" fmla="*/ 200283 h 359632"/>
                <a:gd name="connsiteX699" fmla="*/ 103490 w 218720"/>
                <a:gd name="connsiteY699" fmla="*/ 193894 h 359632"/>
                <a:gd name="connsiteX700" fmla="*/ 107838 w 218720"/>
                <a:gd name="connsiteY700" fmla="*/ 189799 h 359632"/>
                <a:gd name="connsiteX701" fmla="*/ 112961 w 218720"/>
                <a:gd name="connsiteY701" fmla="*/ 188372 h 359632"/>
                <a:gd name="connsiteX702" fmla="*/ 111970 w 218720"/>
                <a:gd name="connsiteY702" fmla="*/ 188099 h 359632"/>
                <a:gd name="connsiteX703" fmla="*/ 104164 w 218720"/>
                <a:gd name="connsiteY703" fmla="*/ 188044 h 359632"/>
                <a:gd name="connsiteX704" fmla="*/ 101591 w 218720"/>
                <a:gd name="connsiteY704" fmla="*/ 188546 h 359632"/>
                <a:gd name="connsiteX705" fmla="*/ 99206 w 218720"/>
                <a:gd name="connsiteY705" fmla="*/ 190221 h 359632"/>
                <a:gd name="connsiteX706" fmla="*/ 97859 w 218720"/>
                <a:gd name="connsiteY706" fmla="*/ 190735 h 359632"/>
                <a:gd name="connsiteX707" fmla="*/ 96443 w 218720"/>
                <a:gd name="connsiteY707" fmla="*/ 190925 h 359632"/>
                <a:gd name="connsiteX708" fmla="*/ 95153 w 218720"/>
                <a:gd name="connsiteY708" fmla="*/ 191758 h 359632"/>
                <a:gd name="connsiteX709" fmla="*/ 93893 w 218720"/>
                <a:gd name="connsiteY709" fmla="*/ 192914 h 359632"/>
                <a:gd name="connsiteX710" fmla="*/ 92581 w 218720"/>
                <a:gd name="connsiteY710" fmla="*/ 193653 h 359632"/>
                <a:gd name="connsiteX711" fmla="*/ 89975 w 218720"/>
                <a:gd name="connsiteY711" fmla="*/ 193462 h 359632"/>
                <a:gd name="connsiteX712" fmla="*/ 88711 w 218720"/>
                <a:gd name="connsiteY712" fmla="*/ 193706 h 359632"/>
                <a:gd name="connsiteX713" fmla="*/ 87802 w 218720"/>
                <a:gd name="connsiteY713" fmla="*/ 193037 h 359632"/>
                <a:gd name="connsiteX714" fmla="*/ 87042 w 218720"/>
                <a:gd name="connsiteY714" fmla="*/ 191930 h 359632"/>
                <a:gd name="connsiteX715" fmla="*/ 86047 w 218720"/>
                <a:gd name="connsiteY715" fmla="*/ 191635 h 359632"/>
                <a:gd name="connsiteX716" fmla="*/ 84936 w 218720"/>
                <a:gd name="connsiteY716" fmla="*/ 191975 h 359632"/>
                <a:gd name="connsiteX717" fmla="*/ 82587 w 218720"/>
                <a:gd name="connsiteY717" fmla="*/ 193466 h 359632"/>
                <a:gd name="connsiteX718" fmla="*/ 80208 w 218720"/>
                <a:gd name="connsiteY718" fmla="*/ 194346 h 359632"/>
                <a:gd name="connsiteX719" fmla="*/ 77332 w 218720"/>
                <a:gd name="connsiteY719" fmla="*/ 193407 h 359632"/>
                <a:gd name="connsiteX720" fmla="*/ 73562 w 218720"/>
                <a:gd name="connsiteY720" fmla="*/ 191655 h 359632"/>
                <a:gd name="connsiteX721" fmla="*/ 72817 w 218720"/>
                <a:gd name="connsiteY721" fmla="*/ 192294 h 359632"/>
                <a:gd name="connsiteX722" fmla="*/ 71982 w 218720"/>
                <a:gd name="connsiteY722" fmla="*/ 193920 h 359632"/>
                <a:gd name="connsiteX723" fmla="*/ 71501 w 218720"/>
                <a:gd name="connsiteY723" fmla="*/ 196456 h 359632"/>
                <a:gd name="connsiteX724" fmla="*/ 68824 w 218720"/>
                <a:gd name="connsiteY724" fmla="*/ 194254 h 359632"/>
                <a:gd name="connsiteX725" fmla="*/ 66542 w 218720"/>
                <a:gd name="connsiteY725" fmla="*/ 191306 h 359632"/>
                <a:gd name="connsiteX726" fmla="*/ 65777 w 218720"/>
                <a:gd name="connsiteY726" fmla="*/ 189452 h 359632"/>
                <a:gd name="connsiteX727" fmla="*/ 65720 w 218720"/>
                <a:gd name="connsiteY727" fmla="*/ 187364 h 359632"/>
                <a:gd name="connsiteX728" fmla="*/ 66958 w 218720"/>
                <a:gd name="connsiteY728" fmla="*/ 186553 h 359632"/>
                <a:gd name="connsiteX729" fmla="*/ 68303 w 218720"/>
                <a:gd name="connsiteY729" fmla="*/ 187295 h 359632"/>
                <a:gd name="connsiteX730" fmla="*/ 70308 w 218720"/>
                <a:gd name="connsiteY730" fmla="*/ 182331 h 359632"/>
                <a:gd name="connsiteX731" fmla="*/ 74297 w 218720"/>
                <a:gd name="connsiteY731" fmla="*/ 175855 h 359632"/>
                <a:gd name="connsiteX732" fmla="*/ 75704 w 218720"/>
                <a:gd name="connsiteY732" fmla="*/ 173952 h 359632"/>
                <a:gd name="connsiteX733" fmla="*/ 76686 w 218720"/>
                <a:gd name="connsiteY733" fmla="*/ 171467 h 359632"/>
                <a:gd name="connsiteX734" fmla="*/ 76518 w 218720"/>
                <a:gd name="connsiteY734" fmla="*/ 169839 h 359632"/>
                <a:gd name="connsiteX735" fmla="*/ 75638 w 218720"/>
                <a:gd name="connsiteY735" fmla="*/ 168464 h 359632"/>
                <a:gd name="connsiteX736" fmla="*/ 71930 w 218720"/>
                <a:gd name="connsiteY736" fmla="*/ 165337 h 359632"/>
                <a:gd name="connsiteX737" fmla="*/ 71979 w 218720"/>
                <a:gd name="connsiteY737" fmla="*/ 162788 h 359632"/>
                <a:gd name="connsiteX738" fmla="*/ 72376 w 218720"/>
                <a:gd name="connsiteY738" fmla="*/ 159906 h 359632"/>
                <a:gd name="connsiteX739" fmla="*/ 73384 w 218720"/>
                <a:gd name="connsiteY739" fmla="*/ 158175 h 359632"/>
                <a:gd name="connsiteX740" fmla="*/ 73810 w 218720"/>
                <a:gd name="connsiteY740" fmla="*/ 157845 h 359632"/>
                <a:gd name="connsiteX741" fmla="*/ 78735 w 218720"/>
                <a:gd name="connsiteY741" fmla="*/ 157891 h 359632"/>
                <a:gd name="connsiteX742" fmla="*/ 76814 w 218720"/>
                <a:gd name="connsiteY742" fmla="*/ 156997 h 359632"/>
                <a:gd name="connsiteX743" fmla="*/ 72986 w 218720"/>
                <a:gd name="connsiteY743" fmla="*/ 154385 h 359632"/>
                <a:gd name="connsiteX744" fmla="*/ 73054 w 218720"/>
                <a:gd name="connsiteY744" fmla="*/ 153459 h 359632"/>
                <a:gd name="connsiteX745" fmla="*/ 73955 w 218720"/>
                <a:gd name="connsiteY745" fmla="*/ 151041 h 359632"/>
                <a:gd name="connsiteX746" fmla="*/ 73537 w 218720"/>
                <a:gd name="connsiteY746" fmla="*/ 151286 h 359632"/>
                <a:gd name="connsiteX747" fmla="*/ 72717 w 218720"/>
                <a:gd name="connsiteY747" fmla="*/ 152403 h 359632"/>
                <a:gd name="connsiteX748" fmla="*/ 71150 w 218720"/>
                <a:gd name="connsiteY748" fmla="*/ 155105 h 359632"/>
                <a:gd name="connsiteX749" fmla="*/ 70194 w 218720"/>
                <a:gd name="connsiteY749" fmla="*/ 155735 h 359632"/>
                <a:gd name="connsiteX750" fmla="*/ 67486 w 218720"/>
                <a:gd name="connsiteY750" fmla="*/ 156376 h 359632"/>
                <a:gd name="connsiteX751" fmla="*/ 66996 w 218720"/>
                <a:gd name="connsiteY751" fmla="*/ 157705 h 359632"/>
                <a:gd name="connsiteX752" fmla="*/ 66561 w 218720"/>
                <a:gd name="connsiteY752" fmla="*/ 158052 h 359632"/>
                <a:gd name="connsiteX753" fmla="*/ 65208 w 218720"/>
                <a:gd name="connsiteY753" fmla="*/ 158203 h 359632"/>
                <a:gd name="connsiteX754" fmla="*/ 64793 w 218720"/>
                <a:gd name="connsiteY754" fmla="*/ 159441 h 359632"/>
                <a:gd name="connsiteX755" fmla="*/ 64492 w 218720"/>
                <a:gd name="connsiteY755" fmla="*/ 159520 h 359632"/>
                <a:gd name="connsiteX756" fmla="*/ 64107 w 218720"/>
                <a:gd name="connsiteY756" fmla="*/ 158184 h 359632"/>
                <a:gd name="connsiteX757" fmla="*/ 64070 w 218720"/>
                <a:gd name="connsiteY757" fmla="*/ 155968 h 359632"/>
                <a:gd name="connsiteX758" fmla="*/ 64609 w 218720"/>
                <a:gd name="connsiteY758" fmla="*/ 153929 h 359632"/>
                <a:gd name="connsiteX759" fmla="*/ 65638 w 218720"/>
                <a:gd name="connsiteY759" fmla="*/ 152332 h 359632"/>
                <a:gd name="connsiteX760" fmla="*/ 69606 w 218720"/>
                <a:gd name="connsiteY760" fmla="*/ 148697 h 359632"/>
                <a:gd name="connsiteX761" fmla="*/ 67674 w 218720"/>
                <a:gd name="connsiteY761" fmla="*/ 149819 h 359632"/>
                <a:gd name="connsiteX762" fmla="*/ 63295 w 218720"/>
                <a:gd name="connsiteY762" fmla="*/ 153176 h 359632"/>
                <a:gd name="connsiteX763" fmla="*/ 61060 w 218720"/>
                <a:gd name="connsiteY763" fmla="*/ 155381 h 359632"/>
                <a:gd name="connsiteX764" fmla="*/ 60463 w 218720"/>
                <a:gd name="connsiteY764" fmla="*/ 156125 h 359632"/>
                <a:gd name="connsiteX765" fmla="*/ 60276 w 218720"/>
                <a:gd name="connsiteY765" fmla="*/ 156752 h 359632"/>
                <a:gd name="connsiteX766" fmla="*/ 60289 w 218720"/>
                <a:gd name="connsiteY766" fmla="*/ 157474 h 359632"/>
                <a:gd name="connsiteX767" fmla="*/ 61293 w 218720"/>
                <a:gd name="connsiteY767" fmla="*/ 161344 h 359632"/>
                <a:gd name="connsiteX768" fmla="*/ 61007 w 218720"/>
                <a:gd name="connsiteY768" fmla="*/ 163133 h 359632"/>
                <a:gd name="connsiteX769" fmla="*/ 57234 w 218720"/>
                <a:gd name="connsiteY769" fmla="*/ 174922 h 359632"/>
                <a:gd name="connsiteX770" fmla="*/ 56520 w 218720"/>
                <a:gd name="connsiteY770" fmla="*/ 176102 h 359632"/>
                <a:gd name="connsiteX771" fmla="*/ 55863 w 218720"/>
                <a:gd name="connsiteY771" fmla="*/ 176719 h 359632"/>
                <a:gd name="connsiteX772" fmla="*/ 55242 w 218720"/>
                <a:gd name="connsiteY772" fmla="*/ 176860 h 359632"/>
                <a:gd name="connsiteX773" fmla="*/ 53382 w 218720"/>
                <a:gd name="connsiteY773" fmla="*/ 176636 h 359632"/>
                <a:gd name="connsiteX774" fmla="*/ 52552 w 218720"/>
                <a:gd name="connsiteY774" fmla="*/ 175755 h 359632"/>
                <a:gd name="connsiteX775" fmla="*/ 52559 w 218720"/>
                <a:gd name="connsiteY775" fmla="*/ 174757 h 359632"/>
                <a:gd name="connsiteX776" fmla="*/ 52908 w 218720"/>
                <a:gd name="connsiteY776" fmla="*/ 173257 h 359632"/>
                <a:gd name="connsiteX777" fmla="*/ 54472 w 218720"/>
                <a:gd name="connsiteY777" fmla="*/ 167668 h 359632"/>
                <a:gd name="connsiteX778" fmla="*/ 55151 w 218720"/>
                <a:gd name="connsiteY778" fmla="*/ 166113 h 359632"/>
                <a:gd name="connsiteX779" fmla="*/ 56160 w 218720"/>
                <a:gd name="connsiteY779" fmla="*/ 164666 h 359632"/>
                <a:gd name="connsiteX780" fmla="*/ 58383 w 218720"/>
                <a:gd name="connsiteY780" fmla="*/ 162130 h 359632"/>
                <a:gd name="connsiteX781" fmla="*/ 58329 w 218720"/>
                <a:gd name="connsiteY781" fmla="*/ 161965 h 359632"/>
                <a:gd name="connsiteX782" fmla="*/ 56849 w 218720"/>
                <a:gd name="connsiteY782" fmla="*/ 162462 h 359632"/>
                <a:gd name="connsiteX783" fmla="*/ 56218 w 218720"/>
                <a:gd name="connsiteY783" fmla="*/ 162298 h 359632"/>
                <a:gd name="connsiteX784" fmla="*/ 55766 w 218720"/>
                <a:gd name="connsiteY784" fmla="*/ 161796 h 359632"/>
                <a:gd name="connsiteX785" fmla="*/ 56059 w 218720"/>
                <a:gd name="connsiteY785" fmla="*/ 154257 h 359632"/>
                <a:gd name="connsiteX786" fmla="*/ 57260 w 218720"/>
                <a:gd name="connsiteY786" fmla="*/ 151771 h 359632"/>
                <a:gd name="connsiteX787" fmla="*/ 57709 w 218720"/>
                <a:gd name="connsiteY787" fmla="*/ 148150 h 359632"/>
                <a:gd name="connsiteX788" fmla="*/ 58750 w 218720"/>
                <a:gd name="connsiteY788" fmla="*/ 145045 h 359632"/>
                <a:gd name="connsiteX789" fmla="*/ 59955 w 218720"/>
                <a:gd name="connsiteY789" fmla="*/ 142781 h 359632"/>
                <a:gd name="connsiteX790" fmla="*/ 60872 w 218720"/>
                <a:gd name="connsiteY790" fmla="*/ 139881 h 359632"/>
                <a:gd name="connsiteX791" fmla="*/ 62254 w 218720"/>
                <a:gd name="connsiteY791" fmla="*/ 138590 h 359632"/>
                <a:gd name="connsiteX792" fmla="*/ 62624 w 218720"/>
                <a:gd name="connsiteY792" fmla="*/ 136614 h 359632"/>
                <a:gd name="connsiteX793" fmla="*/ 64174 w 218720"/>
                <a:gd name="connsiteY793" fmla="*/ 134473 h 359632"/>
                <a:gd name="connsiteX794" fmla="*/ 65373 w 218720"/>
                <a:gd name="connsiteY794" fmla="*/ 132232 h 359632"/>
                <a:gd name="connsiteX795" fmla="*/ 64727 w 218720"/>
                <a:gd name="connsiteY795" fmla="*/ 132454 h 359632"/>
                <a:gd name="connsiteX796" fmla="*/ 57063 w 218720"/>
                <a:gd name="connsiteY796" fmla="*/ 138281 h 359632"/>
                <a:gd name="connsiteX797" fmla="*/ 55111 w 218720"/>
                <a:gd name="connsiteY797" fmla="*/ 139341 h 359632"/>
                <a:gd name="connsiteX798" fmla="*/ 52450 w 218720"/>
                <a:gd name="connsiteY798" fmla="*/ 139057 h 359632"/>
                <a:gd name="connsiteX799" fmla="*/ 50415 w 218720"/>
                <a:gd name="connsiteY799" fmla="*/ 138403 h 359632"/>
                <a:gd name="connsiteX800" fmla="*/ 48825 w 218720"/>
                <a:gd name="connsiteY800" fmla="*/ 137025 h 359632"/>
                <a:gd name="connsiteX801" fmla="*/ 48114 w 218720"/>
                <a:gd name="connsiteY801" fmla="*/ 134378 h 359632"/>
                <a:gd name="connsiteX802" fmla="*/ 46150 w 218720"/>
                <a:gd name="connsiteY802" fmla="*/ 134307 h 359632"/>
                <a:gd name="connsiteX803" fmla="*/ 44470 w 218720"/>
                <a:gd name="connsiteY803" fmla="*/ 133849 h 359632"/>
                <a:gd name="connsiteX804" fmla="*/ 44491 w 218720"/>
                <a:gd name="connsiteY804" fmla="*/ 133493 h 359632"/>
                <a:gd name="connsiteX805" fmla="*/ 46658 w 218720"/>
                <a:gd name="connsiteY805" fmla="*/ 132048 h 359632"/>
                <a:gd name="connsiteX806" fmla="*/ 50132 w 218720"/>
                <a:gd name="connsiteY806" fmla="*/ 131552 h 359632"/>
                <a:gd name="connsiteX807" fmla="*/ 53383 w 218720"/>
                <a:gd name="connsiteY807" fmla="*/ 129237 h 359632"/>
                <a:gd name="connsiteX808" fmla="*/ 50490 w 218720"/>
                <a:gd name="connsiteY808" fmla="*/ 127672 h 359632"/>
                <a:gd name="connsiteX809" fmla="*/ 50735 w 218720"/>
                <a:gd name="connsiteY809" fmla="*/ 127176 h 359632"/>
                <a:gd name="connsiteX810" fmla="*/ 53258 w 218720"/>
                <a:gd name="connsiteY810" fmla="*/ 125842 h 359632"/>
                <a:gd name="connsiteX811" fmla="*/ 56463 w 218720"/>
                <a:gd name="connsiteY811" fmla="*/ 121362 h 359632"/>
                <a:gd name="connsiteX812" fmla="*/ 57113 w 218720"/>
                <a:gd name="connsiteY812" fmla="*/ 117232 h 359632"/>
                <a:gd name="connsiteX813" fmla="*/ 55580 w 218720"/>
                <a:gd name="connsiteY813" fmla="*/ 115289 h 359632"/>
                <a:gd name="connsiteX814" fmla="*/ 55025 w 218720"/>
                <a:gd name="connsiteY814" fmla="*/ 114015 h 359632"/>
                <a:gd name="connsiteX815" fmla="*/ 51961 w 218720"/>
                <a:gd name="connsiteY815" fmla="*/ 112594 h 359632"/>
                <a:gd name="connsiteX816" fmla="*/ 51449 w 218720"/>
                <a:gd name="connsiteY816" fmla="*/ 110774 h 359632"/>
                <a:gd name="connsiteX817" fmla="*/ 51805 w 218720"/>
                <a:gd name="connsiteY817" fmla="*/ 109758 h 359632"/>
                <a:gd name="connsiteX818" fmla="*/ 52805 w 218720"/>
                <a:gd name="connsiteY818" fmla="*/ 108765 h 359632"/>
                <a:gd name="connsiteX819" fmla="*/ 54312 w 218720"/>
                <a:gd name="connsiteY819" fmla="*/ 107991 h 359632"/>
                <a:gd name="connsiteX820" fmla="*/ 56674 w 218720"/>
                <a:gd name="connsiteY820" fmla="*/ 107251 h 359632"/>
                <a:gd name="connsiteX821" fmla="*/ 54530 w 218720"/>
                <a:gd name="connsiteY821" fmla="*/ 106457 h 359632"/>
                <a:gd name="connsiteX822" fmla="*/ 53730 w 218720"/>
                <a:gd name="connsiteY822" fmla="*/ 105520 h 359632"/>
                <a:gd name="connsiteX823" fmla="*/ 53123 w 218720"/>
                <a:gd name="connsiteY823" fmla="*/ 104163 h 359632"/>
                <a:gd name="connsiteX824" fmla="*/ 53067 w 218720"/>
                <a:gd name="connsiteY824" fmla="*/ 103376 h 359632"/>
                <a:gd name="connsiteX825" fmla="*/ 54177 w 218720"/>
                <a:gd name="connsiteY825" fmla="*/ 99866 h 359632"/>
                <a:gd name="connsiteX826" fmla="*/ 54823 w 218720"/>
                <a:gd name="connsiteY826" fmla="*/ 98417 h 359632"/>
                <a:gd name="connsiteX827" fmla="*/ 56087 w 218720"/>
                <a:gd name="connsiteY827" fmla="*/ 96568 h 359632"/>
                <a:gd name="connsiteX828" fmla="*/ 61821 w 218720"/>
                <a:gd name="connsiteY828" fmla="*/ 96672 h 359632"/>
                <a:gd name="connsiteX829" fmla="*/ 62480 w 218720"/>
                <a:gd name="connsiteY829" fmla="*/ 95855 h 359632"/>
                <a:gd name="connsiteX830" fmla="*/ 63130 w 218720"/>
                <a:gd name="connsiteY830" fmla="*/ 95823 h 359632"/>
                <a:gd name="connsiteX831" fmla="*/ 66062 w 218720"/>
                <a:gd name="connsiteY831" fmla="*/ 96568 h 359632"/>
                <a:gd name="connsiteX832" fmla="*/ 65627 w 218720"/>
                <a:gd name="connsiteY832" fmla="*/ 95766 h 359632"/>
                <a:gd name="connsiteX833" fmla="*/ 60832 w 218720"/>
                <a:gd name="connsiteY833" fmla="*/ 91368 h 359632"/>
                <a:gd name="connsiteX834" fmla="*/ 60402 w 218720"/>
                <a:gd name="connsiteY834" fmla="*/ 90530 h 359632"/>
                <a:gd name="connsiteX835" fmla="*/ 61769 w 218720"/>
                <a:gd name="connsiteY835" fmla="*/ 88154 h 359632"/>
                <a:gd name="connsiteX836" fmla="*/ 61868 w 218720"/>
                <a:gd name="connsiteY836" fmla="*/ 87094 h 359632"/>
                <a:gd name="connsiteX837" fmla="*/ 61668 w 218720"/>
                <a:gd name="connsiteY837" fmla="*/ 85961 h 359632"/>
                <a:gd name="connsiteX838" fmla="*/ 62058 w 218720"/>
                <a:gd name="connsiteY838" fmla="*/ 85098 h 359632"/>
                <a:gd name="connsiteX839" fmla="*/ 63578 w 218720"/>
                <a:gd name="connsiteY839" fmla="*/ 84690 h 359632"/>
                <a:gd name="connsiteX840" fmla="*/ 68213 w 218720"/>
                <a:gd name="connsiteY840" fmla="*/ 84731 h 359632"/>
                <a:gd name="connsiteX841" fmla="*/ 69355 w 218720"/>
                <a:gd name="connsiteY841" fmla="*/ 84329 h 359632"/>
                <a:gd name="connsiteX842" fmla="*/ 68835 w 218720"/>
                <a:gd name="connsiteY842" fmla="*/ 83181 h 359632"/>
                <a:gd name="connsiteX843" fmla="*/ 67756 w 218720"/>
                <a:gd name="connsiteY843" fmla="*/ 81671 h 359632"/>
                <a:gd name="connsiteX844" fmla="*/ 67545 w 218720"/>
                <a:gd name="connsiteY844" fmla="*/ 80402 h 359632"/>
                <a:gd name="connsiteX845" fmla="*/ 67798 w 218720"/>
                <a:gd name="connsiteY845" fmla="*/ 79281 h 359632"/>
                <a:gd name="connsiteX846" fmla="*/ 67857 w 218720"/>
                <a:gd name="connsiteY846" fmla="*/ 77022 h 359632"/>
                <a:gd name="connsiteX847" fmla="*/ 68068 w 218720"/>
                <a:gd name="connsiteY847" fmla="*/ 76022 h 359632"/>
                <a:gd name="connsiteX848" fmla="*/ 69168 w 218720"/>
                <a:gd name="connsiteY848" fmla="*/ 74524 h 359632"/>
                <a:gd name="connsiteX849" fmla="*/ 70077 w 218720"/>
                <a:gd name="connsiteY849" fmla="*/ 74079 h 359632"/>
                <a:gd name="connsiteX850" fmla="*/ 71204 w 218720"/>
                <a:gd name="connsiteY850" fmla="*/ 73818 h 359632"/>
                <a:gd name="connsiteX851" fmla="*/ 73748 w 218720"/>
                <a:gd name="connsiteY851" fmla="*/ 74319 h 359632"/>
                <a:gd name="connsiteX852" fmla="*/ 74718 w 218720"/>
                <a:gd name="connsiteY852" fmla="*/ 74924 h 359632"/>
                <a:gd name="connsiteX853" fmla="*/ 75831 w 218720"/>
                <a:gd name="connsiteY853" fmla="*/ 76352 h 359632"/>
                <a:gd name="connsiteX854" fmla="*/ 76654 w 218720"/>
                <a:gd name="connsiteY854" fmla="*/ 76236 h 359632"/>
                <a:gd name="connsiteX855" fmla="*/ 79822 w 218720"/>
                <a:gd name="connsiteY855" fmla="*/ 74685 h 359632"/>
                <a:gd name="connsiteX856" fmla="*/ 80774 w 218720"/>
                <a:gd name="connsiteY856" fmla="*/ 74462 h 359632"/>
                <a:gd name="connsiteX857" fmla="*/ 82070 w 218720"/>
                <a:gd name="connsiteY857" fmla="*/ 76260 h 359632"/>
                <a:gd name="connsiteX858" fmla="*/ 87480 w 218720"/>
                <a:gd name="connsiteY858" fmla="*/ 74826 h 359632"/>
                <a:gd name="connsiteX859" fmla="*/ 94757 w 218720"/>
                <a:gd name="connsiteY859" fmla="*/ 74183 h 359632"/>
                <a:gd name="connsiteX860" fmla="*/ 99129 w 218720"/>
                <a:gd name="connsiteY860" fmla="*/ 73239 h 359632"/>
                <a:gd name="connsiteX861" fmla="*/ 103733 w 218720"/>
                <a:gd name="connsiteY861" fmla="*/ 72896 h 359632"/>
                <a:gd name="connsiteX862" fmla="*/ 115062 w 218720"/>
                <a:gd name="connsiteY862" fmla="*/ 65804 h 359632"/>
                <a:gd name="connsiteX863" fmla="*/ 116053 w 218720"/>
                <a:gd name="connsiteY863" fmla="*/ 66067 h 359632"/>
                <a:gd name="connsiteX864" fmla="*/ 115685 w 218720"/>
                <a:gd name="connsiteY864" fmla="*/ 66975 h 359632"/>
                <a:gd name="connsiteX865" fmla="*/ 115324 w 218720"/>
                <a:gd name="connsiteY865" fmla="*/ 68857 h 359632"/>
                <a:gd name="connsiteX866" fmla="*/ 115112 w 218720"/>
                <a:gd name="connsiteY866" fmla="*/ 68953 h 359632"/>
                <a:gd name="connsiteX867" fmla="*/ 114307 w 218720"/>
                <a:gd name="connsiteY867" fmla="*/ 68360 h 359632"/>
                <a:gd name="connsiteX868" fmla="*/ 112979 w 218720"/>
                <a:gd name="connsiteY868" fmla="*/ 66228 h 359632"/>
                <a:gd name="connsiteX869" fmla="*/ 105859 w 218720"/>
                <a:gd name="connsiteY869" fmla="*/ 63098 h 359632"/>
                <a:gd name="connsiteX870" fmla="*/ 107750 w 218720"/>
                <a:gd name="connsiteY870" fmla="*/ 63544 h 359632"/>
                <a:gd name="connsiteX871" fmla="*/ 108729 w 218720"/>
                <a:gd name="connsiteY871" fmla="*/ 65107 h 359632"/>
                <a:gd name="connsiteX872" fmla="*/ 108851 w 218720"/>
                <a:gd name="connsiteY872" fmla="*/ 66123 h 359632"/>
                <a:gd name="connsiteX873" fmla="*/ 109083 w 218720"/>
                <a:gd name="connsiteY873" fmla="*/ 66522 h 359632"/>
                <a:gd name="connsiteX874" fmla="*/ 110257 w 218720"/>
                <a:gd name="connsiteY874" fmla="*/ 66923 h 359632"/>
                <a:gd name="connsiteX875" fmla="*/ 110115 w 218720"/>
                <a:gd name="connsiteY875" fmla="*/ 67151 h 359632"/>
                <a:gd name="connsiteX876" fmla="*/ 108851 w 218720"/>
                <a:gd name="connsiteY876" fmla="*/ 67581 h 359632"/>
                <a:gd name="connsiteX877" fmla="*/ 107598 w 218720"/>
                <a:gd name="connsiteY877" fmla="*/ 67549 h 359632"/>
                <a:gd name="connsiteX878" fmla="*/ 105643 w 218720"/>
                <a:gd name="connsiteY878" fmla="*/ 65673 h 359632"/>
                <a:gd name="connsiteX879" fmla="*/ 104900 w 218720"/>
                <a:gd name="connsiteY879" fmla="*/ 64307 h 359632"/>
                <a:gd name="connsiteX880" fmla="*/ 105034 w 218720"/>
                <a:gd name="connsiteY880" fmla="*/ 63403 h 359632"/>
                <a:gd name="connsiteX881" fmla="*/ 108266 w 218720"/>
                <a:gd name="connsiteY881" fmla="*/ 55774 h 359632"/>
                <a:gd name="connsiteX882" fmla="*/ 110302 w 218720"/>
                <a:gd name="connsiteY882" fmla="*/ 56022 h 359632"/>
                <a:gd name="connsiteX883" fmla="*/ 112632 w 218720"/>
                <a:gd name="connsiteY883" fmla="*/ 57239 h 359632"/>
                <a:gd name="connsiteX884" fmla="*/ 113337 w 218720"/>
                <a:gd name="connsiteY884" fmla="*/ 57988 h 359632"/>
                <a:gd name="connsiteX885" fmla="*/ 113320 w 218720"/>
                <a:gd name="connsiteY885" fmla="*/ 58586 h 359632"/>
                <a:gd name="connsiteX886" fmla="*/ 112493 w 218720"/>
                <a:gd name="connsiteY886" fmla="*/ 59499 h 359632"/>
                <a:gd name="connsiteX887" fmla="*/ 112199 w 218720"/>
                <a:gd name="connsiteY887" fmla="*/ 60302 h 359632"/>
                <a:gd name="connsiteX888" fmla="*/ 113880 w 218720"/>
                <a:gd name="connsiteY888" fmla="*/ 60283 h 359632"/>
                <a:gd name="connsiteX889" fmla="*/ 116315 w 218720"/>
                <a:gd name="connsiteY889" fmla="*/ 60967 h 359632"/>
                <a:gd name="connsiteX890" fmla="*/ 117789 w 218720"/>
                <a:gd name="connsiteY890" fmla="*/ 61053 h 359632"/>
                <a:gd name="connsiteX891" fmla="*/ 119015 w 218720"/>
                <a:gd name="connsiteY891" fmla="*/ 61901 h 359632"/>
                <a:gd name="connsiteX892" fmla="*/ 118339 w 218720"/>
                <a:gd name="connsiteY892" fmla="*/ 63490 h 359632"/>
                <a:gd name="connsiteX893" fmla="*/ 117605 w 218720"/>
                <a:gd name="connsiteY893" fmla="*/ 63935 h 359632"/>
                <a:gd name="connsiteX894" fmla="*/ 116775 w 218720"/>
                <a:gd name="connsiteY894" fmla="*/ 64023 h 359632"/>
                <a:gd name="connsiteX895" fmla="*/ 113877 w 218720"/>
                <a:gd name="connsiteY895" fmla="*/ 62436 h 359632"/>
                <a:gd name="connsiteX896" fmla="*/ 110079 w 218720"/>
                <a:gd name="connsiteY896" fmla="*/ 63095 h 359632"/>
                <a:gd name="connsiteX897" fmla="*/ 109323 w 218720"/>
                <a:gd name="connsiteY897" fmla="*/ 62894 h 359632"/>
                <a:gd name="connsiteX898" fmla="*/ 108824 w 218720"/>
                <a:gd name="connsiteY898" fmla="*/ 62455 h 359632"/>
                <a:gd name="connsiteX899" fmla="*/ 108619 w 218720"/>
                <a:gd name="connsiteY899" fmla="*/ 61911 h 359632"/>
                <a:gd name="connsiteX900" fmla="*/ 108615 w 218720"/>
                <a:gd name="connsiteY900" fmla="*/ 60801 h 359632"/>
                <a:gd name="connsiteX901" fmla="*/ 108409 w 218720"/>
                <a:gd name="connsiteY901" fmla="*/ 60473 h 359632"/>
                <a:gd name="connsiteX902" fmla="*/ 107033 w 218720"/>
                <a:gd name="connsiteY902" fmla="*/ 61523 h 359632"/>
                <a:gd name="connsiteX903" fmla="*/ 106429 w 218720"/>
                <a:gd name="connsiteY903" fmla="*/ 61399 h 359632"/>
                <a:gd name="connsiteX904" fmla="*/ 106088 w 218720"/>
                <a:gd name="connsiteY904" fmla="*/ 60896 h 359632"/>
                <a:gd name="connsiteX905" fmla="*/ 105941 w 218720"/>
                <a:gd name="connsiteY905" fmla="*/ 59853 h 359632"/>
                <a:gd name="connsiteX906" fmla="*/ 106094 w 218720"/>
                <a:gd name="connsiteY906" fmla="*/ 58347 h 359632"/>
                <a:gd name="connsiteX907" fmla="*/ 106900 w 218720"/>
                <a:gd name="connsiteY907" fmla="*/ 56202 h 359632"/>
                <a:gd name="connsiteX908" fmla="*/ 124031 w 218720"/>
                <a:gd name="connsiteY908" fmla="*/ 50542 h 359632"/>
                <a:gd name="connsiteX909" fmla="*/ 126876 w 218720"/>
                <a:gd name="connsiteY909" fmla="*/ 50758 h 359632"/>
                <a:gd name="connsiteX910" fmla="*/ 126370 w 218720"/>
                <a:gd name="connsiteY910" fmla="*/ 51625 h 359632"/>
                <a:gd name="connsiteX911" fmla="*/ 123738 w 218720"/>
                <a:gd name="connsiteY911" fmla="*/ 52921 h 359632"/>
                <a:gd name="connsiteX912" fmla="*/ 121235 w 218720"/>
                <a:gd name="connsiteY912" fmla="*/ 52960 h 359632"/>
                <a:gd name="connsiteX913" fmla="*/ 122528 w 218720"/>
                <a:gd name="connsiteY913" fmla="*/ 51028 h 359632"/>
                <a:gd name="connsiteX914" fmla="*/ 114304 w 218720"/>
                <a:gd name="connsiteY914" fmla="*/ 49137 h 359632"/>
                <a:gd name="connsiteX915" fmla="*/ 116822 w 218720"/>
                <a:gd name="connsiteY915" fmla="*/ 51059 h 359632"/>
                <a:gd name="connsiteX916" fmla="*/ 117853 w 218720"/>
                <a:gd name="connsiteY916" fmla="*/ 52612 h 359632"/>
                <a:gd name="connsiteX917" fmla="*/ 119718 w 218720"/>
                <a:gd name="connsiteY917" fmla="*/ 53071 h 359632"/>
                <a:gd name="connsiteX918" fmla="*/ 119956 w 218720"/>
                <a:gd name="connsiteY918" fmla="*/ 53309 h 359632"/>
                <a:gd name="connsiteX919" fmla="*/ 119746 w 218720"/>
                <a:gd name="connsiteY919" fmla="*/ 54377 h 359632"/>
                <a:gd name="connsiteX920" fmla="*/ 117848 w 218720"/>
                <a:gd name="connsiteY920" fmla="*/ 55188 h 359632"/>
                <a:gd name="connsiteX921" fmla="*/ 117038 w 218720"/>
                <a:gd name="connsiteY921" fmla="*/ 54517 h 359632"/>
                <a:gd name="connsiteX922" fmla="*/ 116827 w 218720"/>
                <a:gd name="connsiteY922" fmla="*/ 52416 h 359632"/>
                <a:gd name="connsiteX923" fmla="*/ 114564 w 218720"/>
                <a:gd name="connsiteY923" fmla="*/ 51516 h 359632"/>
                <a:gd name="connsiteX924" fmla="*/ 113464 w 218720"/>
                <a:gd name="connsiteY924" fmla="*/ 50957 h 359632"/>
                <a:gd name="connsiteX925" fmla="*/ 112612 w 218720"/>
                <a:gd name="connsiteY925" fmla="*/ 49897 h 359632"/>
                <a:gd name="connsiteX926" fmla="*/ 112829 w 218720"/>
                <a:gd name="connsiteY926" fmla="*/ 49572 h 359632"/>
                <a:gd name="connsiteX927" fmla="*/ 149939 w 218720"/>
                <a:gd name="connsiteY927" fmla="*/ 7430 h 359632"/>
                <a:gd name="connsiteX928" fmla="*/ 151315 w 218720"/>
                <a:gd name="connsiteY928" fmla="*/ 7494 h 359632"/>
                <a:gd name="connsiteX929" fmla="*/ 151174 w 218720"/>
                <a:gd name="connsiteY929" fmla="*/ 9833 h 359632"/>
                <a:gd name="connsiteX930" fmla="*/ 151632 w 218720"/>
                <a:gd name="connsiteY930" fmla="*/ 12180 h 359632"/>
                <a:gd name="connsiteX931" fmla="*/ 152774 w 218720"/>
                <a:gd name="connsiteY931" fmla="*/ 11572 h 359632"/>
                <a:gd name="connsiteX932" fmla="*/ 154498 w 218720"/>
                <a:gd name="connsiteY932" fmla="*/ 13821 h 359632"/>
                <a:gd name="connsiteX933" fmla="*/ 155378 w 218720"/>
                <a:gd name="connsiteY933" fmla="*/ 13824 h 359632"/>
                <a:gd name="connsiteX934" fmla="*/ 156827 w 218720"/>
                <a:gd name="connsiteY934" fmla="*/ 12931 h 359632"/>
                <a:gd name="connsiteX935" fmla="*/ 156535 w 218720"/>
                <a:gd name="connsiteY935" fmla="*/ 15023 h 359632"/>
                <a:gd name="connsiteX936" fmla="*/ 155031 w 218720"/>
                <a:gd name="connsiteY936" fmla="*/ 20819 h 359632"/>
                <a:gd name="connsiteX937" fmla="*/ 154608 w 218720"/>
                <a:gd name="connsiteY937" fmla="*/ 21802 h 359632"/>
                <a:gd name="connsiteX938" fmla="*/ 154322 w 218720"/>
                <a:gd name="connsiteY938" fmla="*/ 23560 h 359632"/>
                <a:gd name="connsiteX939" fmla="*/ 154023 w 218720"/>
                <a:gd name="connsiteY939" fmla="*/ 23902 h 359632"/>
                <a:gd name="connsiteX940" fmla="*/ 153579 w 218720"/>
                <a:gd name="connsiteY940" fmla="*/ 27452 h 359632"/>
                <a:gd name="connsiteX941" fmla="*/ 152562 w 218720"/>
                <a:gd name="connsiteY941" fmla="*/ 28620 h 359632"/>
                <a:gd name="connsiteX942" fmla="*/ 151712 w 218720"/>
                <a:gd name="connsiteY942" fmla="*/ 31404 h 359632"/>
                <a:gd name="connsiteX943" fmla="*/ 151365 w 218720"/>
                <a:gd name="connsiteY943" fmla="*/ 31676 h 359632"/>
                <a:gd name="connsiteX944" fmla="*/ 150118 w 218720"/>
                <a:gd name="connsiteY944" fmla="*/ 30605 h 359632"/>
                <a:gd name="connsiteX945" fmla="*/ 151364 w 218720"/>
                <a:gd name="connsiteY945" fmla="*/ 26353 h 359632"/>
                <a:gd name="connsiteX946" fmla="*/ 151880 w 218720"/>
                <a:gd name="connsiteY946" fmla="*/ 23878 h 359632"/>
                <a:gd name="connsiteX947" fmla="*/ 151554 w 218720"/>
                <a:gd name="connsiteY947" fmla="*/ 22593 h 359632"/>
                <a:gd name="connsiteX948" fmla="*/ 150849 w 218720"/>
                <a:gd name="connsiteY948" fmla="*/ 21436 h 359632"/>
                <a:gd name="connsiteX949" fmla="*/ 148942 w 218720"/>
                <a:gd name="connsiteY949" fmla="*/ 21399 h 359632"/>
                <a:gd name="connsiteX950" fmla="*/ 147340 w 218720"/>
                <a:gd name="connsiteY950" fmla="*/ 21933 h 359632"/>
                <a:gd name="connsiteX951" fmla="*/ 147000 w 218720"/>
                <a:gd name="connsiteY951" fmla="*/ 21250 h 359632"/>
                <a:gd name="connsiteX952" fmla="*/ 146950 w 218720"/>
                <a:gd name="connsiteY952" fmla="*/ 20329 h 359632"/>
                <a:gd name="connsiteX953" fmla="*/ 146564 w 218720"/>
                <a:gd name="connsiteY953" fmla="*/ 20023 h 359632"/>
                <a:gd name="connsiteX954" fmla="*/ 144431 w 218720"/>
                <a:gd name="connsiteY954" fmla="*/ 20086 h 359632"/>
                <a:gd name="connsiteX955" fmla="*/ 143805 w 218720"/>
                <a:gd name="connsiteY955" fmla="*/ 19832 h 359632"/>
                <a:gd name="connsiteX956" fmla="*/ 143392 w 218720"/>
                <a:gd name="connsiteY956" fmla="*/ 18986 h 359632"/>
                <a:gd name="connsiteX957" fmla="*/ 143310 w 218720"/>
                <a:gd name="connsiteY957" fmla="*/ 18314 h 359632"/>
                <a:gd name="connsiteX958" fmla="*/ 145236 w 218720"/>
                <a:gd name="connsiteY958" fmla="*/ 17787 h 359632"/>
                <a:gd name="connsiteX959" fmla="*/ 147054 w 218720"/>
                <a:gd name="connsiteY959" fmla="*/ 17983 h 359632"/>
                <a:gd name="connsiteX960" fmla="*/ 149703 w 218720"/>
                <a:gd name="connsiteY960" fmla="*/ 16640 h 359632"/>
                <a:gd name="connsiteX961" fmla="*/ 148046 w 218720"/>
                <a:gd name="connsiteY961" fmla="*/ 12130 h 359632"/>
                <a:gd name="connsiteX962" fmla="*/ 145851 w 218720"/>
                <a:gd name="connsiteY962" fmla="*/ 11705 h 359632"/>
                <a:gd name="connsiteX963" fmla="*/ 145344 w 218720"/>
                <a:gd name="connsiteY963" fmla="*/ 11268 h 359632"/>
                <a:gd name="connsiteX964" fmla="*/ 145767 w 218720"/>
                <a:gd name="connsiteY964" fmla="*/ 10502 h 359632"/>
                <a:gd name="connsiteX965" fmla="*/ 146972 w 218720"/>
                <a:gd name="connsiteY965" fmla="*/ 10089 h 359632"/>
                <a:gd name="connsiteX966" fmla="*/ 148828 w 218720"/>
                <a:gd name="connsiteY966" fmla="*/ 7792 h 359632"/>
                <a:gd name="connsiteX967" fmla="*/ 155924 w 218720"/>
                <a:gd name="connsiteY967" fmla="*/ 3736 h 359632"/>
                <a:gd name="connsiteX968" fmla="*/ 157863 w 218720"/>
                <a:gd name="connsiteY968" fmla="*/ 3860 h 359632"/>
                <a:gd name="connsiteX969" fmla="*/ 158171 w 218720"/>
                <a:gd name="connsiteY969" fmla="*/ 4878 h 359632"/>
                <a:gd name="connsiteX970" fmla="*/ 157979 w 218720"/>
                <a:gd name="connsiteY970" fmla="*/ 5814 h 359632"/>
                <a:gd name="connsiteX971" fmla="*/ 156991 w 218720"/>
                <a:gd name="connsiteY971" fmla="*/ 5897 h 359632"/>
                <a:gd name="connsiteX972" fmla="*/ 156903 w 218720"/>
                <a:gd name="connsiteY972" fmla="*/ 6184 h 359632"/>
                <a:gd name="connsiteX973" fmla="*/ 157211 w 218720"/>
                <a:gd name="connsiteY973" fmla="*/ 7986 h 359632"/>
                <a:gd name="connsiteX974" fmla="*/ 157230 w 218720"/>
                <a:gd name="connsiteY974" fmla="*/ 10077 h 359632"/>
                <a:gd name="connsiteX975" fmla="*/ 157046 w 218720"/>
                <a:gd name="connsiteY975" fmla="*/ 10621 h 359632"/>
                <a:gd name="connsiteX976" fmla="*/ 156486 w 218720"/>
                <a:gd name="connsiteY976" fmla="*/ 11006 h 359632"/>
                <a:gd name="connsiteX977" fmla="*/ 154327 w 218720"/>
                <a:gd name="connsiteY977" fmla="*/ 7619 h 359632"/>
                <a:gd name="connsiteX978" fmla="*/ 161891 w 218720"/>
                <a:gd name="connsiteY978" fmla="*/ 0 h 359632"/>
                <a:gd name="connsiteX979" fmla="*/ 162369 w 218720"/>
                <a:gd name="connsiteY979" fmla="*/ 21 h 359632"/>
                <a:gd name="connsiteX980" fmla="*/ 162978 w 218720"/>
                <a:gd name="connsiteY980" fmla="*/ 667 h 359632"/>
                <a:gd name="connsiteX981" fmla="*/ 162977 w 218720"/>
                <a:gd name="connsiteY981" fmla="*/ 1051 h 359632"/>
                <a:gd name="connsiteX982" fmla="*/ 161831 w 218720"/>
                <a:gd name="connsiteY982" fmla="*/ 3871 h 359632"/>
                <a:gd name="connsiteX983" fmla="*/ 161846 w 218720"/>
                <a:gd name="connsiteY983" fmla="*/ 4948 h 359632"/>
                <a:gd name="connsiteX984" fmla="*/ 159996 w 218720"/>
                <a:gd name="connsiteY984" fmla="*/ 4845 h 359632"/>
                <a:gd name="connsiteX985" fmla="*/ 159706 w 218720"/>
                <a:gd name="connsiteY985" fmla="*/ 4502 h 359632"/>
                <a:gd name="connsiteX986" fmla="*/ 159356 w 218720"/>
                <a:gd name="connsiteY986" fmla="*/ 2885 h 359632"/>
                <a:gd name="connsiteX987" fmla="*/ 159589 w 218720"/>
                <a:gd name="connsiteY987" fmla="*/ 1162 h 359632"/>
                <a:gd name="connsiteX988" fmla="*/ 159848 w 218720"/>
                <a:gd name="connsiteY988" fmla="*/ 718 h 359632"/>
                <a:gd name="connsiteX989" fmla="*/ 160388 w 218720"/>
                <a:gd name="connsiteY989" fmla="*/ 535 h 359632"/>
                <a:gd name="connsiteX990" fmla="*/ 160973 w 218720"/>
                <a:gd name="connsiteY990" fmla="*/ 873 h 359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Lst>
              <a:rect l="l" t="t" r="r" b="b"/>
              <a:pathLst>
                <a:path w="218720" h="359632">
                  <a:moveTo>
                    <a:pt x="130999" y="356870"/>
                  </a:moveTo>
                  <a:lnTo>
                    <a:pt x="134057" y="357184"/>
                  </a:lnTo>
                  <a:lnTo>
                    <a:pt x="135462" y="357875"/>
                  </a:lnTo>
                  <a:lnTo>
                    <a:pt x="135656" y="359317"/>
                  </a:lnTo>
                  <a:lnTo>
                    <a:pt x="134686" y="359632"/>
                  </a:lnTo>
                  <a:lnTo>
                    <a:pt x="133862" y="359129"/>
                  </a:lnTo>
                  <a:lnTo>
                    <a:pt x="132211" y="359129"/>
                  </a:lnTo>
                  <a:lnTo>
                    <a:pt x="130660" y="359444"/>
                  </a:lnTo>
                  <a:close/>
                  <a:moveTo>
                    <a:pt x="123886" y="349985"/>
                  </a:moveTo>
                  <a:lnTo>
                    <a:pt x="124356" y="349993"/>
                  </a:lnTo>
                  <a:lnTo>
                    <a:pt x="124547" y="350331"/>
                  </a:lnTo>
                  <a:lnTo>
                    <a:pt x="123771" y="352219"/>
                  </a:lnTo>
                  <a:lnTo>
                    <a:pt x="121745" y="351582"/>
                  </a:lnTo>
                  <a:lnTo>
                    <a:pt x="121587" y="351086"/>
                  </a:lnTo>
                  <a:close/>
                  <a:moveTo>
                    <a:pt x="151070" y="313354"/>
                  </a:moveTo>
                  <a:lnTo>
                    <a:pt x="154798" y="314483"/>
                  </a:lnTo>
                  <a:lnTo>
                    <a:pt x="156537" y="315778"/>
                  </a:lnTo>
                  <a:lnTo>
                    <a:pt x="154684" y="316783"/>
                  </a:lnTo>
                  <a:lnTo>
                    <a:pt x="154099" y="317960"/>
                  </a:lnTo>
                  <a:lnTo>
                    <a:pt x="153651" y="318425"/>
                  </a:lnTo>
                  <a:lnTo>
                    <a:pt x="152426" y="318728"/>
                  </a:lnTo>
                  <a:lnTo>
                    <a:pt x="151214" y="318736"/>
                  </a:lnTo>
                  <a:lnTo>
                    <a:pt x="146592" y="316373"/>
                  </a:lnTo>
                  <a:lnTo>
                    <a:pt x="145528" y="316480"/>
                  </a:lnTo>
                  <a:lnTo>
                    <a:pt x="146584" y="315397"/>
                  </a:lnTo>
                  <a:lnTo>
                    <a:pt x="149455" y="314517"/>
                  </a:lnTo>
                  <a:close/>
                  <a:moveTo>
                    <a:pt x="81441" y="235014"/>
                  </a:moveTo>
                  <a:lnTo>
                    <a:pt x="84683" y="235075"/>
                  </a:lnTo>
                  <a:lnTo>
                    <a:pt x="87299" y="237958"/>
                  </a:lnTo>
                  <a:lnTo>
                    <a:pt x="88226" y="238517"/>
                  </a:lnTo>
                  <a:lnTo>
                    <a:pt x="90559" y="238429"/>
                  </a:lnTo>
                  <a:lnTo>
                    <a:pt x="89787" y="239675"/>
                  </a:lnTo>
                  <a:lnTo>
                    <a:pt x="87220" y="241064"/>
                  </a:lnTo>
                  <a:lnTo>
                    <a:pt x="85490" y="242434"/>
                  </a:lnTo>
                  <a:lnTo>
                    <a:pt x="83402" y="243581"/>
                  </a:lnTo>
                  <a:lnTo>
                    <a:pt x="82389" y="242265"/>
                  </a:lnTo>
                  <a:lnTo>
                    <a:pt x="81214" y="242315"/>
                  </a:lnTo>
                  <a:lnTo>
                    <a:pt x="79418" y="239791"/>
                  </a:lnTo>
                  <a:lnTo>
                    <a:pt x="79094" y="236001"/>
                  </a:lnTo>
                  <a:close/>
                  <a:moveTo>
                    <a:pt x="82259" y="205081"/>
                  </a:moveTo>
                  <a:lnTo>
                    <a:pt x="82904" y="205211"/>
                  </a:lnTo>
                  <a:lnTo>
                    <a:pt x="83310" y="205526"/>
                  </a:lnTo>
                  <a:lnTo>
                    <a:pt x="84177" y="209288"/>
                  </a:lnTo>
                  <a:lnTo>
                    <a:pt x="82976" y="210618"/>
                  </a:lnTo>
                  <a:lnTo>
                    <a:pt x="82539" y="211836"/>
                  </a:lnTo>
                  <a:lnTo>
                    <a:pt x="78068" y="215684"/>
                  </a:lnTo>
                  <a:lnTo>
                    <a:pt x="76259" y="214993"/>
                  </a:lnTo>
                  <a:lnTo>
                    <a:pt x="74718" y="215358"/>
                  </a:lnTo>
                  <a:lnTo>
                    <a:pt x="74285" y="215248"/>
                  </a:lnTo>
                  <a:lnTo>
                    <a:pt x="75165" y="213859"/>
                  </a:lnTo>
                  <a:lnTo>
                    <a:pt x="76200" y="210633"/>
                  </a:lnTo>
                  <a:lnTo>
                    <a:pt x="78055" y="209353"/>
                  </a:lnTo>
                  <a:lnTo>
                    <a:pt x="80403" y="206010"/>
                  </a:lnTo>
                  <a:close/>
                  <a:moveTo>
                    <a:pt x="39128" y="179485"/>
                  </a:moveTo>
                  <a:lnTo>
                    <a:pt x="42247" y="180254"/>
                  </a:lnTo>
                  <a:lnTo>
                    <a:pt x="44571" y="180238"/>
                  </a:lnTo>
                  <a:lnTo>
                    <a:pt x="46635" y="182483"/>
                  </a:lnTo>
                  <a:lnTo>
                    <a:pt x="47742" y="186017"/>
                  </a:lnTo>
                  <a:lnTo>
                    <a:pt x="50319" y="189504"/>
                  </a:lnTo>
                  <a:lnTo>
                    <a:pt x="53688" y="192534"/>
                  </a:lnTo>
                  <a:lnTo>
                    <a:pt x="53822" y="194385"/>
                  </a:lnTo>
                  <a:lnTo>
                    <a:pt x="52619" y="195378"/>
                  </a:lnTo>
                  <a:lnTo>
                    <a:pt x="50100" y="196612"/>
                  </a:lnTo>
                  <a:lnTo>
                    <a:pt x="50111" y="197930"/>
                  </a:lnTo>
                  <a:lnTo>
                    <a:pt x="51772" y="197265"/>
                  </a:lnTo>
                  <a:lnTo>
                    <a:pt x="53206" y="196958"/>
                  </a:lnTo>
                  <a:lnTo>
                    <a:pt x="56658" y="197253"/>
                  </a:lnTo>
                  <a:lnTo>
                    <a:pt x="57865" y="198593"/>
                  </a:lnTo>
                  <a:lnTo>
                    <a:pt x="58699" y="200597"/>
                  </a:lnTo>
                  <a:lnTo>
                    <a:pt x="59137" y="202242"/>
                  </a:lnTo>
                  <a:lnTo>
                    <a:pt x="58839" y="204029"/>
                  </a:lnTo>
                  <a:lnTo>
                    <a:pt x="57910" y="203463"/>
                  </a:lnTo>
                  <a:lnTo>
                    <a:pt x="56966" y="201864"/>
                  </a:lnTo>
                  <a:lnTo>
                    <a:pt x="55918" y="201127"/>
                  </a:lnTo>
                  <a:lnTo>
                    <a:pt x="54699" y="200729"/>
                  </a:lnTo>
                  <a:lnTo>
                    <a:pt x="55252" y="202924"/>
                  </a:lnTo>
                  <a:lnTo>
                    <a:pt x="55034" y="205857"/>
                  </a:lnTo>
                  <a:lnTo>
                    <a:pt x="55566" y="206133"/>
                  </a:lnTo>
                  <a:lnTo>
                    <a:pt x="57204" y="206184"/>
                  </a:lnTo>
                  <a:lnTo>
                    <a:pt x="56121" y="209183"/>
                  </a:lnTo>
                  <a:lnTo>
                    <a:pt x="53882" y="209996"/>
                  </a:lnTo>
                  <a:lnTo>
                    <a:pt x="51270" y="210300"/>
                  </a:lnTo>
                  <a:lnTo>
                    <a:pt x="50640" y="211361"/>
                  </a:lnTo>
                  <a:lnTo>
                    <a:pt x="50166" y="212727"/>
                  </a:lnTo>
                  <a:lnTo>
                    <a:pt x="48803" y="214762"/>
                  </a:lnTo>
                  <a:lnTo>
                    <a:pt x="47005" y="215909"/>
                  </a:lnTo>
                  <a:lnTo>
                    <a:pt x="44783" y="215678"/>
                  </a:lnTo>
                  <a:lnTo>
                    <a:pt x="42606" y="214772"/>
                  </a:lnTo>
                  <a:lnTo>
                    <a:pt x="40712" y="214586"/>
                  </a:lnTo>
                  <a:lnTo>
                    <a:pt x="39385" y="215125"/>
                  </a:lnTo>
                  <a:lnTo>
                    <a:pt x="38524" y="215625"/>
                  </a:lnTo>
                  <a:lnTo>
                    <a:pt x="37691" y="215534"/>
                  </a:lnTo>
                  <a:lnTo>
                    <a:pt x="35306" y="215727"/>
                  </a:lnTo>
                  <a:lnTo>
                    <a:pt x="33058" y="215686"/>
                  </a:lnTo>
                  <a:lnTo>
                    <a:pt x="32739" y="214892"/>
                  </a:lnTo>
                  <a:lnTo>
                    <a:pt x="33122" y="212503"/>
                  </a:lnTo>
                  <a:lnTo>
                    <a:pt x="32622" y="211855"/>
                  </a:lnTo>
                  <a:lnTo>
                    <a:pt x="30475" y="211524"/>
                  </a:lnTo>
                  <a:lnTo>
                    <a:pt x="29679" y="210954"/>
                  </a:lnTo>
                  <a:lnTo>
                    <a:pt x="28446" y="209302"/>
                  </a:lnTo>
                  <a:lnTo>
                    <a:pt x="28206" y="208528"/>
                  </a:lnTo>
                  <a:lnTo>
                    <a:pt x="28029" y="207461"/>
                  </a:lnTo>
                  <a:lnTo>
                    <a:pt x="26726" y="206083"/>
                  </a:lnTo>
                  <a:lnTo>
                    <a:pt x="25144" y="205096"/>
                  </a:lnTo>
                  <a:lnTo>
                    <a:pt x="24215" y="205048"/>
                  </a:lnTo>
                  <a:lnTo>
                    <a:pt x="22362" y="206660"/>
                  </a:lnTo>
                  <a:lnTo>
                    <a:pt x="20834" y="208292"/>
                  </a:lnTo>
                  <a:lnTo>
                    <a:pt x="21377" y="209111"/>
                  </a:lnTo>
                  <a:lnTo>
                    <a:pt x="21876" y="210189"/>
                  </a:lnTo>
                  <a:lnTo>
                    <a:pt x="21045" y="210961"/>
                  </a:lnTo>
                  <a:lnTo>
                    <a:pt x="18532" y="212728"/>
                  </a:lnTo>
                  <a:lnTo>
                    <a:pt x="18139" y="213414"/>
                  </a:lnTo>
                  <a:lnTo>
                    <a:pt x="17461" y="213785"/>
                  </a:lnTo>
                  <a:lnTo>
                    <a:pt x="16261" y="213296"/>
                  </a:lnTo>
                  <a:lnTo>
                    <a:pt x="13276" y="213409"/>
                  </a:lnTo>
                  <a:lnTo>
                    <a:pt x="11902" y="213097"/>
                  </a:lnTo>
                  <a:lnTo>
                    <a:pt x="10305" y="211796"/>
                  </a:lnTo>
                  <a:lnTo>
                    <a:pt x="6410" y="210925"/>
                  </a:lnTo>
                  <a:lnTo>
                    <a:pt x="5757" y="208841"/>
                  </a:lnTo>
                  <a:lnTo>
                    <a:pt x="5005" y="208451"/>
                  </a:lnTo>
                  <a:lnTo>
                    <a:pt x="587" y="204865"/>
                  </a:lnTo>
                  <a:lnTo>
                    <a:pt x="0" y="203667"/>
                  </a:lnTo>
                  <a:lnTo>
                    <a:pt x="572" y="202952"/>
                  </a:lnTo>
                  <a:lnTo>
                    <a:pt x="2222" y="201868"/>
                  </a:lnTo>
                  <a:lnTo>
                    <a:pt x="7762" y="200072"/>
                  </a:lnTo>
                  <a:lnTo>
                    <a:pt x="8633" y="199348"/>
                  </a:lnTo>
                  <a:lnTo>
                    <a:pt x="8812" y="198709"/>
                  </a:lnTo>
                  <a:lnTo>
                    <a:pt x="7186" y="197979"/>
                  </a:lnTo>
                  <a:lnTo>
                    <a:pt x="5720" y="197172"/>
                  </a:lnTo>
                  <a:lnTo>
                    <a:pt x="5220" y="196643"/>
                  </a:lnTo>
                  <a:lnTo>
                    <a:pt x="5179" y="196184"/>
                  </a:lnTo>
                  <a:lnTo>
                    <a:pt x="6011" y="195586"/>
                  </a:lnTo>
                  <a:lnTo>
                    <a:pt x="7685" y="195543"/>
                  </a:lnTo>
                  <a:lnTo>
                    <a:pt x="9007" y="195813"/>
                  </a:lnTo>
                  <a:lnTo>
                    <a:pt x="10057" y="195275"/>
                  </a:lnTo>
                  <a:lnTo>
                    <a:pt x="11904" y="194734"/>
                  </a:lnTo>
                  <a:lnTo>
                    <a:pt x="13144" y="194052"/>
                  </a:lnTo>
                  <a:lnTo>
                    <a:pt x="14210" y="192290"/>
                  </a:lnTo>
                  <a:lnTo>
                    <a:pt x="15336" y="190705"/>
                  </a:lnTo>
                  <a:lnTo>
                    <a:pt x="15452" y="189845"/>
                  </a:lnTo>
                  <a:lnTo>
                    <a:pt x="16438" y="186828"/>
                  </a:lnTo>
                  <a:lnTo>
                    <a:pt x="16980" y="186079"/>
                  </a:lnTo>
                  <a:lnTo>
                    <a:pt x="20479" y="184101"/>
                  </a:lnTo>
                  <a:lnTo>
                    <a:pt x="21365" y="185181"/>
                  </a:lnTo>
                  <a:lnTo>
                    <a:pt x="23089" y="185445"/>
                  </a:lnTo>
                  <a:lnTo>
                    <a:pt x="24634" y="184451"/>
                  </a:lnTo>
                  <a:lnTo>
                    <a:pt x="26483" y="181313"/>
                  </a:lnTo>
                  <a:lnTo>
                    <a:pt x="27769" y="181116"/>
                  </a:lnTo>
                  <a:lnTo>
                    <a:pt x="29187" y="181370"/>
                  </a:lnTo>
                  <a:lnTo>
                    <a:pt x="31974" y="180975"/>
                  </a:lnTo>
                  <a:lnTo>
                    <a:pt x="36922" y="179509"/>
                  </a:lnTo>
                  <a:close/>
                  <a:moveTo>
                    <a:pt x="63975" y="164784"/>
                  </a:moveTo>
                  <a:lnTo>
                    <a:pt x="65438" y="165590"/>
                  </a:lnTo>
                  <a:lnTo>
                    <a:pt x="65992" y="166340"/>
                  </a:lnTo>
                  <a:lnTo>
                    <a:pt x="67217" y="169218"/>
                  </a:lnTo>
                  <a:lnTo>
                    <a:pt x="67444" y="171683"/>
                  </a:lnTo>
                  <a:lnTo>
                    <a:pt x="67207" y="173091"/>
                  </a:lnTo>
                  <a:lnTo>
                    <a:pt x="64420" y="173114"/>
                  </a:lnTo>
                  <a:lnTo>
                    <a:pt x="63412" y="172847"/>
                  </a:lnTo>
                  <a:lnTo>
                    <a:pt x="62208" y="172095"/>
                  </a:lnTo>
                  <a:lnTo>
                    <a:pt x="60856" y="167842"/>
                  </a:lnTo>
                  <a:lnTo>
                    <a:pt x="61339" y="166336"/>
                  </a:lnTo>
                  <a:lnTo>
                    <a:pt x="61894" y="165598"/>
                  </a:lnTo>
                  <a:lnTo>
                    <a:pt x="62504" y="165025"/>
                  </a:lnTo>
                  <a:close/>
                  <a:moveTo>
                    <a:pt x="44576" y="158143"/>
                  </a:moveTo>
                  <a:lnTo>
                    <a:pt x="45374" y="162138"/>
                  </a:lnTo>
                  <a:lnTo>
                    <a:pt x="46152" y="164611"/>
                  </a:lnTo>
                  <a:lnTo>
                    <a:pt x="46203" y="165455"/>
                  </a:lnTo>
                  <a:lnTo>
                    <a:pt x="45472" y="166628"/>
                  </a:lnTo>
                  <a:lnTo>
                    <a:pt x="41828" y="168187"/>
                  </a:lnTo>
                  <a:lnTo>
                    <a:pt x="40681" y="168196"/>
                  </a:lnTo>
                  <a:lnTo>
                    <a:pt x="40633" y="167818"/>
                  </a:lnTo>
                  <a:lnTo>
                    <a:pt x="41456" y="166231"/>
                  </a:lnTo>
                  <a:lnTo>
                    <a:pt x="40747" y="164429"/>
                  </a:lnTo>
                  <a:lnTo>
                    <a:pt x="41093" y="163059"/>
                  </a:lnTo>
                  <a:lnTo>
                    <a:pt x="40754" y="162807"/>
                  </a:lnTo>
                  <a:lnTo>
                    <a:pt x="40043" y="163001"/>
                  </a:lnTo>
                  <a:lnTo>
                    <a:pt x="37433" y="165178"/>
                  </a:lnTo>
                  <a:lnTo>
                    <a:pt x="36561" y="165393"/>
                  </a:lnTo>
                  <a:lnTo>
                    <a:pt x="36466" y="164951"/>
                  </a:lnTo>
                  <a:lnTo>
                    <a:pt x="37112" y="163168"/>
                  </a:lnTo>
                  <a:lnTo>
                    <a:pt x="37192" y="161948"/>
                  </a:lnTo>
                  <a:lnTo>
                    <a:pt x="37581" y="161198"/>
                  </a:lnTo>
                  <a:lnTo>
                    <a:pt x="38290" y="160506"/>
                  </a:lnTo>
                  <a:lnTo>
                    <a:pt x="39135" y="159986"/>
                  </a:lnTo>
                  <a:lnTo>
                    <a:pt x="39817" y="159912"/>
                  </a:lnTo>
                  <a:lnTo>
                    <a:pt x="40543" y="160448"/>
                  </a:lnTo>
                  <a:lnTo>
                    <a:pt x="42657" y="158952"/>
                  </a:lnTo>
                  <a:close/>
                  <a:moveTo>
                    <a:pt x="52683" y="152228"/>
                  </a:moveTo>
                  <a:lnTo>
                    <a:pt x="53504" y="152283"/>
                  </a:lnTo>
                  <a:lnTo>
                    <a:pt x="51910" y="155806"/>
                  </a:lnTo>
                  <a:lnTo>
                    <a:pt x="48088" y="161752"/>
                  </a:lnTo>
                  <a:lnTo>
                    <a:pt x="47627" y="162086"/>
                  </a:lnTo>
                  <a:lnTo>
                    <a:pt x="46507" y="161994"/>
                  </a:lnTo>
                  <a:lnTo>
                    <a:pt x="46092" y="161493"/>
                  </a:lnTo>
                  <a:lnTo>
                    <a:pt x="45863" y="160723"/>
                  </a:lnTo>
                  <a:lnTo>
                    <a:pt x="45835" y="159309"/>
                  </a:lnTo>
                  <a:lnTo>
                    <a:pt x="46513" y="158297"/>
                  </a:lnTo>
                  <a:lnTo>
                    <a:pt x="49377" y="156767"/>
                  </a:lnTo>
                  <a:lnTo>
                    <a:pt x="48083" y="156224"/>
                  </a:lnTo>
                  <a:lnTo>
                    <a:pt x="48031" y="155842"/>
                  </a:lnTo>
                  <a:lnTo>
                    <a:pt x="48774" y="154570"/>
                  </a:lnTo>
                  <a:lnTo>
                    <a:pt x="51857" y="152588"/>
                  </a:lnTo>
                  <a:close/>
                  <a:moveTo>
                    <a:pt x="44369" y="135637"/>
                  </a:moveTo>
                  <a:lnTo>
                    <a:pt x="45155" y="135769"/>
                  </a:lnTo>
                  <a:lnTo>
                    <a:pt x="46772" y="136896"/>
                  </a:lnTo>
                  <a:lnTo>
                    <a:pt x="48605" y="139261"/>
                  </a:lnTo>
                  <a:lnTo>
                    <a:pt x="51052" y="139637"/>
                  </a:lnTo>
                  <a:lnTo>
                    <a:pt x="52715" y="140638"/>
                  </a:lnTo>
                  <a:lnTo>
                    <a:pt x="52338" y="145224"/>
                  </a:lnTo>
                  <a:lnTo>
                    <a:pt x="43531" y="146965"/>
                  </a:lnTo>
                  <a:lnTo>
                    <a:pt x="40496" y="146811"/>
                  </a:lnTo>
                  <a:lnTo>
                    <a:pt x="40222" y="145957"/>
                  </a:lnTo>
                  <a:lnTo>
                    <a:pt x="40826" y="145386"/>
                  </a:lnTo>
                  <a:lnTo>
                    <a:pt x="43339" y="144831"/>
                  </a:lnTo>
                  <a:lnTo>
                    <a:pt x="44356" y="140639"/>
                  </a:lnTo>
                  <a:lnTo>
                    <a:pt x="40557" y="138708"/>
                  </a:lnTo>
                  <a:lnTo>
                    <a:pt x="40358" y="138165"/>
                  </a:lnTo>
                  <a:lnTo>
                    <a:pt x="40655" y="137243"/>
                  </a:lnTo>
                  <a:lnTo>
                    <a:pt x="41095" y="136832"/>
                  </a:lnTo>
                  <a:lnTo>
                    <a:pt x="43400" y="135854"/>
                  </a:lnTo>
                  <a:close/>
                  <a:moveTo>
                    <a:pt x="36236" y="134929"/>
                  </a:moveTo>
                  <a:lnTo>
                    <a:pt x="36731" y="135137"/>
                  </a:lnTo>
                  <a:lnTo>
                    <a:pt x="35705" y="136368"/>
                  </a:lnTo>
                  <a:lnTo>
                    <a:pt x="33991" y="137675"/>
                  </a:lnTo>
                  <a:lnTo>
                    <a:pt x="32734" y="137850"/>
                  </a:lnTo>
                  <a:lnTo>
                    <a:pt x="32643" y="137405"/>
                  </a:lnTo>
                  <a:lnTo>
                    <a:pt x="34824" y="135279"/>
                  </a:lnTo>
                  <a:close/>
                  <a:moveTo>
                    <a:pt x="15243" y="124000"/>
                  </a:moveTo>
                  <a:lnTo>
                    <a:pt x="16322" y="124589"/>
                  </a:lnTo>
                  <a:lnTo>
                    <a:pt x="16493" y="125125"/>
                  </a:lnTo>
                  <a:lnTo>
                    <a:pt x="16096" y="125691"/>
                  </a:lnTo>
                  <a:lnTo>
                    <a:pt x="14152" y="126126"/>
                  </a:lnTo>
                  <a:lnTo>
                    <a:pt x="13431" y="125871"/>
                  </a:lnTo>
                  <a:lnTo>
                    <a:pt x="13308" y="125472"/>
                  </a:lnTo>
                  <a:lnTo>
                    <a:pt x="13751" y="124384"/>
                  </a:lnTo>
                  <a:close/>
                  <a:moveTo>
                    <a:pt x="40298" y="123001"/>
                  </a:moveTo>
                  <a:lnTo>
                    <a:pt x="41274" y="123606"/>
                  </a:lnTo>
                  <a:lnTo>
                    <a:pt x="41649" y="124298"/>
                  </a:lnTo>
                  <a:lnTo>
                    <a:pt x="41665" y="125065"/>
                  </a:lnTo>
                  <a:lnTo>
                    <a:pt x="41256" y="125714"/>
                  </a:lnTo>
                  <a:lnTo>
                    <a:pt x="40600" y="126121"/>
                  </a:lnTo>
                  <a:lnTo>
                    <a:pt x="39770" y="126043"/>
                  </a:lnTo>
                  <a:lnTo>
                    <a:pt x="38948" y="125518"/>
                  </a:lnTo>
                  <a:lnTo>
                    <a:pt x="37860" y="124032"/>
                  </a:lnTo>
                  <a:close/>
                  <a:moveTo>
                    <a:pt x="18761" y="112439"/>
                  </a:moveTo>
                  <a:lnTo>
                    <a:pt x="19407" y="112818"/>
                  </a:lnTo>
                  <a:lnTo>
                    <a:pt x="19840" y="120602"/>
                  </a:lnTo>
                  <a:lnTo>
                    <a:pt x="19790" y="120951"/>
                  </a:lnTo>
                  <a:lnTo>
                    <a:pt x="18857" y="121127"/>
                  </a:lnTo>
                  <a:lnTo>
                    <a:pt x="17632" y="120957"/>
                  </a:lnTo>
                  <a:lnTo>
                    <a:pt x="16879" y="120465"/>
                  </a:lnTo>
                  <a:lnTo>
                    <a:pt x="16117" y="118518"/>
                  </a:lnTo>
                  <a:lnTo>
                    <a:pt x="15975" y="117339"/>
                  </a:lnTo>
                  <a:lnTo>
                    <a:pt x="16314" y="115145"/>
                  </a:lnTo>
                  <a:lnTo>
                    <a:pt x="16236" y="112521"/>
                  </a:lnTo>
                  <a:close/>
                  <a:moveTo>
                    <a:pt x="40661" y="103259"/>
                  </a:moveTo>
                  <a:lnTo>
                    <a:pt x="41966" y="103921"/>
                  </a:lnTo>
                  <a:lnTo>
                    <a:pt x="43754" y="106023"/>
                  </a:lnTo>
                  <a:lnTo>
                    <a:pt x="44226" y="108582"/>
                  </a:lnTo>
                  <a:lnTo>
                    <a:pt x="44195" y="109988"/>
                  </a:lnTo>
                  <a:lnTo>
                    <a:pt x="43805" y="111640"/>
                  </a:lnTo>
                  <a:lnTo>
                    <a:pt x="44313" y="113393"/>
                  </a:lnTo>
                  <a:lnTo>
                    <a:pt x="44429" y="114645"/>
                  </a:lnTo>
                  <a:lnTo>
                    <a:pt x="45361" y="115043"/>
                  </a:lnTo>
                  <a:lnTo>
                    <a:pt x="45931" y="115619"/>
                  </a:lnTo>
                  <a:lnTo>
                    <a:pt x="50074" y="116264"/>
                  </a:lnTo>
                  <a:lnTo>
                    <a:pt x="53927" y="116083"/>
                  </a:lnTo>
                  <a:lnTo>
                    <a:pt x="54669" y="116598"/>
                  </a:lnTo>
                  <a:lnTo>
                    <a:pt x="54753" y="117416"/>
                  </a:lnTo>
                  <a:lnTo>
                    <a:pt x="54144" y="118318"/>
                  </a:lnTo>
                  <a:lnTo>
                    <a:pt x="51950" y="119963"/>
                  </a:lnTo>
                  <a:lnTo>
                    <a:pt x="49333" y="122618"/>
                  </a:lnTo>
                  <a:lnTo>
                    <a:pt x="48553" y="123171"/>
                  </a:lnTo>
                  <a:lnTo>
                    <a:pt x="47707" y="123194"/>
                  </a:lnTo>
                  <a:lnTo>
                    <a:pt x="47100" y="122956"/>
                  </a:lnTo>
                  <a:lnTo>
                    <a:pt x="46666" y="118230"/>
                  </a:lnTo>
                  <a:lnTo>
                    <a:pt x="43828" y="118835"/>
                  </a:lnTo>
                  <a:lnTo>
                    <a:pt x="41542" y="118766"/>
                  </a:lnTo>
                  <a:lnTo>
                    <a:pt x="40291" y="118190"/>
                  </a:lnTo>
                  <a:lnTo>
                    <a:pt x="39413" y="117080"/>
                  </a:lnTo>
                  <a:lnTo>
                    <a:pt x="37643" y="114224"/>
                  </a:lnTo>
                  <a:lnTo>
                    <a:pt x="32491" y="113100"/>
                  </a:lnTo>
                  <a:lnTo>
                    <a:pt x="31034" y="111525"/>
                  </a:lnTo>
                  <a:lnTo>
                    <a:pt x="30596" y="110573"/>
                  </a:lnTo>
                  <a:lnTo>
                    <a:pt x="30782" y="110047"/>
                  </a:lnTo>
                  <a:lnTo>
                    <a:pt x="31855" y="108875"/>
                  </a:lnTo>
                  <a:lnTo>
                    <a:pt x="33198" y="109293"/>
                  </a:lnTo>
                  <a:lnTo>
                    <a:pt x="34029" y="109037"/>
                  </a:lnTo>
                  <a:lnTo>
                    <a:pt x="34535" y="108513"/>
                  </a:lnTo>
                  <a:lnTo>
                    <a:pt x="34524" y="108083"/>
                  </a:lnTo>
                  <a:lnTo>
                    <a:pt x="33821" y="107061"/>
                  </a:lnTo>
                  <a:lnTo>
                    <a:pt x="33788" y="106743"/>
                  </a:lnTo>
                  <a:lnTo>
                    <a:pt x="39057" y="105449"/>
                  </a:lnTo>
                  <a:lnTo>
                    <a:pt x="39517" y="103424"/>
                  </a:lnTo>
                  <a:close/>
                  <a:moveTo>
                    <a:pt x="20769" y="102908"/>
                  </a:moveTo>
                  <a:lnTo>
                    <a:pt x="23263" y="104705"/>
                  </a:lnTo>
                  <a:lnTo>
                    <a:pt x="21276" y="107680"/>
                  </a:lnTo>
                  <a:lnTo>
                    <a:pt x="18226" y="107666"/>
                  </a:lnTo>
                  <a:lnTo>
                    <a:pt x="13932" y="105492"/>
                  </a:lnTo>
                  <a:lnTo>
                    <a:pt x="13913" y="105049"/>
                  </a:lnTo>
                  <a:lnTo>
                    <a:pt x="14271" y="104396"/>
                  </a:lnTo>
                  <a:lnTo>
                    <a:pt x="14915" y="103879"/>
                  </a:lnTo>
                  <a:lnTo>
                    <a:pt x="15584" y="103756"/>
                  </a:lnTo>
                  <a:lnTo>
                    <a:pt x="16649" y="104113"/>
                  </a:lnTo>
                  <a:lnTo>
                    <a:pt x="18131" y="103541"/>
                  </a:lnTo>
                  <a:lnTo>
                    <a:pt x="19318" y="103722"/>
                  </a:lnTo>
                  <a:close/>
                  <a:moveTo>
                    <a:pt x="42176" y="76583"/>
                  </a:moveTo>
                  <a:lnTo>
                    <a:pt x="42574" y="77039"/>
                  </a:lnTo>
                  <a:lnTo>
                    <a:pt x="43131" y="78770"/>
                  </a:lnTo>
                  <a:lnTo>
                    <a:pt x="43033" y="81087"/>
                  </a:lnTo>
                  <a:lnTo>
                    <a:pt x="40222" y="86702"/>
                  </a:lnTo>
                  <a:lnTo>
                    <a:pt x="39121" y="86840"/>
                  </a:lnTo>
                  <a:lnTo>
                    <a:pt x="38155" y="88241"/>
                  </a:lnTo>
                  <a:lnTo>
                    <a:pt x="35163" y="89786"/>
                  </a:lnTo>
                  <a:lnTo>
                    <a:pt x="37774" y="89818"/>
                  </a:lnTo>
                  <a:lnTo>
                    <a:pt x="38507" y="90332"/>
                  </a:lnTo>
                  <a:lnTo>
                    <a:pt x="38528" y="91440"/>
                  </a:lnTo>
                  <a:lnTo>
                    <a:pt x="38025" y="92084"/>
                  </a:lnTo>
                  <a:lnTo>
                    <a:pt x="34643" y="94646"/>
                  </a:lnTo>
                  <a:lnTo>
                    <a:pt x="32317" y="95617"/>
                  </a:lnTo>
                  <a:lnTo>
                    <a:pt x="29812" y="98289"/>
                  </a:lnTo>
                  <a:lnTo>
                    <a:pt x="28548" y="98322"/>
                  </a:lnTo>
                  <a:lnTo>
                    <a:pt x="27296" y="100020"/>
                  </a:lnTo>
                  <a:lnTo>
                    <a:pt x="26266" y="100766"/>
                  </a:lnTo>
                  <a:lnTo>
                    <a:pt x="25688" y="100768"/>
                  </a:lnTo>
                  <a:lnTo>
                    <a:pt x="25023" y="100392"/>
                  </a:lnTo>
                  <a:lnTo>
                    <a:pt x="23469" y="98730"/>
                  </a:lnTo>
                  <a:lnTo>
                    <a:pt x="26288" y="97094"/>
                  </a:lnTo>
                  <a:lnTo>
                    <a:pt x="26549" y="96174"/>
                  </a:lnTo>
                  <a:lnTo>
                    <a:pt x="28480" y="95217"/>
                  </a:lnTo>
                  <a:lnTo>
                    <a:pt x="28318" y="94918"/>
                  </a:lnTo>
                  <a:lnTo>
                    <a:pt x="25258" y="93571"/>
                  </a:lnTo>
                  <a:lnTo>
                    <a:pt x="24052" y="92664"/>
                  </a:lnTo>
                  <a:lnTo>
                    <a:pt x="24166" y="92190"/>
                  </a:lnTo>
                  <a:lnTo>
                    <a:pt x="25639" y="91147"/>
                  </a:lnTo>
                  <a:lnTo>
                    <a:pt x="24941" y="91009"/>
                  </a:lnTo>
                  <a:lnTo>
                    <a:pt x="24469" y="90446"/>
                  </a:lnTo>
                  <a:lnTo>
                    <a:pt x="23614" y="90232"/>
                  </a:lnTo>
                  <a:lnTo>
                    <a:pt x="23358" y="89707"/>
                  </a:lnTo>
                  <a:lnTo>
                    <a:pt x="23200" y="88328"/>
                  </a:lnTo>
                  <a:lnTo>
                    <a:pt x="23429" y="86917"/>
                  </a:lnTo>
                  <a:lnTo>
                    <a:pt x="24321" y="86294"/>
                  </a:lnTo>
                  <a:lnTo>
                    <a:pt x="24686" y="85626"/>
                  </a:lnTo>
                  <a:lnTo>
                    <a:pt x="25047" y="85421"/>
                  </a:lnTo>
                  <a:lnTo>
                    <a:pt x="26429" y="85776"/>
                  </a:lnTo>
                  <a:lnTo>
                    <a:pt x="27830" y="86905"/>
                  </a:lnTo>
                  <a:lnTo>
                    <a:pt x="29465" y="86470"/>
                  </a:lnTo>
                  <a:lnTo>
                    <a:pt x="31363" y="86685"/>
                  </a:lnTo>
                  <a:lnTo>
                    <a:pt x="31402" y="86423"/>
                  </a:lnTo>
                  <a:lnTo>
                    <a:pt x="30008" y="83645"/>
                  </a:lnTo>
                  <a:lnTo>
                    <a:pt x="30257" y="83077"/>
                  </a:lnTo>
                  <a:lnTo>
                    <a:pt x="31013" y="82429"/>
                  </a:lnTo>
                  <a:lnTo>
                    <a:pt x="35393" y="80446"/>
                  </a:lnTo>
                  <a:lnTo>
                    <a:pt x="40855" y="77107"/>
                  </a:lnTo>
                  <a:close/>
                  <a:moveTo>
                    <a:pt x="108033" y="71824"/>
                  </a:moveTo>
                  <a:lnTo>
                    <a:pt x="112589" y="72316"/>
                  </a:lnTo>
                  <a:lnTo>
                    <a:pt x="112741" y="72940"/>
                  </a:lnTo>
                  <a:lnTo>
                    <a:pt x="112503" y="73806"/>
                  </a:lnTo>
                  <a:lnTo>
                    <a:pt x="111337" y="76175"/>
                  </a:lnTo>
                  <a:lnTo>
                    <a:pt x="111527" y="78816"/>
                  </a:lnTo>
                  <a:lnTo>
                    <a:pt x="111267" y="79616"/>
                  </a:lnTo>
                  <a:lnTo>
                    <a:pt x="110738" y="80602"/>
                  </a:lnTo>
                  <a:lnTo>
                    <a:pt x="109067" y="82442"/>
                  </a:lnTo>
                  <a:lnTo>
                    <a:pt x="104675" y="85069"/>
                  </a:lnTo>
                  <a:lnTo>
                    <a:pt x="96626" y="91095"/>
                  </a:lnTo>
                  <a:lnTo>
                    <a:pt x="91871" y="94080"/>
                  </a:lnTo>
                  <a:lnTo>
                    <a:pt x="91217" y="95514"/>
                  </a:lnTo>
                  <a:lnTo>
                    <a:pt x="90864" y="97507"/>
                  </a:lnTo>
                  <a:lnTo>
                    <a:pt x="93711" y="97902"/>
                  </a:lnTo>
                  <a:lnTo>
                    <a:pt x="94810" y="98577"/>
                  </a:lnTo>
                  <a:lnTo>
                    <a:pt x="94128" y="99588"/>
                  </a:lnTo>
                  <a:lnTo>
                    <a:pt x="89917" y="103097"/>
                  </a:lnTo>
                  <a:lnTo>
                    <a:pt x="88676" y="106264"/>
                  </a:lnTo>
                  <a:lnTo>
                    <a:pt x="91905" y="106152"/>
                  </a:lnTo>
                  <a:lnTo>
                    <a:pt x="94566" y="105544"/>
                  </a:lnTo>
                  <a:lnTo>
                    <a:pt x="99872" y="103569"/>
                  </a:lnTo>
                  <a:lnTo>
                    <a:pt x="104856" y="102101"/>
                  </a:lnTo>
                  <a:lnTo>
                    <a:pt x="107250" y="102040"/>
                  </a:lnTo>
                  <a:lnTo>
                    <a:pt x="111907" y="103211"/>
                  </a:lnTo>
                  <a:lnTo>
                    <a:pt x="112966" y="103248"/>
                  </a:lnTo>
                  <a:lnTo>
                    <a:pt x="114942" y="102707"/>
                  </a:lnTo>
                  <a:lnTo>
                    <a:pt x="116940" y="102611"/>
                  </a:lnTo>
                  <a:lnTo>
                    <a:pt x="130476" y="102975"/>
                  </a:lnTo>
                  <a:lnTo>
                    <a:pt x="134237" y="102288"/>
                  </a:lnTo>
                  <a:lnTo>
                    <a:pt x="136725" y="103110"/>
                  </a:lnTo>
                  <a:lnTo>
                    <a:pt x="138807" y="105161"/>
                  </a:lnTo>
                  <a:lnTo>
                    <a:pt x="140785" y="108939"/>
                  </a:lnTo>
                  <a:lnTo>
                    <a:pt x="140725" y="109567"/>
                  </a:lnTo>
                  <a:lnTo>
                    <a:pt x="139530" y="111286"/>
                  </a:lnTo>
                  <a:lnTo>
                    <a:pt x="137324" y="113440"/>
                  </a:lnTo>
                  <a:lnTo>
                    <a:pt x="135426" y="116402"/>
                  </a:lnTo>
                  <a:lnTo>
                    <a:pt x="134869" y="117998"/>
                  </a:lnTo>
                  <a:lnTo>
                    <a:pt x="134496" y="119743"/>
                  </a:lnTo>
                  <a:lnTo>
                    <a:pt x="133895" y="121356"/>
                  </a:lnTo>
                  <a:lnTo>
                    <a:pt x="130120" y="128914"/>
                  </a:lnTo>
                  <a:lnTo>
                    <a:pt x="126440" y="133093"/>
                  </a:lnTo>
                  <a:lnTo>
                    <a:pt x="124797" y="136055"/>
                  </a:lnTo>
                  <a:lnTo>
                    <a:pt x="122769" y="138412"/>
                  </a:lnTo>
                  <a:lnTo>
                    <a:pt x="120818" y="139893"/>
                  </a:lnTo>
                  <a:lnTo>
                    <a:pt x="118734" y="140879"/>
                  </a:lnTo>
                  <a:lnTo>
                    <a:pt x="112714" y="141933"/>
                  </a:lnTo>
                  <a:lnTo>
                    <a:pt x="111030" y="142688"/>
                  </a:lnTo>
                  <a:lnTo>
                    <a:pt x="109021" y="143984"/>
                  </a:lnTo>
                  <a:lnTo>
                    <a:pt x="106909" y="144625"/>
                  </a:lnTo>
                  <a:lnTo>
                    <a:pt x="109385" y="144544"/>
                  </a:lnTo>
                  <a:lnTo>
                    <a:pt x="111839" y="143823"/>
                  </a:lnTo>
                  <a:lnTo>
                    <a:pt x="116302" y="143559"/>
                  </a:lnTo>
                  <a:lnTo>
                    <a:pt x="121442" y="146041"/>
                  </a:lnTo>
                  <a:lnTo>
                    <a:pt x="120965" y="148069"/>
                  </a:lnTo>
                  <a:lnTo>
                    <a:pt x="118902" y="149672"/>
                  </a:lnTo>
                  <a:lnTo>
                    <a:pt x="114210" y="149924"/>
                  </a:lnTo>
                  <a:lnTo>
                    <a:pt x="109822" y="153482"/>
                  </a:lnTo>
                  <a:lnTo>
                    <a:pt x="107842" y="154576"/>
                  </a:lnTo>
                  <a:lnTo>
                    <a:pt x="105753" y="155119"/>
                  </a:lnTo>
                  <a:lnTo>
                    <a:pt x="103140" y="154958"/>
                  </a:lnTo>
                  <a:lnTo>
                    <a:pt x="98392" y="154006"/>
                  </a:lnTo>
                  <a:lnTo>
                    <a:pt x="96315" y="153011"/>
                  </a:lnTo>
                  <a:lnTo>
                    <a:pt x="98193" y="154635"/>
                  </a:lnTo>
                  <a:lnTo>
                    <a:pt x="100323" y="155481"/>
                  </a:lnTo>
                  <a:lnTo>
                    <a:pt x="112685" y="157477"/>
                  </a:lnTo>
                  <a:lnTo>
                    <a:pt x="113429" y="157270"/>
                  </a:lnTo>
                  <a:lnTo>
                    <a:pt x="117370" y="155162"/>
                  </a:lnTo>
                  <a:lnTo>
                    <a:pt x="122622" y="155130"/>
                  </a:lnTo>
                  <a:lnTo>
                    <a:pt x="132623" y="159002"/>
                  </a:lnTo>
                  <a:lnTo>
                    <a:pt x="135502" y="161957"/>
                  </a:lnTo>
                  <a:lnTo>
                    <a:pt x="139628" y="166187"/>
                  </a:lnTo>
                  <a:lnTo>
                    <a:pt x="141872" y="167836"/>
                  </a:lnTo>
                  <a:lnTo>
                    <a:pt x="143495" y="169330"/>
                  </a:lnTo>
                  <a:lnTo>
                    <a:pt x="144495" y="171567"/>
                  </a:lnTo>
                  <a:lnTo>
                    <a:pt x="146432" y="178938"/>
                  </a:lnTo>
                  <a:lnTo>
                    <a:pt x="148641" y="186118"/>
                  </a:lnTo>
                  <a:lnTo>
                    <a:pt x="151536" y="193871"/>
                  </a:lnTo>
                  <a:lnTo>
                    <a:pt x="152847" y="196020"/>
                  </a:lnTo>
                  <a:lnTo>
                    <a:pt x="154573" y="197526"/>
                  </a:lnTo>
                  <a:lnTo>
                    <a:pt x="163309" y="200984"/>
                  </a:lnTo>
                  <a:lnTo>
                    <a:pt x="165253" y="202129"/>
                  </a:lnTo>
                  <a:lnTo>
                    <a:pt x="168643" y="205449"/>
                  </a:lnTo>
                  <a:lnTo>
                    <a:pt x="171909" y="208981"/>
                  </a:lnTo>
                  <a:lnTo>
                    <a:pt x="174950" y="211690"/>
                  </a:lnTo>
                  <a:lnTo>
                    <a:pt x="178233" y="213881"/>
                  </a:lnTo>
                  <a:lnTo>
                    <a:pt x="176643" y="215018"/>
                  </a:lnTo>
                  <a:lnTo>
                    <a:pt x="175553" y="216806"/>
                  </a:lnTo>
                  <a:lnTo>
                    <a:pt x="176368" y="219234"/>
                  </a:lnTo>
                  <a:lnTo>
                    <a:pt x="177705" y="221551"/>
                  </a:lnTo>
                  <a:lnTo>
                    <a:pt x="180332" y="225253"/>
                  </a:lnTo>
                  <a:lnTo>
                    <a:pt x="182649" y="229287"/>
                  </a:lnTo>
                  <a:lnTo>
                    <a:pt x="181795" y="228678"/>
                  </a:lnTo>
                  <a:lnTo>
                    <a:pt x="180897" y="228344"/>
                  </a:lnTo>
                  <a:lnTo>
                    <a:pt x="179669" y="228444"/>
                  </a:lnTo>
                  <a:lnTo>
                    <a:pt x="178469" y="228249"/>
                  </a:lnTo>
                  <a:lnTo>
                    <a:pt x="176255" y="226987"/>
                  </a:lnTo>
                  <a:lnTo>
                    <a:pt x="174128" y="225436"/>
                  </a:lnTo>
                  <a:lnTo>
                    <a:pt x="169897" y="226059"/>
                  </a:lnTo>
                  <a:lnTo>
                    <a:pt x="167546" y="225780"/>
                  </a:lnTo>
                  <a:lnTo>
                    <a:pt x="165507" y="225821"/>
                  </a:lnTo>
                  <a:lnTo>
                    <a:pt x="169373" y="226717"/>
                  </a:lnTo>
                  <a:lnTo>
                    <a:pt x="173605" y="226779"/>
                  </a:lnTo>
                  <a:lnTo>
                    <a:pt x="182937" y="233539"/>
                  </a:lnTo>
                  <a:lnTo>
                    <a:pt x="186091" y="237535"/>
                  </a:lnTo>
                  <a:lnTo>
                    <a:pt x="187966" y="242808"/>
                  </a:lnTo>
                  <a:lnTo>
                    <a:pt x="186689" y="245172"/>
                  </a:lnTo>
                  <a:lnTo>
                    <a:pt x="184703" y="246703"/>
                  </a:lnTo>
                  <a:lnTo>
                    <a:pt x="182850" y="248453"/>
                  </a:lnTo>
                  <a:lnTo>
                    <a:pt x="181114" y="250427"/>
                  </a:lnTo>
                  <a:lnTo>
                    <a:pt x="186286" y="253324"/>
                  </a:lnTo>
                  <a:lnTo>
                    <a:pt x="187400" y="253236"/>
                  </a:lnTo>
                  <a:lnTo>
                    <a:pt x="188544" y="252831"/>
                  </a:lnTo>
                  <a:lnTo>
                    <a:pt x="189644" y="251846"/>
                  </a:lnTo>
                  <a:lnTo>
                    <a:pt x="191498" y="249447"/>
                  </a:lnTo>
                  <a:lnTo>
                    <a:pt x="192455" y="248592"/>
                  </a:lnTo>
                  <a:lnTo>
                    <a:pt x="195677" y="248284"/>
                  </a:lnTo>
                  <a:lnTo>
                    <a:pt x="198380" y="248468"/>
                  </a:lnTo>
                  <a:lnTo>
                    <a:pt x="201073" y="248998"/>
                  </a:lnTo>
                  <a:lnTo>
                    <a:pt x="203440" y="248830"/>
                  </a:lnTo>
                  <a:lnTo>
                    <a:pt x="208210" y="249860"/>
                  </a:lnTo>
                  <a:lnTo>
                    <a:pt x="210661" y="250789"/>
                  </a:lnTo>
                  <a:lnTo>
                    <a:pt x="216733" y="254966"/>
                  </a:lnTo>
                  <a:lnTo>
                    <a:pt x="218046" y="257247"/>
                  </a:lnTo>
                  <a:lnTo>
                    <a:pt x="218648" y="260190"/>
                  </a:lnTo>
                  <a:lnTo>
                    <a:pt x="218720" y="263449"/>
                  </a:lnTo>
                  <a:lnTo>
                    <a:pt x="217698" y="266425"/>
                  </a:lnTo>
                  <a:lnTo>
                    <a:pt x="216526" y="269108"/>
                  </a:lnTo>
                  <a:lnTo>
                    <a:pt x="215802" y="272568"/>
                  </a:lnTo>
                  <a:lnTo>
                    <a:pt x="215289" y="273813"/>
                  </a:lnTo>
                  <a:lnTo>
                    <a:pt x="214571" y="274788"/>
                  </a:lnTo>
                  <a:lnTo>
                    <a:pt x="211354" y="277512"/>
                  </a:lnTo>
                  <a:lnTo>
                    <a:pt x="209216" y="278631"/>
                  </a:lnTo>
                  <a:lnTo>
                    <a:pt x="208313" y="278140"/>
                  </a:lnTo>
                  <a:lnTo>
                    <a:pt x="207351" y="278208"/>
                  </a:lnTo>
                  <a:lnTo>
                    <a:pt x="207249" y="278862"/>
                  </a:lnTo>
                  <a:lnTo>
                    <a:pt x="208266" y="280251"/>
                  </a:lnTo>
                  <a:lnTo>
                    <a:pt x="208279" y="281926"/>
                  </a:lnTo>
                  <a:lnTo>
                    <a:pt x="206379" y="283165"/>
                  </a:lnTo>
                  <a:lnTo>
                    <a:pt x="204448" y="283694"/>
                  </a:lnTo>
                  <a:lnTo>
                    <a:pt x="201218" y="283034"/>
                  </a:lnTo>
                  <a:lnTo>
                    <a:pt x="196733" y="285340"/>
                  </a:lnTo>
                  <a:lnTo>
                    <a:pt x="199957" y="286524"/>
                  </a:lnTo>
                  <a:lnTo>
                    <a:pt x="200607" y="287784"/>
                  </a:lnTo>
                  <a:lnTo>
                    <a:pt x="199799" y="289997"/>
                  </a:lnTo>
                  <a:lnTo>
                    <a:pt x="197771" y="290983"/>
                  </a:lnTo>
                  <a:lnTo>
                    <a:pt x="195523" y="291420"/>
                  </a:lnTo>
                  <a:lnTo>
                    <a:pt x="193222" y="291524"/>
                  </a:lnTo>
                  <a:lnTo>
                    <a:pt x="191315" y="292065"/>
                  </a:lnTo>
                  <a:lnTo>
                    <a:pt x="189486" y="293107"/>
                  </a:lnTo>
                  <a:lnTo>
                    <a:pt x="191781" y="292553"/>
                  </a:lnTo>
                  <a:lnTo>
                    <a:pt x="193373" y="293038"/>
                  </a:lnTo>
                  <a:lnTo>
                    <a:pt x="194372" y="294897"/>
                  </a:lnTo>
                  <a:lnTo>
                    <a:pt x="195280" y="295428"/>
                  </a:lnTo>
                  <a:lnTo>
                    <a:pt x="199765" y="296222"/>
                  </a:lnTo>
                  <a:lnTo>
                    <a:pt x="202542" y="296216"/>
                  </a:lnTo>
                  <a:lnTo>
                    <a:pt x="207897" y="295765"/>
                  </a:lnTo>
                  <a:lnTo>
                    <a:pt x="210469" y="295776"/>
                  </a:lnTo>
                  <a:lnTo>
                    <a:pt x="211386" y="296112"/>
                  </a:lnTo>
                  <a:lnTo>
                    <a:pt x="211402" y="297650"/>
                  </a:lnTo>
                  <a:lnTo>
                    <a:pt x="211002" y="301424"/>
                  </a:lnTo>
                  <a:lnTo>
                    <a:pt x="210294" y="302201"/>
                  </a:lnTo>
                  <a:lnTo>
                    <a:pt x="203194" y="305366"/>
                  </a:lnTo>
                  <a:lnTo>
                    <a:pt x="201738" y="307574"/>
                  </a:lnTo>
                  <a:lnTo>
                    <a:pt x="201330" y="308911"/>
                  </a:lnTo>
                  <a:lnTo>
                    <a:pt x="197178" y="308674"/>
                  </a:lnTo>
                  <a:lnTo>
                    <a:pt x="195232" y="310087"/>
                  </a:lnTo>
                  <a:lnTo>
                    <a:pt x="191870" y="311025"/>
                  </a:lnTo>
                  <a:lnTo>
                    <a:pt x="189270" y="312022"/>
                  </a:lnTo>
                  <a:lnTo>
                    <a:pt x="186726" y="313282"/>
                  </a:lnTo>
                  <a:lnTo>
                    <a:pt x="184634" y="313658"/>
                  </a:lnTo>
                  <a:lnTo>
                    <a:pt x="175590" y="312163"/>
                  </a:lnTo>
                  <a:lnTo>
                    <a:pt x="170131" y="312286"/>
                  </a:lnTo>
                  <a:lnTo>
                    <a:pt x="162736" y="313589"/>
                  </a:lnTo>
                  <a:lnTo>
                    <a:pt x="160831" y="313374"/>
                  </a:lnTo>
                  <a:lnTo>
                    <a:pt x="157974" y="312126"/>
                  </a:lnTo>
                  <a:lnTo>
                    <a:pt x="155049" y="311282"/>
                  </a:lnTo>
                  <a:lnTo>
                    <a:pt x="151683" y="310911"/>
                  </a:lnTo>
                  <a:lnTo>
                    <a:pt x="148778" y="309757"/>
                  </a:lnTo>
                  <a:lnTo>
                    <a:pt x="150591" y="311976"/>
                  </a:lnTo>
                  <a:lnTo>
                    <a:pt x="146561" y="314112"/>
                  </a:lnTo>
                  <a:lnTo>
                    <a:pt x="144701" y="314537"/>
                  </a:lnTo>
                  <a:lnTo>
                    <a:pt x="142776" y="314471"/>
                  </a:lnTo>
                  <a:lnTo>
                    <a:pt x="138837" y="315051"/>
                  </a:lnTo>
                  <a:lnTo>
                    <a:pt x="135188" y="314755"/>
                  </a:lnTo>
                  <a:lnTo>
                    <a:pt x="135736" y="316273"/>
                  </a:lnTo>
                  <a:lnTo>
                    <a:pt x="136714" y="317595"/>
                  </a:lnTo>
                  <a:lnTo>
                    <a:pt x="135921" y="318170"/>
                  </a:lnTo>
                  <a:lnTo>
                    <a:pt x="135082" y="318313"/>
                  </a:lnTo>
                  <a:lnTo>
                    <a:pt x="128132" y="317315"/>
                  </a:lnTo>
                  <a:lnTo>
                    <a:pt x="127148" y="317504"/>
                  </a:lnTo>
                  <a:lnTo>
                    <a:pt x="126290" y="318425"/>
                  </a:lnTo>
                  <a:lnTo>
                    <a:pt x="123763" y="317928"/>
                  </a:lnTo>
                  <a:lnTo>
                    <a:pt x="121307" y="316375"/>
                  </a:lnTo>
                  <a:lnTo>
                    <a:pt x="118695" y="315332"/>
                  </a:lnTo>
                  <a:lnTo>
                    <a:pt x="115954" y="314842"/>
                  </a:lnTo>
                  <a:lnTo>
                    <a:pt x="113776" y="315011"/>
                  </a:lnTo>
                  <a:lnTo>
                    <a:pt x="104816" y="317460"/>
                  </a:lnTo>
                  <a:lnTo>
                    <a:pt x="103028" y="319915"/>
                  </a:lnTo>
                  <a:lnTo>
                    <a:pt x="102135" y="323393"/>
                  </a:lnTo>
                  <a:lnTo>
                    <a:pt x="100841" y="326476"/>
                  </a:lnTo>
                  <a:lnTo>
                    <a:pt x="98731" y="328848"/>
                  </a:lnTo>
                  <a:lnTo>
                    <a:pt x="96220" y="329157"/>
                  </a:lnTo>
                  <a:lnTo>
                    <a:pt x="93858" y="327516"/>
                  </a:lnTo>
                  <a:lnTo>
                    <a:pt x="89364" y="325702"/>
                  </a:lnTo>
                  <a:lnTo>
                    <a:pt x="87835" y="324476"/>
                  </a:lnTo>
                  <a:lnTo>
                    <a:pt x="87348" y="324404"/>
                  </a:lnTo>
                  <a:lnTo>
                    <a:pt x="86846" y="324843"/>
                  </a:lnTo>
                  <a:lnTo>
                    <a:pt x="85084" y="325396"/>
                  </a:lnTo>
                  <a:lnTo>
                    <a:pt x="83259" y="325422"/>
                  </a:lnTo>
                  <a:lnTo>
                    <a:pt x="80447" y="325910"/>
                  </a:lnTo>
                  <a:lnTo>
                    <a:pt x="75553" y="327384"/>
                  </a:lnTo>
                  <a:lnTo>
                    <a:pt x="73577" y="328384"/>
                  </a:lnTo>
                  <a:lnTo>
                    <a:pt x="69328" y="331139"/>
                  </a:lnTo>
                  <a:lnTo>
                    <a:pt x="68463" y="331901"/>
                  </a:lnTo>
                  <a:lnTo>
                    <a:pt x="66918" y="334677"/>
                  </a:lnTo>
                  <a:lnTo>
                    <a:pt x="64558" y="335166"/>
                  </a:lnTo>
                  <a:lnTo>
                    <a:pt x="62399" y="333388"/>
                  </a:lnTo>
                  <a:lnTo>
                    <a:pt x="59942" y="332767"/>
                  </a:lnTo>
                  <a:lnTo>
                    <a:pt x="57350" y="333375"/>
                  </a:lnTo>
                  <a:lnTo>
                    <a:pt x="55782" y="334320"/>
                  </a:lnTo>
                  <a:lnTo>
                    <a:pt x="55051" y="333552"/>
                  </a:lnTo>
                  <a:lnTo>
                    <a:pt x="55027" y="331973"/>
                  </a:lnTo>
                  <a:lnTo>
                    <a:pt x="56920" y="330091"/>
                  </a:lnTo>
                  <a:lnTo>
                    <a:pt x="61970" y="328668"/>
                  </a:lnTo>
                  <a:lnTo>
                    <a:pt x="66403" y="324972"/>
                  </a:lnTo>
                  <a:lnTo>
                    <a:pt x="68578" y="322716"/>
                  </a:lnTo>
                  <a:lnTo>
                    <a:pt x="69440" y="321446"/>
                  </a:lnTo>
                  <a:lnTo>
                    <a:pt x="70503" y="320636"/>
                  </a:lnTo>
                  <a:lnTo>
                    <a:pt x="71892" y="320330"/>
                  </a:lnTo>
                  <a:lnTo>
                    <a:pt x="72606" y="318925"/>
                  </a:lnTo>
                  <a:lnTo>
                    <a:pt x="78761" y="313270"/>
                  </a:lnTo>
                  <a:lnTo>
                    <a:pt x="79269" y="311971"/>
                  </a:lnTo>
                  <a:lnTo>
                    <a:pt x="79575" y="309646"/>
                  </a:lnTo>
                  <a:lnTo>
                    <a:pt x="80084" y="307405"/>
                  </a:lnTo>
                  <a:lnTo>
                    <a:pt x="85095" y="305953"/>
                  </a:lnTo>
                  <a:lnTo>
                    <a:pt x="87489" y="301233"/>
                  </a:lnTo>
                  <a:lnTo>
                    <a:pt x="88148" y="300859"/>
                  </a:lnTo>
                  <a:lnTo>
                    <a:pt x="95137" y="299992"/>
                  </a:lnTo>
                  <a:lnTo>
                    <a:pt x="100320" y="300061"/>
                  </a:lnTo>
                  <a:lnTo>
                    <a:pt x="105468" y="300986"/>
                  </a:lnTo>
                  <a:lnTo>
                    <a:pt x="108107" y="301069"/>
                  </a:lnTo>
                  <a:lnTo>
                    <a:pt x="110756" y="300750"/>
                  </a:lnTo>
                  <a:lnTo>
                    <a:pt x="112833" y="299474"/>
                  </a:lnTo>
                  <a:lnTo>
                    <a:pt x="116388" y="294868"/>
                  </a:lnTo>
                  <a:lnTo>
                    <a:pt x="118388" y="292838"/>
                  </a:lnTo>
                  <a:lnTo>
                    <a:pt x="120679" y="291002"/>
                  </a:lnTo>
                  <a:lnTo>
                    <a:pt x="122822" y="288904"/>
                  </a:lnTo>
                  <a:lnTo>
                    <a:pt x="126299" y="285012"/>
                  </a:lnTo>
                  <a:lnTo>
                    <a:pt x="123948" y="286353"/>
                  </a:lnTo>
                  <a:lnTo>
                    <a:pt x="121111" y="288480"/>
                  </a:lnTo>
                  <a:lnTo>
                    <a:pt x="119465" y="289713"/>
                  </a:lnTo>
                  <a:lnTo>
                    <a:pt x="114238" y="290955"/>
                  </a:lnTo>
                  <a:lnTo>
                    <a:pt x="111986" y="292221"/>
                  </a:lnTo>
                  <a:lnTo>
                    <a:pt x="108040" y="295078"/>
                  </a:lnTo>
                  <a:lnTo>
                    <a:pt x="107281" y="295315"/>
                  </a:lnTo>
                  <a:lnTo>
                    <a:pt x="101328" y="294629"/>
                  </a:lnTo>
                  <a:lnTo>
                    <a:pt x="96898" y="290923"/>
                  </a:lnTo>
                  <a:lnTo>
                    <a:pt x="94066" y="289402"/>
                  </a:lnTo>
                  <a:lnTo>
                    <a:pt x="92896" y="289230"/>
                  </a:lnTo>
                  <a:lnTo>
                    <a:pt x="91687" y="289682"/>
                  </a:lnTo>
                  <a:lnTo>
                    <a:pt x="89101" y="290145"/>
                  </a:lnTo>
                  <a:lnTo>
                    <a:pt x="86464" y="290066"/>
                  </a:lnTo>
                  <a:lnTo>
                    <a:pt x="87810" y="288352"/>
                  </a:lnTo>
                  <a:lnTo>
                    <a:pt x="89638" y="287393"/>
                  </a:lnTo>
                  <a:lnTo>
                    <a:pt x="85544" y="286727"/>
                  </a:lnTo>
                  <a:lnTo>
                    <a:pt x="84406" y="286205"/>
                  </a:lnTo>
                  <a:lnTo>
                    <a:pt x="83109" y="285002"/>
                  </a:lnTo>
                  <a:lnTo>
                    <a:pt x="79898" y="284796"/>
                  </a:lnTo>
                  <a:lnTo>
                    <a:pt x="78366" y="285103"/>
                  </a:lnTo>
                  <a:lnTo>
                    <a:pt x="75782" y="286693"/>
                  </a:lnTo>
                  <a:lnTo>
                    <a:pt x="71699" y="288383"/>
                  </a:lnTo>
                  <a:lnTo>
                    <a:pt x="66780" y="286040"/>
                  </a:lnTo>
                  <a:lnTo>
                    <a:pt x="65816" y="285012"/>
                  </a:lnTo>
                  <a:lnTo>
                    <a:pt x="65841" y="283027"/>
                  </a:lnTo>
                  <a:lnTo>
                    <a:pt x="65103" y="281453"/>
                  </a:lnTo>
                  <a:lnTo>
                    <a:pt x="63738" y="280898"/>
                  </a:lnTo>
                  <a:lnTo>
                    <a:pt x="65484" y="278846"/>
                  </a:lnTo>
                  <a:lnTo>
                    <a:pt x="67591" y="277479"/>
                  </a:lnTo>
                  <a:lnTo>
                    <a:pt x="72225" y="276120"/>
                  </a:lnTo>
                  <a:lnTo>
                    <a:pt x="79243" y="272892"/>
                  </a:lnTo>
                  <a:lnTo>
                    <a:pt x="83178" y="271516"/>
                  </a:lnTo>
                  <a:lnTo>
                    <a:pt x="86836" y="269140"/>
                  </a:lnTo>
                  <a:lnTo>
                    <a:pt x="88348" y="267690"/>
                  </a:lnTo>
                  <a:lnTo>
                    <a:pt x="89445" y="265705"/>
                  </a:lnTo>
                  <a:lnTo>
                    <a:pt x="90533" y="263266"/>
                  </a:lnTo>
                  <a:lnTo>
                    <a:pt x="92086" y="261284"/>
                  </a:lnTo>
                  <a:lnTo>
                    <a:pt x="90579" y="260812"/>
                  </a:lnTo>
                  <a:lnTo>
                    <a:pt x="89906" y="259315"/>
                  </a:lnTo>
                  <a:lnTo>
                    <a:pt x="90087" y="257796"/>
                  </a:lnTo>
                  <a:lnTo>
                    <a:pt x="90783" y="256448"/>
                  </a:lnTo>
                  <a:lnTo>
                    <a:pt x="90159" y="254756"/>
                  </a:lnTo>
                  <a:lnTo>
                    <a:pt x="89052" y="252986"/>
                  </a:lnTo>
                  <a:lnTo>
                    <a:pt x="89113" y="251607"/>
                  </a:lnTo>
                  <a:lnTo>
                    <a:pt x="89407" y="250132"/>
                  </a:lnTo>
                  <a:lnTo>
                    <a:pt x="86584" y="250211"/>
                  </a:lnTo>
                  <a:lnTo>
                    <a:pt x="83769" y="250672"/>
                  </a:lnTo>
                  <a:lnTo>
                    <a:pt x="81218" y="251718"/>
                  </a:lnTo>
                  <a:lnTo>
                    <a:pt x="78744" y="253137"/>
                  </a:lnTo>
                  <a:lnTo>
                    <a:pt x="76547" y="253400"/>
                  </a:lnTo>
                  <a:lnTo>
                    <a:pt x="76582" y="252265"/>
                  </a:lnTo>
                  <a:lnTo>
                    <a:pt x="77536" y="250861"/>
                  </a:lnTo>
                  <a:lnTo>
                    <a:pt x="80027" y="248854"/>
                  </a:lnTo>
                  <a:lnTo>
                    <a:pt x="82694" y="247189"/>
                  </a:lnTo>
                  <a:lnTo>
                    <a:pt x="83642" y="245923"/>
                  </a:lnTo>
                  <a:lnTo>
                    <a:pt x="84388" y="244452"/>
                  </a:lnTo>
                  <a:lnTo>
                    <a:pt x="85712" y="243271"/>
                  </a:lnTo>
                  <a:lnTo>
                    <a:pt x="89195" y="241037"/>
                  </a:lnTo>
                  <a:lnTo>
                    <a:pt x="95868" y="238521"/>
                  </a:lnTo>
                  <a:lnTo>
                    <a:pt x="96864" y="238373"/>
                  </a:lnTo>
                  <a:lnTo>
                    <a:pt x="99480" y="238665"/>
                  </a:lnTo>
                  <a:lnTo>
                    <a:pt x="102052" y="238285"/>
                  </a:lnTo>
                  <a:lnTo>
                    <a:pt x="104305" y="237379"/>
                  </a:lnTo>
                  <a:lnTo>
                    <a:pt x="106550" y="237184"/>
                  </a:lnTo>
                  <a:lnTo>
                    <a:pt x="111605" y="239795"/>
                  </a:lnTo>
                  <a:lnTo>
                    <a:pt x="110102" y="235754"/>
                  </a:lnTo>
                  <a:lnTo>
                    <a:pt x="112331" y="234786"/>
                  </a:lnTo>
                  <a:lnTo>
                    <a:pt x="115564" y="238440"/>
                  </a:lnTo>
                  <a:lnTo>
                    <a:pt x="116766" y="238825"/>
                  </a:lnTo>
                  <a:lnTo>
                    <a:pt x="119301" y="238295"/>
                  </a:lnTo>
                  <a:lnTo>
                    <a:pt x="118323" y="237679"/>
                  </a:lnTo>
                  <a:lnTo>
                    <a:pt x="117181" y="237642"/>
                  </a:lnTo>
                  <a:lnTo>
                    <a:pt x="115685" y="237091"/>
                  </a:lnTo>
                  <a:lnTo>
                    <a:pt x="114427" y="235919"/>
                  </a:lnTo>
                  <a:lnTo>
                    <a:pt x="112334" y="232195"/>
                  </a:lnTo>
                  <a:lnTo>
                    <a:pt x="112447" y="229982"/>
                  </a:lnTo>
                  <a:lnTo>
                    <a:pt x="113857" y="227679"/>
                  </a:lnTo>
                  <a:lnTo>
                    <a:pt x="115419" y="225557"/>
                  </a:lnTo>
                  <a:lnTo>
                    <a:pt x="114109" y="225135"/>
                  </a:lnTo>
                  <a:lnTo>
                    <a:pt x="113060" y="224323"/>
                  </a:lnTo>
                  <a:lnTo>
                    <a:pt x="112759" y="222197"/>
                  </a:lnTo>
                  <a:lnTo>
                    <a:pt x="113171" y="220318"/>
                  </a:lnTo>
                  <a:lnTo>
                    <a:pt x="115977" y="218657"/>
                  </a:lnTo>
                  <a:lnTo>
                    <a:pt x="116805" y="216135"/>
                  </a:lnTo>
                  <a:lnTo>
                    <a:pt x="117157" y="213357"/>
                  </a:lnTo>
                  <a:lnTo>
                    <a:pt x="116691" y="212082"/>
                  </a:lnTo>
                  <a:lnTo>
                    <a:pt x="113906" y="212287"/>
                  </a:lnTo>
                  <a:lnTo>
                    <a:pt x="112552" y="212807"/>
                  </a:lnTo>
                  <a:lnTo>
                    <a:pt x="111337" y="213630"/>
                  </a:lnTo>
                  <a:lnTo>
                    <a:pt x="110093" y="213581"/>
                  </a:lnTo>
                  <a:lnTo>
                    <a:pt x="106653" y="210505"/>
                  </a:lnTo>
                  <a:lnTo>
                    <a:pt x="104691" y="208176"/>
                  </a:lnTo>
                  <a:lnTo>
                    <a:pt x="101172" y="203238"/>
                  </a:lnTo>
                  <a:lnTo>
                    <a:pt x="100671" y="200283"/>
                  </a:lnTo>
                  <a:lnTo>
                    <a:pt x="103490" y="193894"/>
                  </a:lnTo>
                  <a:lnTo>
                    <a:pt x="107838" y="189799"/>
                  </a:lnTo>
                  <a:lnTo>
                    <a:pt x="112961" y="188372"/>
                  </a:lnTo>
                  <a:lnTo>
                    <a:pt x="111970" y="188099"/>
                  </a:lnTo>
                  <a:lnTo>
                    <a:pt x="104164" y="188044"/>
                  </a:lnTo>
                  <a:lnTo>
                    <a:pt x="101591" y="188546"/>
                  </a:lnTo>
                  <a:lnTo>
                    <a:pt x="99206" y="190221"/>
                  </a:lnTo>
                  <a:lnTo>
                    <a:pt x="97859" y="190735"/>
                  </a:lnTo>
                  <a:lnTo>
                    <a:pt x="96443" y="190925"/>
                  </a:lnTo>
                  <a:lnTo>
                    <a:pt x="95153" y="191758"/>
                  </a:lnTo>
                  <a:lnTo>
                    <a:pt x="93893" y="192914"/>
                  </a:lnTo>
                  <a:lnTo>
                    <a:pt x="92581" y="193653"/>
                  </a:lnTo>
                  <a:lnTo>
                    <a:pt x="89975" y="193462"/>
                  </a:lnTo>
                  <a:lnTo>
                    <a:pt x="88711" y="193706"/>
                  </a:lnTo>
                  <a:lnTo>
                    <a:pt x="87802" y="193037"/>
                  </a:lnTo>
                  <a:lnTo>
                    <a:pt x="87042" y="191930"/>
                  </a:lnTo>
                  <a:lnTo>
                    <a:pt x="86047" y="191635"/>
                  </a:lnTo>
                  <a:lnTo>
                    <a:pt x="84936" y="191975"/>
                  </a:lnTo>
                  <a:lnTo>
                    <a:pt x="82587" y="193466"/>
                  </a:lnTo>
                  <a:lnTo>
                    <a:pt x="80208" y="194346"/>
                  </a:lnTo>
                  <a:lnTo>
                    <a:pt x="77332" y="193407"/>
                  </a:lnTo>
                  <a:lnTo>
                    <a:pt x="73562" y="191655"/>
                  </a:lnTo>
                  <a:lnTo>
                    <a:pt x="72817" y="192294"/>
                  </a:lnTo>
                  <a:lnTo>
                    <a:pt x="71982" y="193920"/>
                  </a:lnTo>
                  <a:lnTo>
                    <a:pt x="71501" y="196456"/>
                  </a:lnTo>
                  <a:lnTo>
                    <a:pt x="68824" y="194254"/>
                  </a:lnTo>
                  <a:lnTo>
                    <a:pt x="66542" y="191306"/>
                  </a:lnTo>
                  <a:lnTo>
                    <a:pt x="65777" y="189452"/>
                  </a:lnTo>
                  <a:lnTo>
                    <a:pt x="65720" y="187364"/>
                  </a:lnTo>
                  <a:lnTo>
                    <a:pt x="66958" y="186553"/>
                  </a:lnTo>
                  <a:lnTo>
                    <a:pt x="68303" y="187295"/>
                  </a:lnTo>
                  <a:lnTo>
                    <a:pt x="70308" y="182331"/>
                  </a:lnTo>
                  <a:lnTo>
                    <a:pt x="74297" y="175855"/>
                  </a:lnTo>
                  <a:lnTo>
                    <a:pt x="75704" y="173952"/>
                  </a:lnTo>
                  <a:lnTo>
                    <a:pt x="76686" y="171467"/>
                  </a:lnTo>
                  <a:lnTo>
                    <a:pt x="76518" y="169839"/>
                  </a:lnTo>
                  <a:lnTo>
                    <a:pt x="75638" y="168464"/>
                  </a:lnTo>
                  <a:lnTo>
                    <a:pt x="71930" y="165337"/>
                  </a:lnTo>
                  <a:lnTo>
                    <a:pt x="71979" y="162788"/>
                  </a:lnTo>
                  <a:lnTo>
                    <a:pt x="72376" y="159906"/>
                  </a:lnTo>
                  <a:lnTo>
                    <a:pt x="73384" y="158175"/>
                  </a:lnTo>
                  <a:lnTo>
                    <a:pt x="73810" y="157845"/>
                  </a:lnTo>
                  <a:lnTo>
                    <a:pt x="78735" y="157891"/>
                  </a:lnTo>
                  <a:lnTo>
                    <a:pt x="76814" y="156997"/>
                  </a:lnTo>
                  <a:lnTo>
                    <a:pt x="72986" y="154385"/>
                  </a:lnTo>
                  <a:lnTo>
                    <a:pt x="73054" y="153459"/>
                  </a:lnTo>
                  <a:lnTo>
                    <a:pt x="73955" y="151041"/>
                  </a:lnTo>
                  <a:lnTo>
                    <a:pt x="73537" y="151286"/>
                  </a:lnTo>
                  <a:lnTo>
                    <a:pt x="72717" y="152403"/>
                  </a:lnTo>
                  <a:lnTo>
                    <a:pt x="71150" y="155105"/>
                  </a:lnTo>
                  <a:lnTo>
                    <a:pt x="70194" y="155735"/>
                  </a:lnTo>
                  <a:lnTo>
                    <a:pt x="67486" y="156376"/>
                  </a:lnTo>
                  <a:lnTo>
                    <a:pt x="66996" y="157705"/>
                  </a:lnTo>
                  <a:lnTo>
                    <a:pt x="66561" y="158052"/>
                  </a:lnTo>
                  <a:lnTo>
                    <a:pt x="65208" y="158203"/>
                  </a:lnTo>
                  <a:lnTo>
                    <a:pt x="64793" y="159441"/>
                  </a:lnTo>
                  <a:lnTo>
                    <a:pt x="64492" y="159520"/>
                  </a:lnTo>
                  <a:lnTo>
                    <a:pt x="64107" y="158184"/>
                  </a:lnTo>
                  <a:lnTo>
                    <a:pt x="64070" y="155968"/>
                  </a:lnTo>
                  <a:lnTo>
                    <a:pt x="64609" y="153929"/>
                  </a:lnTo>
                  <a:lnTo>
                    <a:pt x="65638" y="152332"/>
                  </a:lnTo>
                  <a:lnTo>
                    <a:pt x="69606" y="148697"/>
                  </a:lnTo>
                  <a:lnTo>
                    <a:pt x="67674" y="149819"/>
                  </a:lnTo>
                  <a:lnTo>
                    <a:pt x="63295" y="153176"/>
                  </a:lnTo>
                  <a:lnTo>
                    <a:pt x="61060" y="155381"/>
                  </a:lnTo>
                  <a:lnTo>
                    <a:pt x="60463" y="156125"/>
                  </a:lnTo>
                  <a:lnTo>
                    <a:pt x="60276" y="156752"/>
                  </a:lnTo>
                  <a:lnTo>
                    <a:pt x="60289" y="157474"/>
                  </a:lnTo>
                  <a:lnTo>
                    <a:pt x="61293" y="161344"/>
                  </a:lnTo>
                  <a:lnTo>
                    <a:pt x="61007" y="163133"/>
                  </a:lnTo>
                  <a:lnTo>
                    <a:pt x="57234" y="174922"/>
                  </a:lnTo>
                  <a:lnTo>
                    <a:pt x="56520" y="176102"/>
                  </a:lnTo>
                  <a:lnTo>
                    <a:pt x="55863" y="176719"/>
                  </a:lnTo>
                  <a:lnTo>
                    <a:pt x="55242" y="176860"/>
                  </a:lnTo>
                  <a:lnTo>
                    <a:pt x="53382" y="176636"/>
                  </a:lnTo>
                  <a:lnTo>
                    <a:pt x="52552" y="175755"/>
                  </a:lnTo>
                  <a:lnTo>
                    <a:pt x="52559" y="174757"/>
                  </a:lnTo>
                  <a:lnTo>
                    <a:pt x="52908" y="173257"/>
                  </a:lnTo>
                  <a:lnTo>
                    <a:pt x="54472" y="167668"/>
                  </a:lnTo>
                  <a:lnTo>
                    <a:pt x="55151" y="166113"/>
                  </a:lnTo>
                  <a:lnTo>
                    <a:pt x="56160" y="164666"/>
                  </a:lnTo>
                  <a:lnTo>
                    <a:pt x="58383" y="162130"/>
                  </a:lnTo>
                  <a:lnTo>
                    <a:pt x="58329" y="161965"/>
                  </a:lnTo>
                  <a:lnTo>
                    <a:pt x="56849" y="162462"/>
                  </a:lnTo>
                  <a:lnTo>
                    <a:pt x="56218" y="162298"/>
                  </a:lnTo>
                  <a:lnTo>
                    <a:pt x="55766" y="161796"/>
                  </a:lnTo>
                  <a:lnTo>
                    <a:pt x="56059" y="154257"/>
                  </a:lnTo>
                  <a:lnTo>
                    <a:pt x="57260" y="151771"/>
                  </a:lnTo>
                  <a:lnTo>
                    <a:pt x="57709" y="148150"/>
                  </a:lnTo>
                  <a:lnTo>
                    <a:pt x="58750" y="145045"/>
                  </a:lnTo>
                  <a:lnTo>
                    <a:pt x="59955" y="142781"/>
                  </a:lnTo>
                  <a:lnTo>
                    <a:pt x="60872" y="139881"/>
                  </a:lnTo>
                  <a:lnTo>
                    <a:pt x="62254" y="138590"/>
                  </a:lnTo>
                  <a:lnTo>
                    <a:pt x="62624" y="136614"/>
                  </a:lnTo>
                  <a:lnTo>
                    <a:pt x="64174" y="134473"/>
                  </a:lnTo>
                  <a:lnTo>
                    <a:pt x="65373" y="132232"/>
                  </a:lnTo>
                  <a:lnTo>
                    <a:pt x="64727" y="132454"/>
                  </a:lnTo>
                  <a:lnTo>
                    <a:pt x="57063" y="138281"/>
                  </a:lnTo>
                  <a:lnTo>
                    <a:pt x="55111" y="139341"/>
                  </a:lnTo>
                  <a:lnTo>
                    <a:pt x="52450" y="139057"/>
                  </a:lnTo>
                  <a:lnTo>
                    <a:pt x="50415" y="138403"/>
                  </a:lnTo>
                  <a:lnTo>
                    <a:pt x="48825" y="137025"/>
                  </a:lnTo>
                  <a:lnTo>
                    <a:pt x="48114" y="134378"/>
                  </a:lnTo>
                  <a:lnTo>
                    <a:pt x="46150" y="134307"/>
                  </a:lnTo>
                  <a:lnTo>
                    <a:pt x="44470" y="133849"/>
                  </a:lnTo>
                  <a:lnTo>
                    <a:pt x="44491" y="133493"/>
                  </a:lnTo>
                  <a:lnTo>
                    <a:pt x="46658" y="132048"/>
                  </a:lnTo>
                  <a:lnTo>
                    <a:pt x="50132" y="131552"/>
                  </a:lnTo>
                  <a:lnTo>
                    <a:pt x="53383" y="129237"/>
                  </a:lnTo>
                  <a:lnTo>
                    <a:pt x="50490" y="127672"/>
                  </a:lnTo>
                  <a:lnTo>
                    <a:pt x="50735" y="127176"/>
                  </a:lnTo>
                  <a:lnTo>
                    <a:pt x="53258" y="125842"/>
                  </a:lnTo>
                  <a:lnTo>
                    <a:pt x="56463" y="121362"/>
                  </a:lnTo>
                  <a:lnTo>
                    <a:pt x="57113" y="117232"/>
                  </a:lnTo>
                  <a:lnTo>
                    <a:pt x="55580" y="115289"/>
                  </a:lnTo>
                  <a:lnTo>
                    <a:pt x="55025" y="114015"/>
                  </a:lnTo>
                  <a:lnTo>
                    <a:pt x="51961" y="112594"/>
                  </a:lnTo>
                  <a:lnTo>
                    <a:pt x="51449" y="110774"/>
                  </a:lnTo>
                  <a:lnTo>
                    <a:pt x="51805" y="109758"/>
                  </a:lnTo>
                  <a:lnTo>
                    <a:pt x="52805" y="108765"/>
                  </a:lnTo>
                  <a:lnTo>
                    <a:pt x="54312" y="107991"/>
                  </a:lnTo>
                  <a:lnTo>
                    <a:pt x="56674" y="107251"/>
                  </a:lnTo>
                  <a:lnTo>
                    <a:pt x="54530" y="106457"/>
                  </a:lnTo>
                  <a:lnTo>
                    <a:pt x="53730" y="105520"/>
                  </a:lnTo>
                  <a:lnTo>
                    <a:pt x="53123" y="104163"/>
                  </a:lnTo>
                  <a:lnTo>
                    <a:pt x="53067" y="103376"/>
                  </a:lnTo>
                  <a:lnTo>
                    <a:pt x="54177" y="99866"/>
                  </a:lnTo>
                  <a:lnTo>
                    <a:pt x="54823" y="98417"/>
                  </a:lnTo>
                  <a:lnTo>
                    <a:pt x="56087" y="96568"/>
                  </a:lnTo>
                  <a:lnTo>
                    <a:pt x="61821" y="96672"/>
                  </a:lnTo>
                  <a:lnTo>
                    <a:pt x="62480" y="95855"/>
                  </a:lnTo>
                  <a:lnTo>
                    <a:pt x="63130" y="95823"/>
                  </a:lnTo>
                  <a:lnTo>
                    <a:pt x="66062" y="96568"/>
                  </a:lnTo>
                  <a:lnTo>
                    <a:pt x="65627" y="95766"/>
                  </a:lnTo>
                  <a:lnTo>
                    <a:pt x="60832" y="91368"/>
                  </a:lnTo>
                  <a:lnTo>
                    <a:pt x="60402" y="90530"/>
                  </a:lnTo>
                  <a:lnTo>
                    <a:pt x="61769" y="88154"/>
                  </a:lnTo>
                  <a:lnTo>
                    <a:pt x="61868" y="87094"/>
                  </a:lnTo>
                  <a:lnTo>
                    <a:pt x="61668" y="85961"/>
                  </a:lnTo>
                  <a:lnTo>
                    <a:pt x="62058" y="85098"/>
                  </a:lnTo>
                  <a:lnTo>
                    <a:pt x="63578" y="84690"/>
                  </a:lnTo>
                  <a:lnTo>
                    <a:pt x="68213" y="84731"/>
                  </a:lnTo>
                  <a:lnTo>
                    <a:pt x="69355" y="84329"/>
                  </a:lnTo>
                  <a:lnTo>
                    <a:pt x="68835" y="83181"/>
                  </a:lnTo>
                  <a:lnTo>
                    <a:pt x="67756" y="81671"/>
                  </a:lnTo>
                  <a:lnTo>
                    <a:pt x="67545" y="80402"/>
                  </a:lnTo>
                  <a:lnTo>
                    <a:pt x="67798" y="79281"/>
                  </a:lnTo>
                  <a:lnTo>
                    <a:pt x="67857" y="77022"/>
                  </a:lnTo>
                  <a:lnTo>
                    <a:pt x="68068" y="76022"/>
                  </a:lnTo>
                  <a:lnTo>
                    <a:pt x="69168" y="74524"/>
                  </a:lnTo>
                  <a:lnTo>
                    <a:pt x="70077" y="74079"/>
                  </a:lnTo>
                  <a:lnTo>
                    <a:pt x="71204" y="73818"/>
                  </a:lnTo>
                  <a:lnTo>
                    <a:pt x="73748" y="74319"/>
                  </a:lnTo>
                  <a:lnTo>
                    <a:pt x="74718" y="74924"/>
                  </a:lnTo>
                  <a:lnTo>
                    <a:pt x="75831" y="76352"/>
                  </a:lnTo>
                  <a:lnTo>
                    <a:pt x="76654" y="76236"/>
                  </a:lnTo>
                  <a:lnTo>
                    <a:pt x="79822" y="74685"/>
                  </a:lnTo>
                  <a:lnTo>
                    <a:pt x="80774" y="74462"/>
                  </a:lnTo>
                  <a:lnTo>
                    <a:pt x="82070" y="76260"/>
                  </a:lnTo>
                  <a:lnTo>
                    <a:pt x="87480" y="74826"/>
                  </a:lnTo>
                  <a:lnTo>
                    <a:pt x="94757" y="74183"/>
                  </a:lnTo>
                  <a:lnTo>
                    <a:pt x="99129" y="73239"/>
                  </a:lnTo>
                  <a:lnTo>
                    <a:pt x="103733" y="72896"/>
                  </a:lnTo>
                  <a:close/>
                  <a:moveTo>
                    <a:pt x="115062" y="65804"/>
                  </a:moveTo>
                  <a:lnTo>
                    <a:pt x="116053" y="66067"/>
                  </a:lnTo>
                  <a:lnTo>
                    <a:pt x="115685" y="66975"/>
                  </a:lnTo>
                  <a:lnTo>
                    <a:pt x="115324" y="68857"/>
                  </a:lnTo>
                  <a:lnTo>
                    <a:pt x="115112" y="68953"/>
                  </a:lnTo>
                  <a:lnTo>
                    <a:pt x="114307" y="68360"/>
                  </a:lnTo>
                  <a:lnTo>
                    <a:pt x="112979" y="66228"/>
                  </a:lnTo>
                  <a:close/>
                  <a:moveTo>
                    <a:pt x="105859" y="63098"/>
                  </a:moveTo>
                  <a:lnTo>
                    <a:pt x="107750" y="63544"/>
                  </a:lnTo>
                  <a:lnTo>
                    <a:pt x="108729" y="65107"/>
                  </a:lnTo>
                  <a:lnTo>
                    <a:pt x="108851" y="66123"/>
                  </a:lnTo>
                  <a:lnTo>
                    <a:pt x="109083" y="66522"/>
                  </a:lnTo>
                  <a:lnTo>
                    <a:pt x="110257" y="66923"/>
                  </a:lnTo>
                  <a:lnTo>
                    <a:pt x="110115" y="67151"/>
                  </a:lnTo>
                  <a:lnTo>
                    <a:pt x="108851" y="67581"/>
                  </a:lnTo>
                  <a:lnTo>
                    <a:pt x="107598" y="67549"/>
                  </a:lnTo>
                  <a:lnTo>
                    <a:pt x="105643" y="65673"/>
                  </a:lnTo>
                  <a:lnTo>
                    <a:pt x="104900" y="64307"/>
                  </a:lnTo>
                  <a:lnTo>
                    <a:pt x="105034" y="63403"/>
                  </a:lnTo>
                  <a:close/>
                  <a:moveTo>
                    <a:pt x="108266" y="55774"/>
                  </a:moveTo>
                  <a:lnTo>
                    <a:pt x="110302" y="56022"/>
                  </a:lnTo>
                  <a:lnTo>
                    <a:pt x="112632" y="57239"/>
                  </a:lnTo>
                  <a:lnTo>
                    <a:pt x="113337" y="57988"/>
                  </a:lnTo>
                  <a:lnTo>
                    <a:pt x="113320" y="58586"/>
                  </a:lnTo>
                  <a:lnTo>
                    <a:pt x="112493" y="59499"/>
                  </a:lnTo>
                  <a:lnTo>
                    <a:pt x="112199" y="60302"/>
                  </a:lnTo>
                  <a:lnTo>
                    <a:pt x="113880" y="60283"/>
                  </a:lnTo>
                  <a:lnTo>
                    <a:pt x="116315" y="60967"/>
                  </a:lnTo>
                  <a:lnTo>
                    <a:pt x="117789" y="61053"/>
                  </a:lnTo>
                  <a:lnTo>
                    <a:pt x="119015" y="61901"/>
                  </a:lnTo>
                  <a:lnTo>
                    <a:pt x="118339" y="63490"/>
                  </a:lnTo>
                  <a:lnTo>
                    <a:pt x="117605" y="63935"/>
                  </a:lnTo>
                  <a:lnTo>
                    <a:pt x="116775" y="64023"/>
                  </a:lnTo>
                  <a:lnTo>
                    <a:pt x="113877" y="62436"/>
                  </a:lnTo>
                  <a:lnTo>
                    <a:pt x="110079" y="63095"/>
                  </a:lnTo>
                  <a:lnTo>
                    <a:pt x="109323" y="62894"/>
                  </a:lnTo>
                  <a:lnTo>
                    <a:pt x="108824" y="62455"/>
                  </a:lnTo>
                  <a:lnTo>
                    <a:pt x="108619" y="61911"/>
                  </a:lnTo>
                  <a:lnTo>
                    <a:pt x="108615" y="60801"/>
                  </a:lnTo>
                  <a:lnTo>
                    <a:pt x="108409" y="60473"/>
                  </a:lnTo>
                  <a:lnTo>
                    <a:pt x="107033" y="61523"/>
                  </a:lnTo>
                  <a:lnTo>
                    <a:pt x="106429" y="61399"/>
                  </a:lnTo>
                  <a:lnTo>
                    <a:pt x="106088" y="60896"/>
                  </a:lnTo>
                  <a:lnTo>
                    <a:pt x="105941" y="59853"/>
                  </a:lnTo>
                  <a:lnTo>
                    <a:pt x="106094" y="58347"/>
                  </a:lnTo>
                  <a:lnTo>
                    <a:pt x="106900" y="56202"/>
                  </a:lnTo>
                  <a:close/>
                  <a:moveTo>
                    <a:pt x="124031" y="50542"/>
                  </a:moveTo>
                  <a:lnTo>
                    <a:pt x="126876" y="50758"/>
                  </a:lnTo>
                  <a:lnTo>
                    <a:pt x="126370" y="51625"/>
                  </a:lnTo>
                  <a:lnTo>
                    <a:pt x="123738" y="52921"/>
                  </a:lnTo>
                  <a:lnTo>
                    <a:pt x="121235" y="52960"/>
                  </a:lnTo>
                  <a:lnTo>
                    <a:pt x="122528" y="51028"/>
                  </a:lnTo>
                  <a:close/>
                  <a:moveTo>
                    <a:pt x="114304" y="49137"/>
                  </a:moveTo>
                  <a:lnTo>
                    <a:pt x="116822" y="51059"/>
                  </a:lnTo>
                  <a:lnTo>
                    <a:pt x="117853" y="52612"/>
                  </a:lnTo>
                  <a:lnTo>
                    <a:pt x="119718" y="53071"/>
                  </a:lnTo>
                  <a:lnTo>
                    <a:pt x="119956" y="53309"/>
                  </a:lnTo>
                  <a:lnTo>
                    <a:pt x="119746" y="54377"/>
                  </a:lnTo>
                  <a:lnTo>
                    <a:pt x="117848" y="55188"/>
                  </a:lnTo>
                  <a:lnTo>
                    <a:pt x="117038" y="54517"/>
                  </a:lnTo>
                  <a:lnTo>
                    <a:pt x="116827" y="52416"/>
                  </a:lnTo>
                  <a:lnTo>
                    <a:pt x="114564" y="51516"/>
                  </a:lnTo>
                  <a:lnTo>
                    <a:pt x="113464" y="50957"/>
                  </a:lnTo>
                  <a:lnTo>
                    <a:pt x="112612" y="49897"/>
                  </a:lnTo>
                  <a:lnTo>
                    <a:pt x="112829" y="49572"/>
                  </a:lnTo>
                  <a:close/>
                  <a:moveTo>
                    <a:pt x="149939" y="7430"/>
                  </a:moveTo>
                  <a:lnTo>
                    <a:pt x="151315" y="7494"/>
                  </a:lnTo>
                  <a:lnTo>
                    <a:pt x="151174" y="9833"/>
                  </a:lnTo>
                  <a:lnTo>
                    <a:pt x="151632" y="12180"/>
                  </a:lnTo>
                  <a:lnTo>
                    <a:pt x="152774" y="11572"/>
                  </a:lnTo>
                  <a:lnTo>
                    <a:pt x="154498" y="13821"/>
                  </a:lnTo>
                  <a:lnTo>
                    <a:pt x="155378" y="13824"/>
                  </a:lnTo>
                  <a:lnTo>
                    <a:pt x="156827" y="12931"/>
                  </a:lnTo>
                  <a:lnTo>
                    <a:pt x="156535" y="15023"/>
                  </a:lnTo>
                  <a:lnTo>
                    <a:pt x="155031" y="20819"/>
                  </a:lnTo>
                  <a:lnTo>
                    <a:pt x="154608" y="21802"/>
                  </a:lnTo>
                  <a:lnTo>
                    <a:pt x="154322" y="23560"/>
                  </a:lnTo>
                  <a:lnTo>
                    <a:pt x="154023" y="23902"/>
                  </a:lnTo>
                  <a:lnTo>
                    <a:pt x="153579" y="27452"/>
                  </a:lnTo>
                  <a:lnTo>
                    <a:pt x="152562" y="28620"/>
                  </a:lnTo>
                  <a:lnTo>
                    <a:pt x="151712" y="31404"/>
                  </a:lnTo>
                  <a:lnTo>
                    <a:pt x="151365" y="31676"/>
                  </a:lnTo>
                  <a:lnTo>
                    <a:pt x="150118" y="30605"/>
                  </a:lnTo>
                  <a:lnTo>
                    <a:pt x="151364" y="26353"/>
                  </a:lnTo>
                  <a:lnTo>
                    <a:pt x="151880" y="23878"/>
                  </a:lnTo>
                  <a:lnTo>
                    <a:pt x="151554" y="22593"/>
                  </a:lnTo>
                  <a:lnTo>
                    <a:pt x="150849" y="21436"/>
                  </a:lnTo>
                  <a:lnTo>
                    <a:pt x="148942" y="21399"/>
                  </a:lnTo>
                  <a:lnTo>
                    <a:pt x="147340" y="21933"/>
                  </a:lnTo>
                  <a:lnTo>
                    <a:pt x="147000" y="21250"/>
                  </a:lnTo>
                  <a:lnTo>
                    <a:pt x="146950" y="20329"/>
                  </a:lnTo>
                  <a:lnTo>
                    <a:pt x="146564" y="20023"/>
                  </a:lnTo>
                  <a:lnTo>
                    <a:pt x="144431" y="20086"/>
                  </a:lnTo>
                  <a:lnTo>
                    <a:pt x="143805" y="19832"/>
                  </a:lnTo>
                  <a:lnTo>
                    <a:pt x="143392" y="18986"/>
                  </a:lnTo>
                  <a:lnTo>
                    <a:pt x="143310" y="18314"/>
                  </a:lnTo>
                  <a:lnTo>
                    <a:pt x="145236" y="17787"/>
                  </a:lnTo>
                  <a:lnTo>
                    <a:pt x="147054" y="17983"/>
                  </a:lnTo>
                  <a:lnTo>
                    <a:pt x="149703" y="16640"/>
                  </a:lnTo>
                  <a:lnTo>
                    <a:pt x="148046" y="12130"/>
                  </a:lnTo>
                  <a:lnTo>
                    <a:pt x="145851" y="11705"/>
                  </a:lnTo>
                  <a:lnTo>
                    <a:pt x="145344" y="11268"/>
                  </a:lnTo>
                  <a:lnTo>
                    <a:pt x="145767" y="10502"/>
                  </a:lnTo>
                  <a:lnTo>
                    <a:pt x="146972" y="10089"/>
                  </a:lnTo>
                  <a:lnTo>
                    <a:pt x="148828" y="7792"/>
                  </a:lnTo>
                  <a:close/>
                  <a:moveTo>
                    <a:pt x="155924" y="3736"/>
                  </a:moveTo>
                  <a:lnTo>
                    <a:pt x="157863" y="3860"/>
                  </a:lnTo>
                  <a:lnTo>
                    <a:pt x="158171" y="4878"/>
                  </a:lnTo>
                  <a:lnTo>
                    <a:pt x="157979" y="5814"/>
                  </a:lnTo>
                  <a:lnTo>
                    <a:pt x="156991" y="5897"/>
                  </a:lnTo>
                  <a:lnTo>
                    <a:pt x="156903" y="6184"/>
                  </a:lnTo>
                  <a:lnTo>
                    <a:pt x="157211" y="7986"/>
                  </a:lnTo>
                  <a:lnTo>
                    <a:pt x="157230" y="10077"/>
                  </a:lnTo>
                  <a:lnTo>
                    <a:pt x="157046" y="10621"/>
                  </a:lnTo>
                  <a:lnTo>
                    <a:pt x="156486" y="11006"/>
                  </a:lnTo>
                  <a:lnTo>
                    <a:pt x="154327" y="7619"/>
                  </a:lnTo>
                  <a:close/>
                  <a:moveTo>
                    <a:pt x="161891" y="0"/>
                  </a:moveTo>
                  <a:lnTo>
                    <a:pt x="162369" y="21"/>
                  </a:lnTo>
                  <a:lnTo>
                    <a:pt x="162978" y="667"/>
                  </a:lnTo>
                  <a:lnTo>
                    <a:pt x="162977" y="1051"/>
                  </a:lnTo>
                  <a:lnTo>
                    <a:pt x="161831" y="3871"/>
                  </a:lnTo>
                  <a:lnTo>
                    <a:pt x="161846" y="4948"/>
                  </a:lnTo>
                  <a:lnTo>
                    <a:pt x="159996" y="4845"/>
                  </a:lnTo>
                  <a:lnTo>
                    <a:pt x="159706" y="4502"/>
                  </a:lnTo>
                  <a:lnTo>
                    <a:pt x="159356" y="2885"/>
                  </a:lnTo>
                  <a:lnTo>
                    <a:pt x="159589" y="1162"/>
                  </a:lnTo>
                  <a:lnTo>
                    <a:pt x="159848" y="718"/>
                  </a:lnTo>
                  <a:lnTo>
                    <a:pt x="160388" y="535"/>
                  </a:lnTo>
                  <a:lnTo>
                    <a:pt x="160973" y="873"/>
                  </a:lnTo>
                  <a:close/>
                </a:path>
              </a:pathLst>
            </a:custGeom>
            <a:grpFill/>
            <a:ln w="3175"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21" name="ee4p_GR_1_92573">
              <a:extLst>
                <a:ext uri="{FF2B5EF4-FFF2-40B4-BE49-F238E27FC236}">
                  <a16:creationId xmlns:a16="http://schemas.microsoft.com/office/drawing/2014/main" id="{8D880FCD-1A5F-4626-A44D-066E709CFEEA}"/>
                </a:ext>
              </a:extLst>
            </p:cNvPr>
            <p:cNvSpPr>
              <a:spLocks noChangeAspect="1"/>
            </p:cNvSpPr>
            <p:nvPr>
              <p:custDataLst>
                <p:tags r:id="rId15"/>
              </p:custDataLst>
            </p:nvPr>
          </p:nvSpPr>
          <p:spPr>
            <a:xfrm>
              <a:off x="5493872" y="5435278"/>
              <a:ext cx="752573" cy="694414"/>
            </a:xfrm>
            <a:custGeom>
              <a:avLst/>
              <a:gdLst>
                <a:gd name="connsiteX0" fmla="*/ 90448 w 189841"/>
                <a:gd name="connsiteY0" fmla="*/ 157073 h 175170"/>
                <a:gd name="connsiteX1" fmla="*/ 91198 w 189841"/>
                <a:gd name="connsiteY1" fmla="*/ 157609 h 175170"/>
                <a:gd name="connsiteX2" fmla="*/ 91697 w 189841"/>
                <a:gd name="connsiteY2" fmla="*/ 159571 h 175170"/>
                <a:gd name="connsiteX3" fmla="*/ 92998 w 189841"/>
                <a:gd name="connsiteY3" fmla="*/ 160093 h 175170"/>
                <a:gd name="connsiteX4" fmla="*/ 94510 w 189841"/>
                <a:gd name="connsiteY4" fmla="*/ 160276 h 175170"/>
                <a:gd name="connsiteX5" fmla="*/ 96559 w 189841"/>
                <a:gd name="connsiteY5" fmla="*/ 160244 h 175170"/>
                <a:gd name="connsiteX6" fmla="*/ 97026 w 189841"/>
                <a:gd name="connsiteY6" fmla="*/ 160094 h 175170"/>
                <a:gd name="connsiteX7" fmla="*/ 98330 w 189841"/>
                <a:gd name="connsiteY7" fmla="*/ 158624 h 175170"/>
                <a:gd name="connsiteX8" fmla="*/ 99937 w 189841"/>
                <a:gd name="connsiteY8" fmla="*/ 158590 h 175170"/>
                <a:gd name="connsiteX9" fmla="*/ 100638 w 189841"/>
                <a:gd name="connsiteY9" fmla="*/ 160043 h 175170"/>
                <a:gd name="connsiteX10" fmla="*/ 99008 w 189841"/>
                <a:gd name="connsiteY10" fmla="*/ 160712 h 175170"/>
                <a:gd name="connsiteX11" fmla="*/ 98676 w 189841"/>
                <a:gd name="connsiteY11" fmla="*/ 161090 h 175170"/>
                <a:gd name="connsiteX12" fmla="*/ 98989 w 189841"/>
                <a:gd name="connsiteY12" fmla="*/ 161396 h 175170"/>
                <a:gd name="connsiteX13" fmla="*/ 100213 w 189841"/>
                <a:gd name="connsiteY13" fmla="*/ 162002 h 175170"/>
                <a:gd name="connsiteX14" fmla="*/ 101913 w 189841"/>
                <a:gd name="connsiteY14" fmla="*/ 161773 h 175170"/>
                <a:gd name="connsiteX15" fmla="*/ 101964 w 189841"/>
                <a:gd name="connsiteY15" fmla="*/ 162916 h 175170"/>
                <a:gd name="connsiteX16" fmla="*/ 102344 w 189841"/>
                <a:gd name="connsiteY16" fmla="*/ 163849 h 175170"/>
                <a:gd name="connsiteX17" fmla="*/ 103184 w 189841"/>
                <a:gd name="connsiteY17" fmla="*/ 164406 h 175170"/>
                <a:gd name="connsiteX18" fmla="*/ 104093 w 189841"/>
                <a:gd name="connsiteY18" fmla="*/ 164515 h 175170"/>
                <a:gd name="connsiteX19" fmla="*/ 106104 w 189841"/>
                <a:gd name="connsiteY19" fmla="*/ 164350 h 175170"/>
                <a:gd name="connsiteX20" fmla="*/ 108086 w 189841"/>
                <a:gd name="connsiteY20" fmla="*/ 163980 h 175170"/>
                <a:gd name="connsiteX21" fmla="*/ 110129 w 189841"/>
                <a:gd name="connsiteY21" fmla="*/ 163248 h 175170"/>
                <a:gd name="connsiteX22" fmla="*/ 112215 w 189841"/>
                <a:gd name="connsiteY22" fmla="*/ 162874 h 175170"/>
                <a:gd name="connsiteX23" fmla="*/ 118447 w 189841"/>
                <a:gd name="connsiteY23" fmla="*/ 163249 h 175170"/>
                <a:gd name="connsiteX24" fmla="*/ 120684 w 189841"/>
                <a:gd name="connsiteY24" fmla="*/ 164830 h 175170"/>
                <a:gd name="connsiteX25" fmla="*/ 124940 w 189841"/>
                <a:gd name="connsiteY25" fmla="*/ 165020 h 175170"/>
                <a:gd name="connsiteX26" fmla="*/ 128896 w 189841"/>
                <a:gd name="connsiteY26" fmla="*/ 165852 h 175170"/>
                <a:gd name="connsiteX27" fmla="*/ 130974 w 189841"/>
                <a:gd name="connsiteY27" fmla="*/ 165303 h 175170"/>
                <a:gd name="connsiteX28" fmla="*/ 134523 w 189841"/>
                <a:gd name="connsiteY28" fmla="*/ 164788 h 175170"/>
                <a:gd name="connsiteX29" fmla="*/ 135092 w 189841"/>
                <a:gd name="connsiteY29" fmla="*/ 165346 h 175170"/>
                <a:gd name="connsiteX30" fmla="*/ 134633 w 189841"/>
                <a:gd name="connsiteY30" fmla="*/ 168918 h 175170"/>
                <a:gd name="connsiteX31" fmla="*/ 134852 w 189841"/>
                <a:gd name="connsiteY31" fmla="*/ 169953 h 175170"/>
                <a:gd name="connsiteX32" fmla="*/ 135875 w 189841"/>
                <a:gd name="connsiteY32" fmla="*/ 170451 h 175170"/>
                <a:gd name="connsiteX33" fmla="*/ 136888 w 189841"/>
                <a:gd name="connsiteY33" fmla="*/ 170208 h 175170"/>
                <a:gd name="connsiteX34" fmla="*/ 138132 w 189841"/>
                <a:gd name="connsiteY34" fmla="*/ 169039 h 175170"/>
                <a:gd name="connsiteX35" fmla="*/ 141109 w 189841"/>
                <a:gd name="connsiteY35" fmla="*/ 168134 h 175170"/>
                <a:gd name="connsiteX36" fmla="*/ 144202 w 189841"/>
                <a:gd name="connsiteY36" fmla="*/ 168139 h 175170"/>
                <a:gd name="connsiteX37" fmla="*/ 146804 w 189841"/>
                <a:gd name="connsiteY37" fmla="*/ 165763 h 175170"/>
                <a:gd name="connsiteX38" fmla="*/ 147571 w 189841"/>
                <a:gd name="connsiteY38" fmla="*/ 165628 h 175170"/>
                <a:gd name="connsiteX39" fmla="*/ 147093 w 189841"/>
                <a:gd name="connsiteY39" fmla="*/ 166796 h 175170"/>
                <a:gd name="connsiteX40" fmla="*/ 146700 w 189841"/>
                <a:gd name="connsiteY40" fmla="*/ 169539 h 175170"/>
                <a:gd name="connsiteX41" fmla="*/ 146141 w 189841"/>
                <a:gd name="connsiteY41" fmla="*/ 171145 h 175170"/>
                <a:gd name="connsiteX42" fmla="*/ 145892 w 189841"/>
                <a:gd name="connsiteY42" fmla="*/ 172410 h 175170"/>
                <a:gd name="connsiteX43" fmla="*/ 144152 w 189841"/>
                <a:gd name="connsiteY43" fmla="*/ 173063 h 175170"/>
                <a:gd name="connsiteX44" fmla="*/ 141522 w 189841"/>
                <a:gd name="connsiteY44" fmla="*/ 173175 h 175170"/>
                <a:gd name="connsiteX45" fmla="*/ 136724 w 189841"/>
                <a:gd name="connsiteY45" fmla="*/ 172898 h 175170"/>
                <a:gd name="connsiteX46" fmla="*/ 131887 w 189841"/>
                <a:gd name="connsiteY46" fmla="*/ 173346 h 175170"/>
                <a:gd name="connsiteX47" fmla="*/ 122928 w 189841"/>
                <a:gd name="connsiteY47" fmla="*/ 174549 h 175170"/>
                <a:gd name="connsiteX48" fmla="*/ 113951 w 189841"/>
                <a:gd name="connsiteY48" fmla="*/ 175170 h 175170"/>
                <a:gd name="connsiteX49" fmla="*/ 112744 w 189841"/>
                <a:gd name="connsiteY49" fmla="*/ 174765 h 175170"/>
                <a:gd name="connsiteX50" fmla="*/ 112716 w 189841"/>
                <a:gd name="connsiteY50" fmla="*/ 173170 h 175170"/>
                <a:gd name="connsiteX51" fmla="*/ 112522 w 189841"/>
                <a:gd name="connsiteY51" fmla="*/ 172069 h 175170"/>
                <a:gd name="connsiteX52" fmla="*/ 111941 w 189841"/>
                <a:gd name="connsiteY52" fmla="*/ 171298 h 175170"/>
                <a:gd name="connsiteX53" fmla="*/ 109166 w 189841"/>
                <a:gd name="connsiteY53" fmla="*/ 170640 h 175170"/>
                <a:gd name="connsiteX54" fmla="*/ 106519 w 189841"/>
                <a:gd name="connsiteY54" fmla="*/ 169511 h 175170"/>
                <a:gd name="connsiteX55" fmla="*/ 96140 w 189841"/>
                <a:gd name="connsiteY55" fmla="*/ 167967 h 175170"/>
                <a:gd name="connsiteX56" fmla="*/ 93692 w 189841"/>
                <a:gd name="connsiteY56" fmla="*/ 167361 h 175170"/>
                <a:gd name="connsiteX57" fmla="*/ 89718 w 189841"/>
                <a:gd name="connsiteY57" fmla="*/ 167677 h 175170"/>
                <a:gd name="connsiteX58" fmla="*/ 88263 w 189841"/>
                <a:gd name="connsiteY58" fmla="*/ 167635 h 175170"/>
                <a:gd name="connsiteX59" fmla="*/ 87261 w 189841"/>
                <a:gd name="connsiteY59" fmla="*/ 167081 h 175170"/>
                <a:gd name="connsiteX60" fmla="*/ 86572 w 189841"/>
                <a:gd name="connsiteY60" fmla="*/ 166129 h 175170"/>
                <a:gd name="connsiteX61" fmla="*/ 86261 w 189841"/>
                <a:gd name="connsiteY61" fmla="*/ 163106 h 175170"/>
                <a:gd name="connsiteX62" fmla="*/ 86753 w 189841"/>
                <a:gd name="connsiteY62" fmla="*/ 160110 h 175170"/>
                <a:gd name="connsiteX63" fmla="*/ 87613 w 189841"/>
                <a:gd name="connsiteY63" fmla="*/ 159318 h 175170"/>
                <a:gd name="connsiteX64" fmla="*/ 88008 w 189841"/>
                <a:gd name="connsiteY64" fmla="*/ 160221 h 175170"/>
                <a:gd name="connsiteX65" fmla="*/ 89027 w 189841"/>
                <a:gd name="connsiteY65" fmla="*/ 160634 h 175170"/>
                <a:gd name="connsiteX66" fmla="*/ 89973 w 189841"/>
                <a:gd name="connsiteY66" fmla="*/ 159724 h 175170"/>
                <a:gd name="connsiteX67" fmla="*/ 89964 w 189841"/>
                <a:gd name="connsiteY67" fmla="*/ 158350 h 175170"/>
                <a:gd name="connsiteX68" fmla="*/ 167536 w 189841"/>
                <a:gd name="connsiteY68" fmla="*/ 152919 h 175170"/>
                <a:gd name="connsiteX69" fmla="*/ 167180 w 189841"/>
                <a:gd name="connsiteY69" fmla="*/ 155589 h 175170"/>
                <a:gd name="connsiteX70" fmla="*/ 166078 w 189841"/>
                <a:gd name="connsiteY70" fmla="*/ 157728 h 175170"/>
                <a:gd name="connsiteX71" fmla="*/ 167221 w 189841"/>
                <a:gd name="connsiteY71" fmla="*/ 159502 h 175170"/>
                <a:gd name="connsiteX72" fmla="*/ 167767 w 189841"/>
                <a:gd name="connsiteY72" fmla="*/ 161523 h 175170"/>
                <a:gd name="connsiteX73" fmla="*/ 166495 w 189841"/>
                <a:gd name="connsiteY73" fmla="*/ 161857 h 175170"/>
                <a:gd name="connsiteX74" fmla="*/ 165651 w 189841"/>
                <a:gd name="connsiteY74" fmla="*/ 163269 h 175170"/>
                <a:gd name="connsiteX75" fmla="*/ 164794 w 189841"/>
                <a:gd name="connsiteY75" fmla="*/ 162079 h 175170"/>
                <a:gd name="connsiteX76" fmla="*/ 165163 w 189841"/>
                <a:gd name="connsiteY76" fmla="*/ 160705 h 175170"/>
                <a:gd name="connsiteX77" fmla="*/ 164165 w 189841"/>
                <a:gd name="connsiteY77" fmla="*/ 158526 h 175170"/>
                <a:gd name="connsiteX78" fmla="*/ 166053 w 189841"/>
                <a:gd name="connsiteY78" fmla="*/ 155292 h 175170"/>
                <a:gd name="connsiteX79" fmla="*/ 166096 w 189841"/>
                <a:gd name="connsiteY79" fmla="*/ 153720 h 175170"/>
                <a:gd name="connsiteX80" fmla="*/ 73059 w 189841"/>
                <a:gd name="connsiteY80" fmla="*/ 138689 h 175170"/>
                <a:gd name="connsiteX81" fmla="*/ 74106 w 189841"/>
                <a:gd name="connsiteY81" fmla="*/ 140102 h 175170"/>
                <a:gd name="connsiteX82" fmla="*/ 76300 w 189841"/>
                <a:gd name="connsiteY82" fmla="*/ 142164 h 175170"/>
                <a:gd name="connsiteX83" fmla="*/ 75343 w 189841"/>
                <a:gd name="connsiteY83" fmla="*/ 143599 h 175170"/>
                <a:gd name="connsiteX84" fmla="*/ 75086 w 189841"/>
                <a:gd name="connsiteY84" fmla="*/ 144696 h 175170"/>
                <a:gd name="connsiteX85" fmla="*/ 72815 w 189841"/>
                <a:gd name="connsiteY85" fmla="*/ 143942 h 175170"/>
                <a:gd name="connsiteX86" fmla="*/ 72182 w 189841"/>
                <a:gd name="connsiteY86" fmla="*/ 142810 h 175170"/>
                <a:gd name="connsiteX87" fmla="*/ 72068 w 189841"/>
                <a:gd name="connsiteY87" fmla="*/ 140299 h 175170"/>
                <a:gd name="connsiteX88" fmla="*/ 72664 w 189841"/>
                <a:gd name="connsiteY88" fmla="*/ 139074 h 175170"/>
                <a:gd name="connsiteX89" fmla="*/ 189841 w 189841"/>
                <a:gd name="connsiteY89" fmla="*/ 137431 h 175170"/>
                <a:gd name="connsiteX90" fmla="*/ 189801 w 189841"/>
                <a:gd name="connsiteY90" fmla="*/ 139035 h 175170"/>
                <a:gd name="connsiteX91" fmla="*/ 187899 w 189841"/>
                <a:gd name="connsiteY91" fmla="*/ 143092 h 175170"/>
                <a:gd name="connsiteX92" fmla="*/ 186211 w 189841"/>
                <a:gd name="connsiteY92" fmla="*/ 145117 h 175170"/>
                <a:gd name="connsiteX93" fmla="*/ 186655 w 189841"/>
                <a:gd name="connsiteY93" fmla="*/ 146743 h 175170"/>
                <a:gd name="connsiteX94" fmla="*/ 183952 w 189841"/>
                <a:gd name="connsiteY94" fmla="*/ 147193 h 175170"/>
                <a:gd name="connsiteX95" fmla="*/ 181238 w 189841"/>
                <a:gd name="connsiteY95" fmla="*/ 150175 h 175170"/>
                <a:gd name="connsiteX96" fmla="*/ 179642 w 189841"/>
                <a:gd name="connsiteY96" fmla="*/ 150705 h 175170"/>
                <a:gd name="connsiteX97" fmla="*/ 179091 w 189841"/>
                <a:gd name="connsiteY97" fmla="*/ 150636 h 175170"/>
                <a:gd name="connsiteX98" fmla="*/ 178424 w 189841"/>
                <a:gd name="connsiteY98" fmla="*/ 149468 h 175170"/>
                <a:gd name="connsiteX99" fmla="*/ 179348 w 189841"/>
                <a:gd name="connsiteY99" fmla="*/ 146645 h 175170"/>
                <a:gd name="connsiteX100" fmla="*/ 178493 w 189841"/>
                <a:gd name="connsiteY100" fmla="*/ 144829 h 175170"/>
                <a:gd name="connsiteX101" fmla="*/ 178441 w 189841"/>
                <a:gd name="connsiteY101" fmla="*/ 144059 h 175170"/>
                <a:gd name="connsiteX102" fmla="*/ 179726 w 189841"/>
                <a:gd name="connsiteY102" fmla="*/ 142993 h 175170"/>
                <a:gd name="connsiteX103" fmla="*/ 180629 w 189841"/>
                <a:gd name="connsiteY103" fmla="*/ 141396 h 175170"/>
                <a:gd name="connsiteX104" fmla="*/ 182822 w 189841"/>
                <a:gd name="connsiteY104" fmla="*/ 139667 h 175170"/>
                <a:gd name="connsiteX105" fmla="*/ 188506 w 189841"/>
                <a:gd name="connsiteY105" fmla="*/ 137619 h 175170"/>
                <a:gd name="connsiteX106" fmla="*/ 127421 w 189841"/>
                <a:gd name="connsiteY106" fmla="*/ 136416 h 175170"/>
                <a:gd name="connsiteX107" fmla="*/ 128713 w 189841"/>
                <a:gd name="connsiteY107" fmla="*/ 137395 h 175170"/>
                <a:gd name="connsiteX108" fmla="*/ 129045 w 189841"/>
                <a:gd name="connsiteY108" fmla="*/ 138469 h 175170"/>
                <a:gd name="connsiteX109" fmla="*/ 128017 w 189841"/>
                <a:gd name="connsiteY109" fmla="*/ 139799 h 175170"/>
                <a:gd name="connsiteX110" fmla="*/ 126570 w 189841"/>
                <a:gd name="connsiteY110" fmla="*/ 139322 h 175170"/>
                <a:gd name="connsiteX111" fmla="*/ 127160 w 189841"/>
                <a:gd name="connsiteY111" fmla="*/ 138816 h 175170"/>
                <a:gd name="connsiteX112" fmla="*/ 127508 w 189841"/>
                <a:gd name="connsiteY112" fmla="*/ 138159 h 175170"/>
                <a:gd name="connsiteX113" fmla="*/ 127546 w 189841"/>
                <a:gd name="connsiteY113" fmla="*/ 137212 h 175170"/>
                <a:gd name="connsiteX114" fmla="*/ 127154 w 189841"/>
                <a:gd name="connsiteY114" fmla="*/ 136629 h 175170"/>
                <a:gd name="connsiteX115" fmla="*/ 148672 w 189841"/>
                <a:gd name="connsiteY115" fmla="*/ 132238 h 175170"/>
                <a:gd name="connsiteX116" fmla="*/ 149805 w 189841"/>
                <a:gd name="connsiteY116" fmla="*/ 132602 h 175170"/>
                <a:gd name="connsiteX117" fmla="*/ 150676 w 189841"/>
                <a:gd name="connsiteY117" fmla="*/ 133587 h 175170"/>
                <a:gd name="connsiteX118" fmla="*/ 148929 w 189841"/>
                <a:gd name="connsiteY118" fmla="*/ 134192 h 175170"/>
                <a:gd name="connsiteX119" fmla="*/ 147819 w 189841"/>
                <a:gd name="connsiteY119" fmla="*/ 135462 h 175170"/>
                <a:gd name="connsiteX120" fmla="*/ 146461 w 189841"/>
                <a:gd name="connsiteY120" fmla="*/ 134562 h 175170"/>
                <a:gd name="connsiteX121" fmla="*/ 146456 w 189841"/>
                <a:gd name="connsiteY121" fmla="*/ 133333 h 175170"/>
                <a:gd name="connsiteX122" fmla="*/ 147942 w 189841"/>
                <a:gd name="connsiteY122" fmla="*/ 133709 h 175170"/>
                <a:gd name="connsiteX123" fmla="*/ 148985 w 189841"/>
                <a:gd name="connsiteY123" fmla="*/ 133017 h 175170"/>
                <a:gd name="connsiteX124" fmla="*/ 181674 w 189841"/>
                <a:gd name="connsiteY124" fmla="*/ 132173 h 175170"/>
                <a:gd name="connsiteX125" fmla="*/ 181836 w 189841"/>
                <a:gd name="connsiteY125" fmla="*/ 132646 h 175170"/>
                <a:gd name="connsiteX126" fmla="*/ 181818 w 189841"/>
                <a:gd name="connsiteY126" fmla="*/ 133656 h 175170"/>
                <a:gd name="connsiteX127" fmla="*/ 181622 w 189841"/>
                <a:gd name="connsiteY127" fmla="*/ 134385 h 175170"/>
                <a:gd name="connsiteX128" fmla="*/ 181138 w 189841"/>
                <a:gd name="connsiteY128" fmla="*/ 134788 h 175170"/>
                <a:gd name="connsiteX129" fmla="*/ 180028 w 189841"/>
                <a:gd name="connsiteY129" fmla="*/ 133630 h 175170"/>
                <a:gd name="connsiteX130" fmla="*/ 179976 w 189841"/>
                <a:gd name="connsiteY130" fmla="*/ 133026 h 175170"/>
                <a:gd name="connsiteX131" fmla="*/ 181106 w 189841"/>
                <a:gd name="connsiteY131" fmla="*/ 132333 h 175170"/>
                <a:gd name="connsiteX132" fmla="*/ 108112 w 189841"/>
                <a:gd name="connsiteY132" fmla="*/ 129062 h 175170"/>
                <a:gd name="connsiteX133" fmla="*/ 108151 w 189841"/>
                <a:gd name="connsiteY133" fmla="*/ 130553 h 175170"/>
                <a:gd name="connsiteX134" fmla="*/ 108000 w 189841"/>
                <a:gd name="connsiteY134" fmla="*/ 131087 h 175170"/>
                <a:gd name="connsiteX135" fmla="*/ 103474 w 189841"/>
                <a:gd name="connsiteY135" fmla="*/ 131806 h 175170"/>
                <a:gd name="connsiteX136" fmla="*/ 103893 w 189841"/>
                <a:gd name="connsiteY136" fmla="*/ 130097 h 175170"/>
                <a:gd name="connsiteX137" fmla="*/ 104169 w 189841"/>
                <a:gd name="connsiteY137" fmla="*/ 129557 h 175170"/>
                <a:gd name="connsiteX138" fmla="*/ 105668 w 189841"/>
                <a:gd name="connsiteY138" fmla="*/ 130352 h 175170"/>
                <a:gd name="connsiteX139" fmla="*/ 106220 w 189841"/>
                <a:gd name="connsiteY139" fmla="*/ 129946 h 175170"/>
                <a:gd name="connsiteX140" fmla="*/ 106445 w 189841"/>
                <a:gd name="connsiteY140" fmla="*/ 129476 h 175170"/>
                <a:gd name="connsiteX141" fmla="*/ 124921 w 189841"/>
                <a:gd name="connsiteY141" fmla="*/ 128417 h 175170"/>
                <a:gd name="connsiteX142" fmla="*/ 127376 w 189841"/>
                <a:gd name="connsiteY142" fmla="*/ 130240 h 175170"/>
                <a:gd name="connsiteX143" fmla="*/ 126819 w 189841"/>
                <a:gd name="connsiteY143" fmla="*/ 131339 h 175170"/>
                <a:gd name="connsiteX144" fmla="*/ 126434 w 189841"/>
                <a:gd name="connsiteY144" fmla="*/ 131737 h 175170"/>
                <a:gd name="connsiteX145" fmla="*/ 124761 w 189841"/>
                <a:gd name="connsiteY145" fmla="*/ 130134 h 175170"/>
                <a:gd name="connsiteX146" fmla="*/ 124126 w 189841"/>
                <a:gd name="connsiteY146" fmla="*/ 129197 h 175170"/>
                <a:gd name="connsiteX147" fmla="*/ 168476 w 189841"/>
                <a:gd name="connsiteY147" fmla="*/ 125472 h 175170"/>
                <a:gd name="connsiteX148" fmla="*/ 170389 w 189841"/>
                <a:gd name="connsiteY148" fmla="*/ 126393 h 175170"/>
                <a:gd name="connsiteX149" fmla="*/ 166873 w 189841"/>
                <a:gd name="connsiteY149" fmla="*/ 127910 h 175170"/>
                <a:gd name="connsiteX150" fmla="*/ 165940 w 189841"/>
                <a:gd name="connsiteY150" fmla="*/ 128712 h 175170"/>
                <a:gd name="connsiteX151" fmla="*/ 163345 w 189841"/>
                <a:gd name="connsiteY151" fmla="*/ 128885 h 175170"/>
                <a:gd name="connsiteX152" fmla="*/ 161488 w 189841"/>
                <a:gd name="connsiteY152" fmla="*/ 129993 h 175170"/>
                <a:gd name="connsiteX153" fmla="*/ 160797 w 189841"/>
                <a:gd name="connsiteY153" fmla="*/ 130023 h 175170"/>
                <a:gd name="connsiteX154" fmla="*/ 161619 w 189841"/>
                <a:gd name="connsiteY154" fmla="*/ 128797 h 175170"/>
                <a:gd name="connsiteX155" fmla="*/ 163954 w 189841"/>
                <a:gd name="connsiteY155" fmla="*/ 127117 h 175170"/>
                <a:gd name="connsiteX156" fmla="*/ 167355 w 189841"/>
                <a:gd name="connsiteY156" fmla="*/ 125637 h 175170"/>
                <a:gd name="connsiteX157" fmla="*/ 140505 w 189841"/>
                <a:gd name="connsiteY157" fmla="*/ 124652 h 175170"/>
                <a:gd name="connsiteX158" fmla="*/ 141915 w 189841"/>
                <a:gd name="connsiteY158" fmla="*/ 125533 h 175170"/>
                <a:gd name="connsiteX159" fmla="*/ 140151 w 189841"/>
                <a:gd name="connsiteY159" fmla="*/ 126118 h 175170"/>
                <a:gd name="connsiteX160" fmla="*/ 137380 w 189841"/>
                <a:gd name="connsiteY160" fmla="*/ 128386 h 175170"/>
                <a:gd name="connsiteX161" fmla="*/ 135428 w 189841"/>
                <a:gd name="connsiteY161" fmla="*/ 128594 h 175170"/>
                <a:gd name="connsiteX162" fmla="*/ 134811 w 189841"/>
                <a:gd name="connsiteY162" fmla="*/ 128403 h 175170"/>
                <a:gd name="connsiteX163" fmla="*/ 135996 w 189841"/>
                <a:gd name="connsiteY163" fmla="*/ 127964 h 175170"/>
                <a:gd name="connsiteX164" fmla="*/ 136828 w 189841"/>
                <a:gd name="connsiteY164" fmla="*/ 127498 h 175170"/>
                <a:gd name="connsiteX165" fmla="*/ 137227 w 189841"/>
                <a:gd name="connsiteY165" fmla="*/ 126934 h 175170"/>
                <a:gd name="connsiteX166" fmla="*/ 139207 w 189841"/>
                <a:gd name="connsiteY166" fmla="*/ 125943 h 175170"/>
                <a:gd name="connsiteX167" fmla="*/ 112100 w 189841"/>
                <a:gd name="connsiteY167" fmla="*/ 122454 h 175170"/>
                <a:gd name="connsiteX168" fmla="*/ 113141 w 189841"/>
                <a:gd name="connsiteY168" fmla="*/ 124351 h 175170"/>
                <a:gd name="connsiteX169" fmla="*/ 112206 w 189841"/>
                <a:gd name="connsiteY169" fmla="*/ 125057 h 175170"/>
                <a:gd name="connsiteX170" fmla="*/ 111802 w 189841"/>
                <a:gd name="connsiteY170" fmla="*/ 125168 h 175170"/>
                <a:gd name="connsiteX171" fmla="*/ 111224 w 189841"/>
                <a:gd name="connsiteY171" fmla="*/ 124096 h 175170"/>
                <a:gd name="connsiteX172" fmla="*/ 111103 w 189841"/>
                <a:gd name="connsiteY172" fmla="*/ 123096 h 175170"/>
                <a:gd name="connsiteX173" fmla="*/ 111334 w 189841"/>
                <a:gd name="connsiteY173" fmla="*/ 122510 h 175170"/>
                <a:gd name="connsiteX174" fmla="*/ 160140 w 189841"/>
                <a:gd name="connsiteY174" fmla="*/ 120840 h 175170"/>
                <a:gd name="connsiteX175" fmla="*/ 161864 w 189841"/>
                <a:gd name="connsiteY175" fmla="*/ 121735 h 175170"/>
                <a:gd name="connsiteX176" fmla="*/ 162956 w 189841"/>
                <a:gd name="connsiteY176" fmla="*/ 122814 h 175170"/>
                <a:gd name="connsiteX177" fmla="*/ 163489 w 189841"/>
                <a:gd name="connsiteY177" fmla="*/ 123020 h 175170"/>
                <a:gd name="connsiteX178" fmla="*/ 163366 w 189841"/>
                <a:gd name="connsiteY178" fmla="*/ 123671 h 175170"/>
                <a:gd name="connsiteX179" fmla="*/ 163038 w 189841"/>
                <a:gd name="connsiteY179" fmla="*/ 124102 h 175170"/>
                <a:gd name="connsiteX180" fmla="*/ 160831 w 189841"/>
                <a:gd name="connsiteY180" fmla="*/ 124453 h 175170"/>
                <a:gd name="connsiteX181" fmla="*/ 161224 w 189841"/>
                <a:gd name="connsiteY181" fmla="*/ 122434 h 175170"/>
                <a:gd name="connsiteX182" fmla="*/ 123575 w 189841"/>
                <a:gd name="connsiteY182" fmla="*/ 119280 h 175170"/>
                <a:gd name="connsiteX183" fmla="*/ 124465 w 189841"/>
                <a:gd name="connsiteY183" fmla="*/ 119553 h 175170"/>
                <a:gd name="connsiteX184" fmla="*/ 124381 w 189841"/>
                <a:gd name="connsiteY184" fmla="*/ 120919 h 175170"/>
                <a:gd name="connsiteX185" fmla="*/ 124545 w 189841"/>
                <a:gd name="connsiteY185" fmla="*/ 121320 h 175170"/>
                <a:gd name="connsiteX186" fmla="*/ 122787 w 189841"/>
                <a:gd name="connsiteY186" fmla="*/ 123281 h 175170"/>
                <a:gd name="connsiteX187" fmla="*/ 121325 w 189841"/>
                <a:gd name="connsiteY187" fmla="*/ 123069 h 175170"/>
                <a:gd name="connsiteX188" fmla="*/ 120710 w 189841"/>
                <a:gd name="connsiteY188" fmla="*/ 122171 h 175170"/>
                <a:gd name="connsiteX189" fmla="*/ 121617 w 189841"/>
                <a:gd name="connsiteY189" fmla="*/ 120327 h 175170"/>
                <a:gd name="connsiteX190" fmla="*/ 129993 w 189841"/>
                <a:gd name="connsiteY190" fmla="*/ 118062 h 175170"/>
                <a:gd name="connsiteX191" fmla="*/ 130857 w 189841"/>
                <a:gd name="connsiteY191" fmla="*/ 118349 h 175170"/>
                <a:gd name="connsiteX192" fmla="*/ 131377 w 189841"/>
                <a:gd name="connsiteY192" fmla="*/ 119179 h 175170"/>
                <a:gd name="connsiteX193" fmla="*/ 131297 w 189841"/>
                <a:gd name="connsiteY193" fmla="*/ 122060 h 175170"/>
                <a:gd name="connsiteX194" fmla="*/ 130449 w 189841"/>
                <a:gd name="connsiteY194" fmla="*/ 123885 h 175170"/>
                <a:gd name="connsiteX195" fmla="*/ 128477 w 189841"/>
                <a:gd name="connsiteY195" fmla="*/ 124848 h 175170"/>
                <a:gd name="connsiteX196" fmla="*/ 127132 w 189841"/>
                <a:gd name="connsiteY196" fmla="*/ 123458 h 175170"/>
                <a:gd name="connsiteX197" fmla="*/ 126380 w 189841"/>
                <a:gd name="connsiteY197" fmla="*/ 121269 h 175170"/>
                <a:gd name="connsiteX198" fmla="*/ 106963 w 189841"/>
                <a:gd name="connsiteY198" fmla="*/ 117710 h 175170"/>
                <a:gd name="connsiteX199" fmla="*/ 107965 w 189841"/>
                <a:gd name="connsiteY199" fmla="*/ 118165 h 175170"/>
                <a:gd name="connsiteX200" fmla="*/ 108116 w 189841"/>
                <a:gd name="connsiteY200" fmla="*/ 118793 h 175170"/>
                <a:gd name="connsiteX201" fmla="*/ 107842 w 189841"/>
                <a:gd name="connsiteY201" fmla="*/ 119877 h 175170"/>
                <a:gd name="connsiteX202" fmla="*/ 107024 w 189841"/>
                <a:gd name="connsiteY202" fmla="*/ 120260 h 175170"/>
                <a:gd name="connsiteX203" fmla="*/ 105659 w 189841"/>
                <a:gd name="connsiteY203" fmla="*/ 119702 h 175170"/>
                <a:gd name="connsiteX204" fmla="*/ 106022 w 189841"/>
                <a:gd name="connsiteY204" fmla="*/ 118304 h 175170"/>
                <a:gd name="connsiteX205" fmla="*/ 105802 w 189841"/>
                <a:gd name="connsiteY205" fmla="*/ 110953 h 175170"/>
                <a:gd name="connsiteX206" fmla="*/ 106184 w 189841"/>
                <a:gd name="connsiteY206" fmla="*/ 111607 h 175170"/>
                <a:gd name="connsiteX207" fmla="*/ 106912 w 189841"/>
                <a:gd name="connsiteY207" fmla="*/ 112667 h 175170"/>
                <a:gd name="connsiteX208" fmla="*/ 105901 w 189841"/>
                <a:gd name="connsiteY208" fmla="*/ 114289 h 175170"/>
                <a:gd name="connsiteX209" fmla="*/ 104644 w 189841"/>
                <a:gd name="connsiteY209" fmla="*/ 115062 h 175170"/>
                <a:gd name="connsiteX210" fmla="*/ 105061 w 189841"/>
                <a:gd name="connsiteY210" fmla="*/ 113294 h 175170"/>
                <a:gd name="connsiteX211" fmla="*/ 104441 w 189841"/>
                <a:gd name="connsiteY211" fmla="*/ 112371 h 175170"/>
                <a:gd name="connsiteX212" fmla="*/ 104996 w 189841"/>
                <a:gd name="connsiteY212" fmla="*/ 111586 h 175170"/>
                <a:gd name="connsiteX213" fmla="*/ 116311 w 189841"/>
                <a:gd name="connsiteY213" fmla="*/ 110092 h 175170"/>
                <a:gd name="connsiteX214" fmla="*/ 117114 w 189841"/>
                <a:gd name="connsiteY214" fmla="*/ 110485 h 175170"/>
                <a:gd name="connsiteX215" fmla="*/ 117004 w 189841"/>
                <a:gd name="connsiteY215" fmla="*/ 113135 h 175170"/>
                <a:gd name="connsiteX216" fmla="*/ 116421 w 189841"/>
                <a:gd name="connsiteY216" fmla="*/ 113112 h 175170"/>
                <a:gd name="connsiteX217" fmla="*/ 116082 w 189841"/>
                <a:gd name="connsiteY217" fmla="*/ 112703 h 175170"/>
                <a:gd name="connsiteX218" fmla="*/ 116063 w 189841"/>
                <a:gd name="connsiteY218" fmla="*/ 111689 h 175170"/>
                <a:gd name="connsiteX219" fmla="*/ 126076 w 189841"/>
                <a:gd name="connsiteY219" fmla="*/ 110085 h 175170"/>
                <a:gd name="connsiteX220" fmla="*/ 128615 w 189841"/>
                <a:gd name="connsiteY220" fmla="*/ 111057 h 175170"/>
                <a:gd name="connsiteX221" fmla="*/ 128492 w 189841"/>
                <a:gd name="connsiteY221" fmla="*/ 111670 h 175170"/>
                <a:gd name="connsiteX222" fmla="*/ 127283 w 189841"/>
                <a:gd name="connsiteY222" fmla="*/ 112383 h 175170"/>
                <a:gd name="connsiteX223" fmla="*/ 125169 w 189841"/>
                <a:gd name="connsiteY223" fmla="*/ 112540 h 175170"/>
                <a:gd name="connsiteX224" fmla="*/ 125292 w 189841"/>
                <a:gd name="connsiteY224" fmla="*/ 110592 h 175170"/>
                <a:gd name="connsiteX225" fmla="*/ 148259 w 189841"/>
                <a:gd name="connsiteY225" fmla="*/ 105865 h 175170"/>
                <a:gd name="connsiteX226" fmla="*/ 147054 w 189841"/>
                <a:gd name="connsiteY226" fmla="*/ 107265 h 175170"/>
                <a:gd name="connsiteX227" fmla="*/ 145020 w 189841"/>
                <a:gd name="connsiteY227" fmla="*/ 108570 h 175170"/>
                <a:gd name="connsiteX228" fmla="*/ 141138 w 189841"/>
                <a:gd name="connsiteY228" fmla="*/ 109568 h 175170"/>
                <a:gd name="connsiteX229" fmla="*/ 140101 w 189841"/>
                <a:gd name="connsiteY229" fmla="*/ 109666 h 175170"/>
                <a:gd name="connsiteX230" fmla="*/ 140418 w 189841"/>
                <a:gd name="connsiteY230" fmla="*/ 108645 h 175170"/>
                <a:gd name="connsiteX231" fmla="*/ 142399 w 189841"/>
                <a:gd name="connsiteY231" fmla="*/ 106873 h 175170"/>
                <a:gd name="connsiteX232" fmla="*/ 145167 w 189841"/>
                <a:gd name="connsiteY232" fmla="*/ 106786 h 175170"/>
                <a:gd name="connsiteX233" fmla="*/ 147689 w 189841"/>
                <a:gd name="connsiteY233" fmla="*/ 105898 h 175170"/>
                <a:gd name="connsiteX234" fmla="*/ 119248 w 189841"/>
                <a:gd name="connsiteY234" fmla="*/ 105703 h 175170"/>
                <a:gd name="connsiteX235" fmla="*/ 120408 w 189841"/>
                <a:gd name="connsiteY235" fmla="*/ 106538 h 175170"/>
                <a:gd name="connsiteX236" fmla="*/ 123362 w 189841"/>
                <a:gd name="connsiteY236" fmla="*/ 106981 h 175170"/>
                <a:gd name="connsiteX237" fmla="*/ 124035 w 189841"/>
                <a:gd name="connsiteY237" fmla="*/ 107775 h 175170"/>
                <a:gd name="connsiteX238" fmla="*/ 123215 w 189841"/>
                <a:gd name="connsiteY238" fmla="*/ 109423 h 175170"/>
                <a:gd name="connsiteX239" fmla="*/ 121835 w 189841"/>
                <a:gd name="connsiteY239" fmla="*/ 109169 h 175170"/>
                <a:gd name="connsiteX240" fmla="*/ 119527 w 189841"/>
                <a:gd name="connsiteY240" fmla="*/ 107396 h 175170"/>
                <a:gd name="connsiteX241" fmla="*/ 118738 w 189841"/>
                <a:gd name="connsiteY241" fmla="*/ 106591 h 175170"/>
                <a:gd name="connsiteX242" fmla="*/ 118300 w 189841"/>
                <a:gd name="connsiteY242" fmla="*/ 105799 h 175170"/>
                <a:gd name="connsiteX243" fmla="*/ 104648 w 189841"/>
                <a:gd name="connsiteY243" fmla="*/ 105651 h 175170"/>
                <a:gd name="connsiteX244" fmla="*/ 105128 w 189841"/>
                <a:gd name="connsiteY244" fmla="*/ 106512 h 175170"/>
                <a:gd name="connsiteX245" fmla="*/ 104136 w 189841"/>
                <a:gd name="connsiteY245" fmla="*/ 108356 h 175170"/>
                <a:gd name="connsiteX246" fmla="*/ 102655 w 189841"/>
                <a:gd name="connsiteY246" fmla="*/ 109597 h 175170"/>
                <a:gd name="connsiteX247" fmla="*/ 102401 w 189841"/>
                <a:gd name="connsiteY247" fmla="*/ 107736 h 175170"/>
                <a:gd name="connsiteX248" fmla="*/ 103350 w 189841"/>
                <a:gd name="connsiteY248" fmla="*/ 105778 h 175170"/>
                <a:gd name="connsiteX249" fmla="*/ 158719 w 189841"/>
                <a:gd name="connsiteY249" fmla="*/ 102358 h 175170"/>
                <a:gd name="connsiteX250" fmla="*/ 161438 w 189841"/>
                <a:gd name="connsiteY250" fmla="*/ 103201 h 175170"/>
                <a:gd name="connsiteX251" fmla="*/ 162194 w 189841"/>
                <a:gd name="connsiteY251" fmla="*/ 103111 h 175170"/>
                <a:gd name="connsiteX252" fmla="*/ 163479 w 189841"/>
                <a:gd name="connsiteY252" fmla="*/ 103417 h 175170"/>
                <a:gd name="connsiteX253" fmla="*/ 163820 w 189841"/>
                <a:gd name="connsiteY253" fmla="*/ 104971 h 175170"/>
                <a:gd name="connsiteX254" fmla="*/ 162118 w 189841"/>
                <a:gd name="connsiteY254" fmla="*/ 105196 h 175170"/>
                <a:gd name="connsiteX255" fmla="*/ 159173 w 189841"/>
                <a:gd name="connsiteY255" fmla="*/ 106622 h 175170"/>
                <a:gd name="connsiteX256" fmla="*/ 157920 w 189841"/>
                <a:gd name="connsiteY256" fmla="*/ 106309 h 175170"/>
                <a:gd name="connsiteX257" fmla="*/ 156422 w 189841"/>
                <a:gd name="connsiteY257" fmla="*/ 105069 h 175170"/>
                <a:gd name="connsiteX258" fmla="*/ 154042 w 189841"/>
                <a:gd name="connsiteY258" fmla="*/ 104940 h 175170"/>
                <a:gd name="connsiteX259" fmla="*/ 153338 w 189841"/>
                <a:gd name="connsiteY259" fmla="*/ 104602 h 175170"/>
                <a:gd name="connsiteX260" fmla="*/ 154612 w 189841"/>
                <a:gd name="connsiteY260" fmla="*/ 103140 h 175170"/>
                <a:gd name="connsiteX261" fmla="*/ 156927 w 189841"/>
                <a:gd name="connsiteY261" fmla="*/ 102400 h 175170"/>
                <a:gd name="connsiteX262" fmla="*/ 23108 w 189841"/>
                <a:gd name="connsiteY262" fmla="*/ 99333 h 175170"/>
                <a:gd name="connsiteX263" fmla="*/ 24593 w 189841"/>
                <a:gd name="connsiteY263" fmla="*/ 101294 h 175170"/>
                <a:gd name="connsiteX264" fmla="*/ 26388 w 189841"/>
                <a:gd name="connsiteY264" fmla="*/ 101608 h 175170"/>
                <a:gd name="connsiteX265" fmla="*/ 27463 w 189841"/>
                <a:gd name="connsiteY265" fmla="*/ 102513 h 175170"/>
                <a:gd name="connsiteX266" fmla="*/ 29795 w 189841"/>
                <a:gd name="connsiteY266" fmla="*/ 105004 h 175170"/>
                <a:gd name="connsiteX267" fmla="*/ 27919 w 189841"/>
                <a:gd name="connsiteY267" fmla="*/ 104387 h 175170"/>
                <a:gd name="connsiteX268" fmla="*/ 25917 w 189841"/>
                <a:gd name="connsiteY268" fmla="*/ 106110 h 175170"/>
                <a:gd name="connsiteX269" fmla="*/ 23380 w 189841"/>
                <a:gd name="connsiteY269" fmla="*/ 104097 h 175170"/>
                <a:gd name="connsiteX270" fmla="*/ 21860 w 189841"/>
                <a:gd name="connsiteY270" fmla="*/ 102058 h 175170"/>
                <a:gd name="connsiteX271" fmla="*/ 21516 w 189841"/>
                <a:gd name="connsiteY271" fmla="*/ 101241 h 175170"/>
                <a:gd name="connsiteX272" fmla="*/ 113744 w 189841"/>
                <a:gd name="connsiteY272" fmla="*/ 97780 h 175170"/>
                <a:gd name="connsiteX273" fmla="*/ 115173 w 189841"/>
                <a:gd name="connsiteY273" fmla="*/ 99739 h 175170"/>
                <a:gd name="connsiteX274" fmla="*/ 117412 w 189841"/>
                <a:gd name="connsiteY274" fmla="*/ 99967 h 175170"/>
                <a:gd name="connsiteX275" fmla="*/ 117238 w 189841"/>
                <a:gd name="connsiteY275" fmla="*/ 101174 h 175170"/>
                <a:gd name="connsiteX276" fmla="*/ 117946 w 189841"/>
                <a:gd name="connsiteY276" fmla="*/ 102729 h 175170"/>
                <a:gd name="connsiteX277" fmla="*/ 118194 w 189841"/>
                <a:gd name="connsiteY277" fmla="*/ 103684 h 175170"/>
                <a:gd name="connsiteX278" fmla="*/ 117542 w 189841"/>
                <a:gd name="connsiteY278" fmla="*/ 105403 h 175170"/>
                <a:gd name="connsiteX279" fmla="*/ 115814 w 189841"/>
                <a:gd name="connsiteY279" fmla="*/ 103405 h 175170"/>
                <a:gd name="connsiteX280" fmla="*/ 113923 w 189841"/>
                <a:gd name="connsiteY280" fmla="*/ 102035 h 175170"/>
                <a:gd name="connsiteX281" fmla="*/ 113215 w 189841"/>
                <a:gd name="connsiteY281" fmla="*/ 100840 h 175170"/>
                <a:gd name="connsiteX282" fmla="*/ 112062 w 189841"/>
                <a:gd name="connsiteY282" fmla="*/ 100118 h 175170"/>
                <a:gd name="connsiteX283" fmla="*/ 111748 w 189841"/>
                <a:gd name="connsiteY283" fmla="*/ 98509 h 175170"/>
                <a:gd name="connsiteX284" fmla="*/ 113146 w 189841"/>
                <a:gd name="connsiteY284" fmla="*/ 97847 h 175170"/>
                <a:gd name="connsiteX285" fmla="*/ 84849 w 189841"/>
                <a:gd name="connsiteY285" fmla="*/ 97755 h 175170"/>
                <a:gd name="connsiteX286" fmla="*/ 85553 w 189841"/>
                <a:gd name="connsiteY286" fmla="*/ 97885 h 175170"/>
                <a:gd name="connsiteX287" fmla="*/ 85981 w 189841"/>
                <a:gd name="connsiteY287" fmla="*/ 98290 h 175170"/>
                <a:gd name="connsiteX288" fmla="*/ 86337 w 189841"/>
                <a:gd name="connsiteY288" fmla="*/ 99426 h 175170"/>
                <a:gd name="connsiteX289" fmla="*/ 85462 w 189841"/>
                <a:gd name="connsiteY289" fmla="*/ 100060 h 175170"/>
                <a:gd name="connsiteX290" fmla="*/ 84475 w 189841"/>
                <a:gd name="connsiteY290" fmla="*/ 100028 h 175170"/>
                <a:gd name="connsiteX291" fmla="*/ 83778 w 189841"/>
                <a:gd name="connsiteY291" fmla="*/ 99795 h 175170"/>
                <a:gd name="connsiteX292" fmla="*/ 83426 w 189841"/>
                <a:gd name="connsiteY292" fmla="*/ 99289 h 175170"/>
                <a:gd name="connsiteX293" fmla="*/ 83862 w 189841"/>
                <a:gd name="connsiteY293" fmla="*/ 99047 h 175170"/>
                <a:gd name="connsiteX294" fmla="*/ 84374 w 189841"/>
                <a:gd name="connsiteY294" fmla="*/ 98030 h 175170"/>
                <a:gd name="connsiteX295" fmla="*/ 20270 w 189841"/>
                <a:gd name="connsiteY295" fmla="*/ 85327 h 175170"/>
                <a:gd name="connsiteX296" fmla="*/ 21357 w 189841"/>
                <a:gd name="connsiteY296" fmla="*/ 87684 h 175170"/>
                <a:gd name="connsiteX297" fmla="*/ 21631 w 189841"/>
                <a:gd name="connsiteY297" fmla="*/ 90652 h 175170"/>
                <a:gd name="connsiteX298" fmla="*/ 23190 w 189841"/>
                <a:gd name="connsiteY298" fmla="*/ 91209 h 175170"/>
                <a:gd name="connsiteX299" fmla="*/ 25261 w 189841"/>
                <a:gd name="connsiteY299" fmla="*/ 93882 h 175170"/>
                <a:gd name="connsiteX300" fmla="*/ 25082 w 189841"/>
                <a:gd name="connsiteY300" fmla="*/ 95249 h 175170"/>
                <a:gd name="connsiteX301" fmla="*/ 24652 w 189841"/>
                <a:gd name="connsiteY301" fmla="*/ 95717 h 175170"/>
                <a:gd name="connsiteX302" fmla="*/ 21221 w 189841"/>
                <a:gd name="connsiteY302" fmla="*/ 94456 h 175170"/>
                <a:gd name="connsiteX303" fmla="*/ 20398 w 189841"/>
                <a:gd name="connsiteY303" fmla="*/ 95022 h 175170"/>
                <a:gd name="connsiteX304" fmla="*/ 19394 w 189841"/>
                <a:gd name="connsiteY304" fmla="*/ 94792 h 175170"/>
                <a:gd name="connsiteX305" fmla="*/ 18774 w 189841"/>
                <a:gd name="connsiteY305" fmla="*/ 93316 h 175170"/>
                <a:gd name="connsiteX306" fmla="*/ 18845 w 189841"/>
                <a:gd name="connsiteY306" fmla="*/ 92797 h 175170"/>
                <a:gd name="connsiteX307" fmla="*/ 18284 w 189841"/>
                <a:gd name="connsiteY307" fmla="*/ 91913 h 175170"/>
                <a:gd name="connsiteX308" fmla="*/ 17815 w 189841"/>
                <a:gd name="connsiteY308" fmla="*/ 91518 h 175170"/>
                <a:gd name="connsiteX309" fmla="*/ 16464 w 189841"/>
                <a:gd name="connsiteY309" fmla="*/ 92692 h 175170"/>
                <a:gd name="connsiteX310" fmla="*/ 15612 w 189841"/>
                <a:gd name="connsiteY310" fmla="*/ 92912 h 175170"/>
                <a:gd name="connsiteX311" fmla="*/ 15606 w 189841"/>
                <a:gd name="connsiteY311" fmla="*/ 91837 h 175170"/>
                <a:gd name="connsiteX312" fmla="*/ 16854 w 189841"/>
                <a:gd name="connsiteY312" fmla="*/ 88881 h 175170"/>
                <a:gd name="connsiteX313" fmla="*/ 17437 w 189841"/>
                <a:gd name="connsiteY313" fmla="*/ 88382 h 175170"/>
                <a:gd name="connsiteX314" fmla="*/ 18463 w 189841"/>
                <a:gd name="connsiteY314" fmla="*/ 89358 h 175170"/>
                <a:gd name="connsiteX315" fmla="*/ 19307 w 189841"/>
                <a:gd name="connsiteY315" fmla="*/ 88995 h 175170"/>
                <a:gd name="connsiteX316" fmla="*/ 19942 w 189841"/>
                <a:gd name="connsiteY316" fmla="*/ 87396 h 175170"/>
                <a:gd name="connsiteX317" fmla="*/ 19985 w 189841"/>
                <a:gd name="connsiteY317" fmla="*/ 85801 h 175170"/>
                <a:gd name="connsiteX318" fmla="*/ 22184 w 189841"/>
                <a:gd name="connsiteY318" fmla="*/ 85094 h 175170"/>
                <a:gd name="connsiteX319" fmla="*/ 22739 w 189841"/>
                <a:gd name="connsiteY319" fmla="*/ 85292 h 175170"/>
                <a:gd name="connsiteX320" fmla="*/ 23324 w 189841"/>
                <a:gd name="connsiteY320" fmla="*/ 85933 h 175170"/>
                <a:gd name="connsiteX321" fmla="*/ 23319 w 189841"/>
                <a:gd name="connsiteY321" fmla="*/ 86588 h 175170"/>
                <a:gd name="connsiteX322" fmla="*/ 23553 w 189841"/>
                <a:gd name="connsiteY322" fmla="*/ 87290 h 175170"/>
                <a:gd name="connsiteX323" fmla="*/ 24162 w 189841"/>
                <a:gd name="connsiteY323" fmla="*/ 88136 h 175170"/>
                <a:gd name="connsiteX324" fmla="*/ 24593 w 189841"/>
                <a:gd name="connsiteY324" fmla="*/ 89070 h 175170"/>
                <a:gd name="connsiteX325" fmla="*/ 23501 w 189841"/>
                <a:gd name="connsiteY325" fmla="*/ 89348 h 175170"/>
                <a:gd name="connsiteX326" fmla="*/ 22110 w 189841"/>
                <a:gd name="connsiteY326" fmla="*/ 86887 h 175170"/>
                <a:gd name="connsiteX327" fmla="*/ 21607 w 189841"/>
                <a:gd name="connsiteY327" fmla="*/ 85189 h 175170"/>
                <a:gd name="connsiteX328" fmla="*/ 140766 w 189841"/>
                <a:gd name="connsiteY328" fmla="*/ 82063 h 175170"/>
                <a:gd name="connsiteX329" fmla="*/ 142932 w 189841"/>
                <a:gd name="connsiteY329" fmla="*/ 83533 h 175170"/>
                <a:gd name="connsiteX330" fmla="*/ 144036 w 189841"/>
                <a:gd name="connsiteY330" fmla="*/ 83634 h 175170"/>
                <a:gd name="connsiteX331" fmla="*/ 143612 w 189841"/>
                <a:gd name="connsiteY331" fmla="*/ 85038 h 175170"/>
                <a:gd name="connsiteX332" fmla="*/ 143798 w 189841"/>
                <a:gd name="connsiteY332" fmla="*/ 85494 h 175170"/>
                <a:gd name="connsiteX333" fmla="*/ 143962 w 189841"/>
                <a:gd name="connsiteY333" fmla="*/ 89751 h 175170"/>
                <a:gd name="connsiteX334" fmla="*/ 142939 w 189841"/>
                <a:gd name="connsiteY334" fmla="*/ 90350 h 175170"/>
                <a:gd name="connsiteX335" fmla="*/ 142770 w 189841"/>
                <a:gd name="connsiteY335" fmla="*/ 91518 h 175170"/>
                <a:gd name="connsiteX336" fmla="*/ 142569 w 189841"/>
                <a:gd name="connsiteY336" fmla="*/ 91932 h 175170"/>
                <a:gd name="connsiteX337" fmla="*/ 140458 w 189841"/>
                <a:gd name="connsiteY337" fmla="*/ 93383 h 175170"/>
                <a:gd name="connsiteX338" fmla="*/ 138100 w 189841"/>
                <a:gd name="connsiteY338" fmla="*/ 91283 h 175170"/>
                <a:gd name="connsiteX339" fmla="*/ 137711 w 189841"/>
                <a:gd name="connsiteY339" fmla="*/ 90607 h 175170"/>
                <a:gd name="connsiteX340" fmla="*/ 139442 w 189841"/>
                <a:gd name="connsiteY340" fmla="*/ 89759 h 175170"/>
                <a:gd name="connsiteX341" fmla="*/ 140300 w 189841"/>
                <a:gd name="connsiteY341" fmla="*/ 88451 h 175170"/>
                <a:gd name="connsiteX342" fmla="*/ 139604 w 189841"/>
                <a:gd name="connsiteY342" fmla="*/ 86844 h 175170"/>
                <a:gd name="connsiteX343" fmla="*/ 137201 w 189841"/>
                <a:gd name="connsiteY343" fmla="*/ 84466 h 175170"/>
                <a:gd name="connsiteX344" fmla="*/ 137087 w 189841"/>
                <a:gd name="connsiteY344" fmla="*/ 82776 h 175170"/>
                <a:gd name="connsiteX345" fmla="*/ 23166 w 189841"/>
                <a:gd name="connsiteY345" fmla="*/ 75808 h 175170"/>
                <a:gd name="connsiteX346" fmla="*/ 23730 w 189841"/>
                <a:gd name="connsiteY346" fmla="*/ 76971 h 175170"/>
                <a:gd name="connsiteX347" fmla="*/ 23624 w 189841"/>
                <a:gd name="connsiteY347" fmla="*/ 81119 h 175170"/>
                <a:gd name="connsiteX348" fmla="*/ 23002 w 189841"/>
                <a:gd name="connsiteY348" fmla="*/ 81883 h 175170"/>
                <a:gd name="connsiteX349" fmla="*/ 22143 w 189841"/>
                <a:gd name="connsiteY349" fmla="*/ 82082 h 175170"/>
                <a:gd name="connsiteX350" fmla="*/ 21402 w 189841"/>
                <a:gd name="connsiteY350" fmla="*/ 81946 h 175170"/>
                <a:gd name="connsiteX351" fmla="*/ 20730 w 189841"/>
                <a:gd name="connsiteY351" fmla="*/ 82063 h 175170"/>
                <a:gd name="connsiteX352" fmla="*/ 20083 w 189841"/>
                <a:gd name="connsiteY352" fmla="*/ 82556 h 175170"/>
                <a:gd name="connsiteX353" fmla="*/ 20154 w 189841"/>
                <a:gd name="connsiteY353" fmla="*/ 80513 h 175170"/>
                <a:gd name="connsiteX354" fmla="*/ 20918 w 189841"/>
                <a:gd name="connsiteY354" fmla="*/ 77978 h 175170"/>
                <a:gd name="connsiteX355" fmla="*/ 21851 w 189841"/>
                <a:gd name="connsiteY355" fmla="*/ 76496 h 175170"/>
                <a:gd name="connsiteX356" fmla="*/ 107004 w 189841"/>
                <a:gd name="connsiteY356" fmla="*/ 72294 h 175170"/>
                <a:gd name="connsiteX357" fmla="*/ 108738 w 189841"/>
                <a:gd name="connsiteY357" fmla="*/ 73277 h 175170"/>
                <a:gd name="connsiteX358" fmla="*/ 109118 w 189841"/>
                <a:gd name="connsiteY358" fmla="*/ 74914 h 175170"/>
                <a:gd name="connsiteX359" fmla="*/ 111185 w 189841"/>
                <a:gd name="connsiteY359" fmla="*/ 76712 h 175170"/>
                <a:gd name="connsiteX360" fmla="*/ 108848 w 189841"/>
                <a:gd name="connsiteY360" fmla="*/ 77341 h 175170"/>
                <a:gd name="connsiteX361" fmla="*/ 108228 w 189841"/>
                <a:gd name="connsiteY361" fmla="*/ 77242 h 175170"/>
                <a:gd name="connsiteX362" fmla="*/ 108749 w 189841"/>
                <a:gd name="connsiteY362" fmla="*/ 76448 h 175170"/>
                <a:gd name="connsiteX363" fmla="*/ 108790 w 189841"/>
                <a:gd name="connsiteY363" fmla="*/ 76114 h 175170"/>
                <a:gd name="connsiteX364" fmla="*/ 106460 w 189841"/>
                <a:gd name="connsiteY364" fmla="*/ 74662 h 175170"/>
                <a:gd name="connsiteX365" fmla="*/ 106734 w 189841"/>
                <a:gd name="connsiteY365" fmla="*/ 72775 h 175170"/>
                <a:gd name="connsiteX366" fmla="*/ 81068 w 189841"/>
                <a:gd name="connsiteY366" fmla="*/ 70881 h 175170"/>
                <a:gd name="connsiteX367" fmla="*/ 83340 w 189841"/>
                <a:gd name="connsiteY367" fmla="*/ 72853 h 175170"/>
                <a:gd name="connsiteX368" fmla="*/ 84590 w 189841"/>
                <a:gd name="connsiteY368" fmla="*/ 75656 h 175170"/>
                <a:gd name="connsiteX369" fmla="*/ 85762 w 189841"/>
                <a:gd name="connsiteY369" fmla="*/ 76602 h 175170"/>
                <a:gd name="connsiteX370" fmla="*/ 88222 w 189841"/>
                <a:gd name="connsiteY370" fmla="*/ 77718 h 175170"/>
                <a:gd name="connsiteX371" fmla="*/ 89377 w 189841"/>
                <a:gd name="connsiteY371" fmla="*/ 77860 h 175170"/>
                <a:gd name="connsiteX372" fmla="*/ 93573 w 189841"/>
                <a:gd name="connsiteY372" fmla="*/ 79875 h 175170"/>
                <a:gd name="connsiteX373" fmla="*/ 98455 w 189841"/>
                <a:gd name="connsiteY373" fmla="*/ 80277 h 175170"/>
                <a:gd name="connsiteX374" fmla="*/ 99086 w 189841"/>
                <a:gd name="connsiteY374" fmla="*/ 80857 h 175170"/>
                <a:gd name="connsiteX375" fmla="*/ 99686 w 189841"/>
                <a:gd name="connsiteY375" fmla="*/ 82409 h 175170"/>
                <a:gd name="connsiteX376" fmla="*/ 100682 w 189841"/>
                <a:gd name="connsiteY376" fmla="*/ 83626 h 175170"/>
                <a:gd name="connsiteX377" fmla="*/ 100932 w 189841"/>
                <a:gd name="connsiteY377" fmla="*/ 84573 h 175170"/>
                <a:gd name="connsiteX378" fmla="*/ 100412 w 189841"/>
                <a:gd name="connsiteY378" fmla="*/ 85623 h 175170"/>
                <a:gd name="connsiteX379" fmla="*/ 101133 w 189841"/>
                <a:gd name="connsiteY379" fmla="*/ 88834 h 175170"/>
                <a:gd name="connsiteX380" fmla="*/ 102364 w 189841"/>
                <a:gd name="connsiteY380" fmla="*/ 91881 h 175170"/>
                <a:gd name="connsiteX381" fmla="*/ 104219 w 189841"/>
                <a:gd name="connsiteY381" fmla="*/ 93358 h 175170"/>
                <a:gd name="connsiteX382" fmla="*/ 106525 w 189841"/>
                <a:gd name="connsiteY382" fmla="*/ 93804 h 175170"/>
                <a:gd name="connsiteX383" fmla="*/ 108721 w 189841"/>
                <a:gd name="connsiteY383" fmla="*/ 93743 h 175170"/>
                <a:gd name="connsiteX384" fmla="*/ 109276 w 189841"/>
                <a:gd name="connsiteY384" fmla="*/ 94347 h 175170"/>
                <a:gd name="connsiteX385" fmla="*/ 109058 w 189841"/>
                <a:gd name="connsiteY385" fmla="*/ 97010 h 175170"/>
                <a:gd name="connsiteX386" fmla="*/ 108129 w 189841"/>
                <a:gd name="connsiteY386" fmla="*/ 98046 h 175170"/>
                <a:gd name="connsiteX387" fmla="*/ 107374 w 189841"/>
                <a:gd name="connsiteY387" fmla="*/ 98298 h 175170"/>
                <a:gd name="connsiteX388" fmla="*/ 106717 w 189841"/>
                <a:gd name="connsiteY388" fmla="*/ 98026 h 175170"/>
                <a:gd name="connsiteX389" fmla="*/ 106123 w 189841"/>
                <a:gd name="connsiteY389" fmla="*/ 97399 h 175170"/>
                <a:gd name="connsiteX390" fmla="*/ 105476 w 189841"/>
                <a:gd name="connsiteY390" fmla="*/ 97103 h 175170"/>
                <a:gd name="connsiteX391" fmla="*/ 104214 w 189841"/>
                <a:gd name="connsiteY391" fmla="*/ 97051 h 175170"/>
                <a:gd name="connsiteX392" fmla="*/ 103292 w 189841"/>
                <a:gd name="connsiteY392" fmla="*/ 95979 h 175170"/>
                <a:gd name="connsiteX393" fmla="*/ 100954 w 189841"/>
                <a:gd name="connsiteY393" fmla="*/ 94512 h 175170"/>
                <a:gd name="connsiteX394" fmla="*/ 100524 w 189841"/>
                <a:gd name="connsiteY394" fmla="*/ 93637 h 175170"/>
                <a:gd name="connsiteX395" fmla="*/ 100446 w 189841"/>
                <a:gd name="connsiteY395" fmla="*/ 92285 h 175170"/>
                <a:gd name="connsiteX396" fmla="*/ 99453 w 189841"/>
                <a:gd name="connsiteY396" fmla="*/ 91289 h 175170"/>
                <a:gd name="connsiteX397" fmla="*/ 98540 w 189841"/>
                <a:gd name="connsiteY397" fmla="*/ 89393 h 175170"/>
                <a:gd name="connsiteX398" fmla="*/ 97671 w 189841"/>
                <a:gd name="connsiteY398" fmla="*/ 88870 h 175170"/>
                <a:gd name="connsiteX399" fmla="*/ 97192 w 189841"/>
                <a:gd name="connsiteY399" fmla="*/ 87921 h 175170"/>
                <a:gd name="connsiteX400" fmla="*/ 97153 w 189841"/>
                <a:gd name="connsiteY400" fmla="*/ 87513 h 175170"/>
                <a:gd name="connsiteX401" fmla="*/ 93750 w 189841"/>
                <a:gd name="connsiteY401" fmla="*/ 87237 h 175170"/>
                <a:gd name="connsiteX402" fmla="*/ 90932 w 189841"/>
                <a:gd name="connsiteY402" fmla="*/ 87224 h 175170"/>
                <a:gd name="connsiteX403" fmla="*/ 88544 w 189841"/>
                <a:gd name="connsiteY403" fmla="*/ 86147 h 175170"/>
                <a:gd name="connsiteX404" fmla="*/ 87805 w 189841"/>
                <a:gd name="connsiteY404" fmla="*/ 83329 h 175170"/>
                <a:gd name="connsiteX405" fmla="*/ 86389 w 189841"/>
                <a:gd name="connsiteY405" fmla="*/ 82571 h 175170"/>
                <a:gd name="connsiteX406" fmla="*/ 85326 w 189841"/>
                <a:gd name="connsiteY406" fmla="*/ 81773 h 175170"/>
                <a:gd name="connsiteX407" fmla="*/ 84441 w 189841"/>
                <a:gd name="connsiteY407" fmla="*/ 80667 h 175170"/>
                <a:gd name="connsiteX408" fmla="*/ 82204 w 189841"/>
                <a:gd name="connsiteY408" fmla="*/ 78627 h 175170"/>
                <a:gd name="connsiteX409" fmla="*/ 79729 w 189841"/>
                <a:gd name="connsiteY409" fmla="*/ 76918 h 175170"/>
                <a:gd name="connsiteX410" fmla="*/ 77337 w 189841"/>
                <a:gd name="connsiteY410" fmla="*/ 75793 h 175170"/>
                <a:gd name="connsiteX411" fmla="*/ 74797 w 189841"/>
                <a:gd name="connsiteY411" fmla="*/ 75055 h 175170"/>
                <a:gd name="connsiteX412" fmla="*/ 72733 w 189841"/>
                <a:gd name="connsiteY412" fmla="*/ 75926 h 175170"/>
                <a:gd name="connsiteX413" fmla="*/ 71530 w 189841"/>
                <a:gd name="connsiteY413" fmla="*/ 75719 h 175170"/>
                <a:gd name="connsiteX414" fmla="*/ 71286 w 189841"/>
                <a:gd name="connsiteY414" fmla="*/ 75130 h 175170"/>
                <a:gd name="connsiteX415" fmla="*/ 73851 w 189841"/>
                <a:gd name="connsiteY415" fmla="*/ 73957 h 175170"/>
                <a:gd name="connsiteX416" fmla="*/ 77378 w 189841"/>
                <a:gd name="connsiteY416" fmla="*/ 71714 h 175170"/>
                <a:gd name="connsiteX417" fmla="*/ 79863 w 189841"/>
                <a:gd name="connsiteY417" fmla="*/ 70973 h 175170"/>
                <a:gd name="connsiteX418" fmla="*/ 87287 w 189841"/>
                <a:gd name="connsiteY418" fmla="*/ 66387 h 175170"/>
                <a:gd name="connsiteX419" fmla="*/ 91396 w 189841"/>
                <a:gd name="connsiteY419" fmla="*/ 68825 h 175170"/>
                <a:gd name="connsiteX420" fmla="*/ 90409 w 189841"/>
                <a:gd name="connsiteY420" fmla="*/ 69700 h 175170"/>
                <a:gd name="connsiteX421" fmla="*/ 88883 w 189841"/>
                <a:gd name="connsiteY421" fmla="*/ 69317 h 175170"/>
                <a:gd name="connsiteX422" fmla="*/ 95622 w 189841"/>
                <a:gd name="connsiteY422" fmla="*/ 64855 h 175170"/>
                <a:gd name="connsiteX423" fmla="*/ 94933 w 189841"/>
                <a:gd name="connsiteY423" fmla="*/ 66595 h 175170"/>
                <a:gd name="connsiteX424" fmla="*/ 93789 w 189841"/>
                <a:gd name="connsiteY424" fmla="*/ 67688 h 175170"/>
                <a:gd name="connsiteX425" fmla="*/ 92755 w 189841"/>
                <a:gd name="connsiteY425" fmla="*/ 67992 h 175170"/>
                <a:gd name="connsiteX426" fmla="*/ 93791 w 189841"/>
                <a:gd name="connsiteY426" fmla="*/ 65926 h 175170"/>
                <a:gd name="connsiteX427" fmla="*/ 148180 w 189841"/>
                <a:gd name="connsiteY427" fmla="*/ 61866 h 175170"/>
                <a:gd name="connsiteX428" fmla="*/ 149559 w 189841"/>
                <a:gd name="connsiteY428" fmla="*/ 63255 h 175170"/>
                <a:gd name="connsiteX429" fmla="*/ 149175 w 189841"/>
                <a:gd name="connsiteY429" fmla="*/ 64793 h 175170"/>
                <a:gd name="connsiteX430" fmla="*/ 152233 w 189841"/>
                <a:gd name="connsiteY430" fmla="*/ 67340 h 175170"/>
                <a:gd name="connsiteX431" fmla="*/ 153276 w 189841"/>
                <a:gd name="connsiteY431" fmla="*/ 68951 h 175170"/>
                <a:gd name="connsiteX432" fmla="*/ 153660 w 189841"/>
                <a:gd name="connsiteY432" fmla="*/ 70521 h 175170"/>
                <a:gd name="connsiteX433" fmla="*/ 153403 w 189841"/>
                <a:gd name="connsiteY433" fmla="*/ 70971 h 175170"/>
                <a:gd name="connsiteX434" fmla="*/ 152243 w 189841"/>
                <a:gd name="connsiteY434" fmla="*/ 70120 h 175170"/>
                <a:gd name="connsiteX435" fmla="*/ 151296 w 189841"/>
                <a:gd name="connsiteY435" fmla="*/ 69849 h 175170"/>
                <a:gd name="connsiteX436" fmla="*/ 151615 w 189841"/>
                <a:gd name="connsiteY436" fmla="*/ 70971 h 175170"/>
                <a:gd name="connsiteX437" fmla="*/ 152589 w 189841"/>
                <a:gd name="connsiteY437" fmla="*/ 71935 h 175170"/>
                <a:gd name="connsiteX438" fmla="*/ 150855 w 189841"/>
                <a:gd name="connsiteY438" fmla="*/ 72487 h 175170"/>
                <a:gd name="connsiteX439" fmla="*/ 149117 w 189841"/>
                <a:gd name="connsiteY439" fmla="*/ 72458 h 175170"/>
                <a:gd name="connsiteX440" fmla="*/ 144046 w 189841"/>
                <a:gd name="connsiteY440" fmla="*/ 71115 h 175170"/>
                <a:gd name="connsiteX441" fmla="*/ 142876 w 189841"/>
                <a:gd name="connsiteY441" fmla="*/ 69688 h 175170"/>
                <a:gd name="connsiteX442" fmla="*/ 145910 w 189841"/>
                <a:gd name="connsiteY442" fmla="*/ 67538 h 175170"/>
                <a:gd name="connsiteX443" fmla="*/ 146530 w 189841"/>
                <a:gd name="connsiteY443" fmla="*/ 66672 h 175170"/>
                <a:gd name="connsiteX444" fmla="*/ 144381 w 189841"/>
                <a:gd name="connsiteY444" fmla="*/ 66757 h 175170"/>
                <a:gd name="connsiteX445" fmla="*/ 142090 w 189841"/>
                <a:gd name="connsiteY445" fmla="*/ 69311 h 175170"/>
                <a:gd name="connsiteX446" fmla="*/ 138417 w 189841"/>
                <a:gd name="connsiteY446" fmla="*/ 68189 h 175170"/>
                <a:gd name="connsiteX447" fmla="*/ 137294 w 189841"/>
                <a:gd name="connsiteY447" fmla="*/ 67162 h 175170"/>
                <a:gd name="connsiteX448" fmla="*/ 137043 w 189841"/>
                <a:gd name="connsiteY448" fmla="*/ 66608 h 175170"/>
                <a:gd name="connsiteX449" fmla="*/ 138490 w 189841"/>
                <a:gd name="connsiteY449" fmla="*/ 64341 h 175170"/>
                <a:gd name="connsiteX450" fmla="*/ 141075 w 189841"/>
                <a:gd name="connsiteY450" fmla="*/ 64417 h 175170"/>
                <a:gd name="connsiteX451" fmla="*/ 142444 w 189841"/>
                <a:gd name="connsiteY451" fmla="*/ 63907 h 175170"/>
                <a:gd name="connsiteX452" fmla="*/ 144135 w 189841"/>
                <a:gd name="connsiteY452" fmla="*/ 63190 h 175170"/>
                <a:gd name="connsiteX453" fmla="*/ 144148 w 189841"/>
                <a:gd name="connsiteY453" fmla="*/ 62112 h 175170"/>
                <a:gd name="connsiteX454" fmla="*/ 4248 w 189841"/>
                <a:gd name="connsiteY454" fmla="*/ 50509 h 175170"/>
                <a:gd name="connsiteX455" fmla="*/ 5422 w 189841"/>
                <a:gd name="connsiteY455" fmla="*/ 51103 h 175170"/>
                <a:gd name="connsiteX456" fmla="*/ 6182 w 189841"/>
                <a:gd name="connsiteY456" fmla="*/ 51716 h 175170"/>
                <a:gd name="connsiteX457" fmla="*/ 6420 w 189841"/>
                <a:gd name="connsiteY457" fmla="*/ 52418 h 175170"/>
                <a:gd name="connsiteX458" fmla="*/ 4770 w 189841"/>
                <a:gd name="connsiteY458" fmla="*/ 53826 h 175170"/>
                <a:gd name="connsiteX459" fmla="*/ 4427 w 189841"/>
                <a:gd name="connsiteY459" fmla="*/ 54463 h 175170"/>
                <a:gd name="connsiteX460" fmla="*/ 5697 w 189841"/>
                <a:gd name="connsiteY460" fmla="*/ 55727 h 175170"/>
                <a:gd name="connsiteX461" fmla="*/ 5675 w 189841"/>
                <a:gd name="connsiteY461" fmla="*/ 56233 h 175170"/>
                <a:gd name="connsiteX462" fmla="*/ 6211 w 189841"/>
                <a:gd name="connsiteY462" fmla="*/ 58677 h 175170"/>
                <a:gd name="connsiteX463" fmla="*/ 6828 w 189841"/>
                <a:gd name="connsiteY463" fmla="*/ 59599 h 175170"/>
                <a:gd name="connsiteX464" fmla="*/ 8430 w 189841"/>
                <a:gd name="connsiteY464" fmla="*/ 60334 h 175170"/>
                <a:gd name="connsiteX465" fmla="*/ 9540 w 189841"/>
                <a:gd name="connsiteY465" fmla="*/ 60577 h 175170"/>
                <a:gd name="connsiteX466" fmla="*/ 10020 w 189841"/>
                <a:gd name="connsiteY466" fmla="*/ 62032 h 175170"/>
                <a:gd name="connsiteX467" fmla="*/ 7265 w 189841"/>
                <a:gd name="connsiteY467" fmla="*/ 61129 h 175170"/>
                <a:gd name="connsiteX468" fmla="*/ 5252 w 189841"/>
                <a:gd name="connsiteY468" fmla="*/ 59829 h 175170"/>
                <a:gd name="connsiteX469" fmla="*/ 3591 w 189841"/>
                <a:gd name="connsiteY469" fmla="*/ 56615 h 175170"/>
                <a:gd name="connsiteX470" fmla="*/ 54 w 189841"/>
                <a:gd name="connsiteY470" fmla="*/ 52953 h 175170"/>
                <a:gd name="connsiteX471" fmla="*/ 0 w 189841"/>
                <a:gd name="connsiteY471" fmla="*/ 51889 h 175170"/>
                <a:gd name="connsiteX472" fmla="*/ 1345 w 189841"/>
                <a:gd name="connsiteY472" fmla="*/ 51082 h 175170"/>
                <a:gd name="connsiteX473" fmla="*/ 128309 w 189841"/>
                <a:gd name="connsiteY473" fmla="*/ 44914 h 175170"/>
                <a:gd name="connsiteX474" fmla="*/ 128056 w 189841"/>
                <a:gd name="connsiteY474" fmla="*/ 46257 h 175170"/>
                <a:gd name="connsiteX475" fmla="*/ 127220 w 189841"/>
                <a:gd name="connsiteY475" fmla="*/ 47137 h 175170"/>
                <a:gd name="connsiteX476" fmla="*/ 126605 w 189841"/>
                <a:gd name="connsiteY476" fmla="*/ 48654 h 175170"/>
                <a:gd name="connsiteX477" fmla="*/ 126272 w 189841"/>
                <a:gd name="connsiteY477" fmla="*/ 50821 h 175170"/>
                <a:gd name="connsiteX478" fmla="*/ 124983 w 189841"/>
                <a:gd name="connsiteY478" fmla="*/ 50873 h 175170"/>
                <a:gd name="connsiteX479" fmla="*/ 124202 w 189841"/>
                <a:gd name="connsiteY479" fmla="*/ 50435 h 175170"/>
                <a:gd name="connsiteX480" fmla="*/ 123945 w 189841"/>
                <a:gd name="connsiteY480" fmla="*/ 49616 h 175170"/>
                <a:gd name="connsiteX481" fmla="*/ 123893 w 189841"/>
                <a:gd name="connsiteY481" fmla="*/ 48581 h 175170"/>
                <a:gd name="connsiteX482" fmla="*/ 123327 w 189841"/>
                <a:gd name="connsiteY482" fmla="*/ 48621 h 175170"/>
                <a:gd name="connsiteX483" fmla="*/ 122871 w 189841"/>
                <a:gd name="connsiteY483" fmla="*/ 49746 h 175170"/>
                <a:gd name="connsiteX484" fmla="*/ 122472 w 189841"/>
                <a:gd name="connsiteY484" fmla="*/ 50253 h 175170"/>
                <a:gd name="connsiteX485" fmla="*/ 121174 w 189841"/>
                <a:gd name="connsiteY485" fmla="*/ 50360 h 175170"/>
                <a:gd name="connsiteX486" fmla="*/ 119753 w 189841"/>
                <a:gd name="connsiteY486" fmla="*/ 49668 h 175170"/>
                <a:gd name="connsiteX487" fmla="*/ 119820 w 189841"/>
                <a:gd name="connsiteY487" fmla="*/ 48171 h 175170"/>
                <a:gd name="connsiteX488" fmla="*/ 119535 w 189841"/>
                <a:gd name="connsiteY488" fmla="*/ 46438 h 175170"/>
                <a:gd name="connsiteX489" fmla="*/ 119660 w 189841"/>
                <a:gd name="connsiteY489" fmla="*/ 45831 h 175170"/>
                <a:gd name="connsiteX490" fmla="*/ 123556 w 189841"/>
                <a:gd name="connsiteY490" fmla="*/ 45681 h 175170"/>
                <a:gd name="connsiteX491" fmla="*/ 124696 w 189841"/>
                <a:gd name="connsiteY491" fmla="*/ 46961 h 175170"/>
                <a:gd name="connsiteX492" fmla="*/ 126074 w 189841"/>
                <a:gd name="connsiteY492" fmla="*/ 46219 h 175170"/>
                <a:gd name="connsiteX493" fmla="*/ 126639 w 189841"/>
                <a:gd name="connsiteY493" fmla="*/ 45417 h 175170"/>
                <a:gd name="connsiteX494" fmla="*/ 130950 w 189841"/>
                <a:gd name="connsiteY494" fmla="*/ 32341 h 175170"/>
                <a:gd name="connsiteX495" fmla="*/ 132183 w 189841"/>
                <a:gd name="connsiteY495" fmla="*/ 32966 h 175170"/>
                <a:gd name="connsiteX496" fmla="*/ 133066 w 189841"/>
                <a:gd name="connsiteY496" fmla="*/ 33702 h 175170"/>
                <a:gd name="connsiteX497" fmla="*/ 133541 w 189841"/>
                <a:gd name="connsiteY497" fmla="*/ 34679 h 175170"/>
                <a:gd name="connsiteX498" fmla="*/ 131040 w 189841"/>
                <a:gd name="connsiteY498" fmla="*/ 35363 h 175170"/>
                <a:gd name="connsiteX499" fmla="*/ 128285 w 189841"/>
                <a:gd name="connsiteY499" fmla="*/ 33206 h 175170"/>
                <a:gd name="connsiteX500" fmla="*/ 110049 w 189841"/>
                <a:gd name="connsiteY500" fmla="*/ 25075 h 175170"/>
                <a:gd name="connsiteX501" fmla="*/ 112167 w 189841"/>
                <a:gd name="connsiteY501" fmla="*/ 25249 h 175170"/>
                <a:gd name="connsiteX502" fmla="*/ 113372 w 189841"/>
                <a:gd name="connsiteY502" fmla="*/ 26719 h 175170"/>
                <a:gd name="connsiteX503" fmla="*/ 113653 w 189841"/>
                <a:gd name="connsiteY503" fmla="*/ 27413 h 175170"/>
                <a:gd name="connsiteX504" fmla="*/ 113262 w 189841"/>
                <a:gd name="connsiteY504" fmla="*/ 28592 h 175170"/>
                <a:gd name="connsiteX505" fmla="*/ 113385 w 189841"/>
                <a:gd name="connsiteY505" fmla="*/ 29738 h 175170"/>
                <a:gd name="connsiteX506" fmla="*/ 110548 w 189841"/>
                <a:gd name="connsiteY506" fmla="*/ 30675 h 175170"/>
                <a:gd name="connsiteX507" fmla="*/ 107665 w 189841"/>
                <a:gd name="connsiteY507" fmla="*/ 28903 h 175170"/>
                <a:gd name="connsiteX508" fmla="*/ 107691 w 189841"/>
                <a:gd name="connsiteY508" fmla="*/ 27849 h 175170"/>
                <a:gd name="connsiteX509" fmla="*/ 109213 w 189841"/>
                <a:gd name="connsiteY509" fmla="*/ 25709 h 175170"/>
                <a:gd name="connsiteX510" fmla="*/ 144925 w 189841"/>
                <a:gd name="connsiteY510" fmla="*/ 0 h 175170"/>
                <a:gd name="connsiteX511" fmla="*/ 147585 w 189841"/>
                <a:gd name="connsiteY511" fmla="*/ 721 h 175170"/>
                <a:gd name="connsiteX512" fmla="*/ 149568 w 189841"/>
                <a:gd name="connsiteY512" fmla="*/ 1256 h 175170"/>
                <a:gd name="connsiteX513" fmla="*/ 150717 w 189841"/>
                <a:gd name="connsiteY513" fmla="*/ 2129 h 175170"/>
                <a:gd name="connsiteX514" fmla="*/ 151436 w 189841"/>
                <a:gd name="connsiteY514" fmla="*/ 2926 h 175170"/>
                <a:gd name="connsiteX515" fmla="*/ 152530 w 189841"/>
                <a:gd name="connsiteY515" fmla="*/ 3614 h 175170"/>
                <a:gd name="connsiteX516" fmla="*/ 153345 w 189841"/>
                <a:gd name="connsiteY516" fmla="*/ 3772 h 175170"/>
                <a:gd name="connsiteX517" fmla="*/ 153973 w 189841"/>
                <a:gd name="connsiteY517" fmla="*/ 6128 h 175170"/>
                <a:gd name="connsiteX518" fmla="*/ 154308 w 189841"/>
                <a:gd name="connsiteY518" fmla="*/ 9045 h 175170"/>
                <a:gd name="connsiteX519" fmla="*/ 153809 w 189841"/>
                <a:gd name="connsiteY519" fmla="*/ 10301 h 175170"/>
                <a:gd name="connsiteX520" fmla="*/ 152351 w 189841"/>
                <a:gd name="connsiteY520" fmla="*/ 10592 h 175170"/>
                <a:gd name="connsiteX521" fmla="*/ 147802 w 189841"/>
                <a:gd name="connsiteY521" fmla="*/ 13345 h 175170"/>
                <a:gd name="connsiteX522" fmla="*/ 147692 w 189841"/>
                <a:gd name="connsiteY522" fmla="*/ 15861 h 175170"/>
                <a:gd name="connsiteX523" fmla="*/ 147752 w 189841"/>
                <a:gd name="connsiteY523" fmla="*/ 17079 h 175170"/>
                <a:gd name="connsiteX524" fmla="*/ 147845 w 189841"/>
                <a:gd name="connsiteY524" fmla="*/ 17940 h 175170"/>
                <a:gd name="connsiteX525" fmla="*/ 148320 w 189841"/>
                <a:gd name="connsiteY525" fmla="*/ 18665 h 175170"/>
                <a:gd name="connsiteX526" fmla="*/ 148320 w 189841"/>
                <a:gd name="connsiteY526" fmla="*/ 19710 h 175170"/>
                <a:gd name="connsiteX527" fmla="*/ 147810 w 189841"/>
                <a:gd name="connsiteY527" fmla="*/ 20829 h 175170"/>
                <a:gd name="connsiteX528" fmla="*/ 145823 w 189841"/>
                <a:gd name="connsiteY528" fmla="*/ 22703 h 175170"/>
                <a:gd name="connsiteX529" fmla="*/ 144446 w 189841"/>
                <a:gd name="connsiteY529" fmla="*/ 24193 h 175170"/>
                <a:gd name="connsiteX530" fmla="*/ 142904 w 189841"/>
                <a:gd name="connsiteY530" fmla="*/ 26211 h 175170"/>
                <a:gd name="connsiteX531" fmla="*/ 142032 w 189841"/>
                <a:gd name="connsiteY531" fmla="*/ 26457 h 175170"/>
                <a:gd name="connsiteX532" fmla="*/ 141352 w 189841"/>
                <a:gd name="connsiteY532" fmla="*/ 26812 h 175170"/>
                <a:gd name="connsiteX533" fmla="*/ 140727 w 189841"/>
                <a:gd name="connsiteY533" fmla="*/ 25699 h 175170"/>
                <a:gd name="connsiteX534" fmla="*/ 137298 w 189841"/>
                <a:gd name="connsiteY534" fmla="*/ 23731 h 175170"/>
                <a:gd name="connsiteX535" fmla="*/ 129362 w 189841"/>
                <a:gd name="connsiteY535" fmla="*/ 22583 h 175170"/>
                <a:gd name="connsiteX536" fmla="*/ 125571 w 189841"/>
                <a:gd name="connsiteY536" fmla="*/ 21129 h 175170"/>
                <a:gd name="connsiteX537" fmla="*/ 123908 w 189841"/>
                <a:gd name="connsiteY537" fmla="*/ 21399 h 175170"/>
                <a:gd name="connsiteX538" fmla="*/ 120688 w 189841"/>
                <a:gd name="connsiteY538" fmla="*/ 19771 h 175170"/>
                <a:gd name="connsiteX539" fmla="*/ 118481 w 189841"/>
                <a:gd name="connsiteY539" fmla="*/ 20486 h 175170"/>
                <a:gd name="connsiteX540" fmla="*/ 113800 w 189841"/>
                <a:gd name="connsiteY540" fmla="*/ 23378 h 175170"/>
                <a:gd name="connsiteX541" fmla="*/ 111273 w 189841"/>
                <a:gd name="connsiteY541" fmla="*/ 23064 h 175170"/>
                <a:gd name="connsiteX542" fmla="*/ 108572 w 189841"/>
                <a:gd name="connsiteY542" fmla="*/ 21326 h 175170"/>
                <a:gd name="connsiteX543" fmla="*/ 106814 w 189841"/>
                <a:gd name="connsiteY543" fmla="*/ 21006 h 175170"/>
                <a:gd name="connsiteX544" fmla="*/ 104752 w 189841"/>
                <a:gd name="connsiteY544" fmla="*/ 21927 h 175170"/>
                <a:gd name="connsiteX545" fmla="*/ 101448 w 189841"/>
                <a:gd name="connsiteY545" fmla="*/ 25253 h 175170"/>
                <a:gd name="connsiteX546" fmla="*/ 98086 w 189841"/>
                <a:gd name="connsiteY546" fmla="*/ 26882 h 175170"/>
                <a:gd name="connsiteX547" fmla="*/ 95074 w 189841"/>
                <a:gd name="connsiteY547" fmla="*/ 26245 h 175170"/>
                <a:gd name="connsiteX548" fmla="*/ 91021 w 189841"/>
                <a:gd name="connsiteY548" fmla="*/ 26259 h 175170"/>
                <a:gd name="connsiteX549" fmla="*/ 90588 w 189841"/>
                <a:gd name="connsiteY549" fmla="*/ 28117 h 175170"/>
                <a:gd name="connsiteX550" fmla="*/ 91373 w 189841"/>
                <a:gd name="connsiteY550" fmla="*/ 29402 h 175170"/>
                <a:gd name="connsiteX551" fmla="*/ 93588 w 189841"/>
                <a:gd name="connsiteY551" fmla="*/ 31593 h 175170"/>
                <a:gd name="connsiteX552" fmla="*/ 92549 w 189841"/>
                <a:gd name="connsiteY552" fmla="*/ 33239 h 175170"/>
                <a:gd name="connsiteX553" fmla="*/ 93320 w 189841"/>
                <a:gd name="connsiteY553" fmla="*/ 34888 h 175170"/>
                <a:gd name="connsiteX554" fmla="*/ 94763 w 189841"/>
                <a:gd name="connsiteY554" fmla="*/ 35223 h 175170"/>
                <a:gd name="connsiteX555" fmla="*/ 96942 w 189841"/>
                <a:gd name="connsiteY555" fmla="*/ 35130 h 175170"/>
                <a:gd name="connsiteX556" fmla="*/ 100971 w 189841"/>
                <a:gd name="connsiteY556" fmla="*/ 37263 h 175170"/>
                <a:gd name="connsiteX557" fmla="*/ 102733 w 189841"/>
                <a:gd name="connsiteY557" fmla="*/ 39510 h 175170"/>
                <a:gd name="connsiteX558" fmla="*/ 103858 w 189841"/>
                <a:gd name="connsiteY558" fmla="*/ 41968 h 175170"/>
                <a:gd name="connsiteX559" fmla="*/ 101405 w 189841"/>
                <a:gd name="connsiteY559" fmla="*/ 40206 h 175170"/>
                <a:gd name="connsiteX560" fmla="*/ 99777 w 189841"/>
                <a:gd name="connsiteY560" fmla="*/ 38511 h 175170"/>
                <a:gd name="connsiteX561" fmla="*/ 97505 w 189841"/>
                <a:gd name="connsiteY561" fmla="*/ 37896 h 175170"/>
                <a:gd name="connsiteX562" fmla="*/ 94346 w 189841"/>
                <a:gd name="connsiteY562" fmla="*/ 36452 h 175170"/>
                <a:gd name="connsiteX563" fmla="*/ 92362 w 189841"/>
                <a:gd name="connsiteY563" fmla="*/ 36211 h 175170"/>
                <a:gd name="connsiteX564" fmla="*/ 90250 w 189841"/>
                <a:gd name="connsiteY564" fmla="*/ 37212 h 175170"/>
                <a:gd name="connsiteX565" fmla="*/ 90085 w 189841"/>
                <a:gd name="connsiteY565" fmla="*/ 38348 h 175170"/>
                <a:gd name="connsiteX566" fmla="*/ 92362 w 189841"/>
                <a:gd name="connsiteY566" fmla="*/ 40468 h 175170"/>
                <a:gd name="connsiteX567" fmla="*/ 94443 w 189841"/>
                <a:gd name="connsiteY567" fmla="*/ 41772 h 175170"/>
                <a:gd name="connsiteX568" fmla="*/ 95547 w 189841"/>
                <a:gd name="connsiteY568" fmla="*/ 42833 h 175170"/>
                <a:gd name="connsiteX569" fmla="*/ 96283 w 189841"/>
                <a:gd name="connsiteY569" fmla="*/ 45180 h 175170"/>
                <a:gd name="connsiteX570" fmla="*/ 95864 w 189841"/>
                <a:gd name="connsiteY570" fmla="*/ 45977 h 175170"/>
                <a:gd name="connsiteX571" fmla="*/ 95095 w 189841"/>
                <a:gd name="connsiteY571" fmla="*/ 46719 h 175170"/>
                <a:gd name="connsiteX572" fmla="*/ 92625 w 189841"/>
                <a:gd name="connsiteY572" fmla="*/ 45241 h 175170"/>
                <a:gd name="connsiteX573" fmla="*/ 88848 w 189841"/>
                <a:gd name="connsiteY573" fmla="*/ 39980 h 175170"/>
                <a:gd name="connsiteX574" fmla="*/ 83579 w 189841"/>
                <a:gd name="connsiteY574" fmla="*/ 38931 h 175170"/>
                <a:gd name="connsiteX575" fmla="*/ 82698 w 189841"/>
                <a:gd name="connsiteY575" fmla="*/ 40029 h 175170"/>
                <a:gd name="connsiteX576" fmla="*/ 83733 w 189841"/>
                <a:gd name="connsiteY576" fmla="*/ 42811 h 175170"/>
                <a:gd name="connsiteX577" fmla="*/ 84482 w 189841"/>
                <a:gd name="connsiteY577" fmla="*/ 43894 h 175170"/>
                <a:gd name="connsiteX578" fmla="*/ 89060 w 189841"/>
                <a:gd name="connsiteY578" fmla="*/ 46894 h 175170"/>
                <a:gd name="connsiteX579" fmla="*/ 88693 w 189841"/>
                <a:gd name="connsiteY579" fmla="*/ 47530 h 175170"/>
                <a:gd name="connsiteX580" fmla="*/ 88025 w 189841"/>
                <a:gd name="connsiteY580" fmla="*/ 47801 h 175170"/>
                <a:gd name="connsiteX581" fmla="*/ 82901 w 189841"/>
                <a:gd name="connsiteY581" fmla="*/ 46087 h 175170"/>
                <a:gd name="connsiteX582" fmla="*/ 81411 w 189841"/>
                <a:gd name="connsiteY582" fmla="*/ 43476 h 175170"/>
                <a:gd name="connsiteX583" fmla="*/ 81053 w 189841"/>
                <a:gd name="connsiteY583" fmla="*/ 40173 h 175170"/>
                <a:gd name="connsiteX584" fmla="*/ 76324 w 189841"/>
                <a:gd name="connsiteY584" fmla="*/ 37877 h 175170"/>
                <a:gd name="connsiteX585" fmla="*/ 71864 w 189841"/>
                <a:gd name="connsiteY585" fmla="*/ 35377 h 175170"/>
                <a:gd name="connsiteX586" fmla="*/ 70867 w 189841"/>
                <a:gd name="connsiteY586" fmla="*/ 33002 h 175170"/>
                <a:gd name="connsiteX587" fmla="*/ 71785 w 189841"/>
                <a:gd name="connsiteY587" fmla="*/ 32121 h 175170"/>
                <a:gd name="connsiteX588" fmla="*/ 72435 w 189841"/>
                <a:gd name="connsiteY588" fmla="*/ 30375 h 175170"/>
                <a:gd name="connsiteX589" fmla="*/ 69984 w 189841"/>
                <a:gd name="connsiteY589" fmla="*/ 30697 h 175170"/>
                <a:gd name="connsiteX590" fmla="*/ 68446 w 189841"/>
                <a:gd name="connsiteY590" fmla="*/ 31801 h 175170"/>
                <a:gd name="connsiteX591" fmla="*/ 65961 w 189841"/>
                <a:gd name="connsiteY591" fmla="*/ 32872 h 175170"/>
                <a:gd name="connsiteX592" fmla="*/ 65859 w 189841"/>
                <a:gd name="connsiteY592" fmla="*/ 34625 h 175170"/>
                <a:gd name="connsiteX593" fmla="*/ 66252 w 189841"/>
                <a:gd name="connsiteY593" fmla="*/ 36248 h 175170"/>
                <a:gd name="connsiteX594" fmla="*/ 65430 w 189841"/>
                <a:gd name="connsiteY594" fmla="*/ 38606 h 175170"/>
                <a:gd name="connsiteX595" fmla="*/ 64631 w 189841"/>
                <a:gd name="connsiteY595" fmla="*/ 42709 h 175170"/>
                <a:gd name="connsiteX596" fmla="*/ 65136 w 189841"/>
                <a:gd name="connsiteY596" fmla="*/ 44859 h 175170"/>
                <a:gd name="connsiteX597" fmla="*/ 70521 w 189841"/>
                <a:gd name="connsiteY597" fmla="*/ 51017 h 175170"/>
                <a:gd name="connsiteX598" fmla="*/ 72363 w 189841"/>
                <a:gd name="connsiteY598" fmla="*/ 55482 h 175170"/>
                <a:gd name="connsiteX599" fmla="*/ 73685 w 189841"/>
                <a:gd name="connsiteY599" fmla="*/ 57173 h 175170"/>
                <a:gd name="connsiteX600" fmla="*/ 76441 w 189841"/>
                <a:gd name="connsiteY600" fmla="*/ 59037 h 175170"/>
                <a:gd name="connsiteX601" fmla="*/ 79314 w 189841"/>
                <a:gd name="connsiteY601" fmla="*/ 62503 h 175170"/>
                <a:gd name="connsiteX602" fmla="*/ 80533 w 189841"/>
                <a:gd name="connsiteY602" fmla="*/ 64308 h 175170"/>
                <a:gd name="connsiteX603" fmla="*/ 81400 w 189841"/>
                <a:gd name="connsiteY603" fmla="*/ 67259 h 175170"/>
                <a:gd name="connsiteX604" fmla="*/ 78982 w 189841"/>
                <a:gd name="connsiteY604" fmla="*/ 69084 h 175170"/>
                <a:gd name="connsiteX605" fmla="*/ 77574 w 189841"/>
                <a:gd name="connsiteY605" fmla="*/ 69160 h 175170"/>
                <a:gd name="connsiteX606" fmla="*/ 76794 w 189841"/>
                <a:gd name="connsiteY606" fmla="*/ 68350 h 175170"/>
                <a:gd name="connsiteX607" fmla="*/ 77885 w 189841"/>
                <a:gd name="connsiteY607" fmla="*/ 66339 h 175170"/>
                <a:gd name="connsiteX608" fmla="*/ 77730 w 189841"/>
                <a:gd name="connsiteY608" fmla="*/ 65113 h 175170"/>
                <a:gd name="connsiteX609" fmla="*/ 73996 w 189841"/>
                <a:gd name="connsiteY609" fmla="*/ 63214 h 175170"/>
                <a:gd name="connsiteX610" fmla="*/ 72415 w 189841"/>
                <a:gd name="connsiteY610" fmla="*/ 63854 h 175170"/>
                <a:gd name="connsiteX611" fmla="*/ 70593 w 189841"/>
                <a:gd name="connsiteY611" fmla="*/ 65091 h 175170"/>
                <a:gd name="connsiteX612" fmla="*/ 71633 w 189841"/>
                <a:gd name="connsiteY612" fmla="*/ 67387 h 175170"/>
                <a:gd name="connsiteX613" fmla="*/ 72804 w 189841"/>
                <a:gd name="connsiteY613" fmla="*/ 68899 h 175170"/>
                <a:gd name="connsiteX614" fmla="*/ 73391 w 189841"/>
                <a:gd name="connsiteY614" fmla="*/ 70984 h 175170"/>
                <a:gd name="connsiteX615" fmla="*/ 75629 w 189841"/>
                <a:gd name="connsiteY615" fmla="*/ 70803 h 175170"/>
                <a:gd name="connsiteX616" fmla="*/ 72616 w 189841"/>
                <a:gd name="connsiteY616" fmla="*/ 73135 h 175170"/>
                <a:gd name="connsiteX617" fmla="*/ 69789 w 189841"/>
                <a:gd name="connsiteY617" fmla="*/ 74326 h 175170"/>
                <a:gd name="connsiteX618" fmla="*/ 67008 w 189841"/>
                <a:gd name="connsiteY618" fmla="*/ 74395 h 175170"/>
                <a:gd name="connsiteX619" fmla="*/ 65237 w 189841"/>
                <a:gd name="connsiteY619" fmla="*/ 74611 h 175170"/>
                <a:gd name="connsiteX620" fmla="*/ 64627 w 189841"/>
                <a:gd name="connsiteY620" fmla="*/ 75207 h 175170"/>
                <a:gd name="connsiteX621" fmla="*/ 66067 w 189841"/>
                <a:gd name="connsiteY621" fmla="*/ 75641 h 175170"/>
                <a:gd name="connsiteX622" fmla="*/ 67243 w 189841"/>
                <a:gd name="connsiteY622" fmla="*/ 75680 h 175170"/>
                <a:gd name="connsiteX623" fmla="*/ 69157 w 189841"/>
                <a:gd name="connsiteY623" fmla="*/ 76939 h 175170"/>
                <a:gd name="connsiteX624" fmla="*/ 74603 w 189841"/>
                <a:gd name="connsiteY624" fmla="*/ 78449 h 175170"/>
                <a:gd name="connsiteX625" fmla="*/ 77198 w 189841"/>
                <a:gd name="connsiteY625" fmla="*/ 80355 h 175170"/>
                <a:gd name="connsiteX626" fmla="*/ 79747 w 189841"/>
                <a:gd name="connsiteY626" fmla="*/ 80529 h 175170"/>
                <a:gd name="connsiteX627" fmla="*/ 82312 w 189841"/>
                <a:gd name="connsiteY627" fmla="*/ 84025 h 175170"/>
                <a:gd name="connsiteX628" fmla="*/ 86749 w 189841"/>
                <a:gd name="connsiteY628" fmla="*/ 84955 h 175170"/>
                <a:gd name="connsiteX629" fmla="*/ 89278 w 189841"/>
                <a:gd name="connsiteY629" fmla="*/ 88478 h 175170"/>
                <a:gd name="connsiteX630" fmla="*/ 92640 w 189841"/>
                <a:gd name="connsiteY630" fmla="*/ 89171 h 175170"/>
                <a:gd name="connsiteX631" fmla="*/ 95536 w 189841"/>
                <a:gd name="connsiteY631" fmla="*/ 90469 h 175170"/>
                <a:gd name="connsiteX632" fmla="*/ 96384 w 189841"/>
                <a:gd name="connsiteY632" fmla="*/ 91707 h 175170"/>
                <a:gd name="connsiteX633" fmla="*/ 96807 w 189841"/>
                <a:gd name="connsiteY633" fmla="*/ 93941 h 175170"/>
                <a:gd name="connsiteX634" fmla="*/ 96995 w 189841"/>
                <a:gd name="connsiteY634" fmla="*/ 98672 h 175170"/>
                <a:gd name="connsiteX635" fmla="*/ 97622 w 189841"/>
                <a:gd name="connsiteY635" fmla="*/ 102191 h 175170"/>
                <a:gd name="connsiteX636" fmla="*/ 97643 w 189841"/>
                <a:gd name="connsiteY636" fmla="*/ 103303 h 175170"/>
                <a:gd name="connsiteX637" fmla="*/ 97490 w 189841"/>
                <a:gd name="connsiteY637" fmla="*/ 104963 h 175170"/>
                <a:gd name="connsiteX638" fmla="*/ 96702 w 189841"/>
                <a:gd name="connsiteY638" fmla="*/ 105778 h 175170"/>
                <a:gd name="connsiteX639" fmla="*/ 95637 w 189841"/>
                <a:gd name="connsiteY639" fmla="*/ 105803 h 175170"/>
                <a:gd name="connsiteX640" fmla="*/ 93553 w 189841"/>
                <a:gd name="connsiteY640" fmla="*/ 103219 h 175170"/>
                <a:gd name="connsiteX641" fmla="*/ 90357 w 189841"/>
                <a:gd name="connsiteY641" fmla="*/ 100497 h 175170"/>
                <a:gd name="connsiteX642" fmla="*/ 86989 w 189841"/>
                <a:gd name="connsiteY642" fmla="*/ 97256 h 175170"/>
                <a:gd name="connsiteX643" fmla="*/ 86032 w 189841"/>
                <a:gd name="connsiteY643" fmla="*/ 96687 h 175170"/>
                <a:gd name="connsiteX644" fmla="*/ 85249 w 189841"/>
                <a:gd name="connsiteY644" fmla="*/ 96633 h 175170"/>
                <a:gd name="connsiteX645" fmla="*/ 83446 w 189841"/>
                <a:gd name="connsiteY645" fmla="*/ 97730 h 175170"/>
                <a:gd name="connsiteX646" fmla="*/ 78436 w 189841"/>
                <a:gd name="connsiteY646" fmla="*/ 98577 h 175170"/>
                <a:gd name="connsiteX647" fmla="*/ 76086 w 189841"/>
                <a:gd name="connsiteY647" fmla="*/ 99761 h 175170"/>
                <a:gd name="connsiteX648" fmla="*/ 75203 w 189841"/>
                <a:gd name="connsiteY648" fmla="*/ 100022 h 175170"/>
                <a:gd name="connsiteX649" fmla="*/ 74957 w 189841"/>
                <a:gd name="connsiteY649" fmla="*/ 100643 h 175170"/>
                <a:gd name="connsiteX650" fmla="*/ 76058 w 189841"/>
                <a:gd name="connsiteY650" fmla="*/ 101290 h 175170"/>
                <a:gd name="connsiteX651" fmla="*/ 77408 w 189841"/>
                <a:gd name="connsiteY651" fmla="*/ 102770 h 175170"/>
                <a:gd name="connsiteX652" fmla="*/ 77408 w 189841"/>
                <a:gd name="connsiteY652" fmla="*/ 104793 h 175170"/>
                <a:gd name="connsiteX653" fmla="*/ 78522 w 189841"/>
                <a:gd name="connsiteY653" fmla="*/ 107248 h 175170"/>
                <a:gd name="connsiteX654" fmla="*/ 79962 w 189841"/>
                <a:gd name="connsiteY654" fmla="*/ 107882 h 175170"/>
                <a:gd name="connsiteX655" fmla="*/ 81839 w 189841"/>
                <a:gd name="connsiteY655" fmla="*/ 107828 h 175170"/>
                <a:gd name="connsiteX656" fmla="*/ 82914 w 189841"/>
                <a:gd name="connsiteY656" fmla="*/ 108281 h 175170"/>
                <a:gd name="connsiteX657" fmla="*/ 83193 w 189841"/>
                <a:gd name="connsiteY657" fmla="*/ 109258 h 175170"/>
                <a:gd name="connsiteX658" fmla="*/ 84283 w 189841"/>
                <a:gd name="connsiteY658" fmla="*/ 110398 h 175170"/>
                <a:gd name="connsiteX659" fmla="*/ 85002 w 189841"/>
                <a:gd name="connsiteY659" fmla="*/ 111242 h 175170"/>
                <a:gd name="connsiteX660" fmla="*/ 84972 w 189841"/>
                <a:gd name="connsiteY660" fmla="*/ 111846 h 175170"/>
                <a:gd name="connsiteX661" fmla="*/ 79738 w 189841"/>
                <a:gd name="connsiteY661" fmla="*/ 113451 h 175170"/>
                <a:gd name="connsiteX662" fmla="*/ 78643 w 189841"/>
                <a:gd name="connsiteY662" fmla="*/ 114184 h 175170"/>
                <a:gd name="connsiteX663" fmla="*/ 77725 w 189841"/>
                <a:gd name="connsiteY663" fmla="*/ 114559 h 175170"/>
                <a:gd name="connsiteX664" fmla="*/ 76365 w 189841"/>
                <a:gd name="connsiteY664" fmla="*/ 113796 h 175170"/>
                <a:gd name="connsiteX665" fmla="*/ 76287 w 189841"/>
                <a:gd name="connsiteY665" fmla="*/ 111836 h 175170"/>
                <a:gd name="connsiteX666" fmla="*/ 74488 w 189841"/>
                <a:gd name="connsiteY666" fmla="*/ 110784 h 175170"/>
                <a:gd name="connsiteX667" fmla="*/ 72838 w 189841"/>
                <a:gd name="connsiteY667" fmla="*/ 109883 h 175170"/>
                <a:gd name="connsiteX668" fmla="*/ 70861 w 189841"/>
                <a:gd name="connsiteY668" fmla="*/ 109496 h 175170"/>
                <a:gd name="connsiteX669" fmla="*/ 69178 w 189841"/>
                <a:gd name="connsiteY669" fmla="*/ 108146 h 175170"/>
                <a:gd name="connsiteX670" fmla="*/ 68081 w 189841"/>
                <a:gd name="connsiteY670" fmla="*/ 109243 h 175170"/>
                <a:gd name="connsiteX671" fmla="*/ 68958 w 189841"/>
                <a:gd name="connsiteY671" fmla="*/ 113042 h 175170"/>
                <a:gd name="connsiteX672" fmla="*/ 70861 w 189841"/>
                <a:gd name="connsiteY672" fmla="*/ 115656 h 175170"/>
                <a:gd name="connsiteX673" fmla="*/ 74043 w 189841"/>
                <a:gd name="connsiteY673" fmla="*/ 122656 h 175170"/>
                <a:gd name="connsiteX674" fmla="*/ 75488 w 189841"/>
                <a:gd name="connsiteY674" fmla="*/ 126783 h 175170"/>
                <a:gd name="connsiteX675" fmla="*/ 75780 w 189841"/>
                <a:gd name="connsiteY675" fmla="*/ 128778 h 175170"/>
                <a:gd name="connsiteX676" fmla="*/ 75060 w 189841"/>
                <a:gd name="connsiteY676" fmla="*/ 132087 h 175170"/>
                <a:gd name="connsiteX677" fmla="*/ 76624 w 189841"/>
                <a:gd name="connsiteY677" fmla="*/ 134544 h 175170"/>
                <a:gd name="connsiteX678" fmla="*/ 77695 w 189841"/>
                <a:gd name="connsiteY678" fmla="*/ 137065 h 175170"/>
                <a:gd name="connsiteX679" fmla="*/ 76516 w 189841"/>
                <a:gd name="connsiteY679" fmla="*/ 136970 h 175170"/>
                <a:gd name="connsiteX680" fmla="*/ 75493 w 189841"/>
                <a:gd name="connsiteY680" fmla="*/ 136081 h 175170"/>
                <a:gd name="connsiteX681" fmla="*/ 73776 w 189841"/>
                <a:gd name="connsiteY681" fmla="*/ 135032 h 175170"/>
                <a:gd name="connsiteX682" fmla="*/ 70446 w 189841"/>
                <a:gd name="connsiteY682" fmla="*/ 131007 h 175170"/>
                <a:gd name="connsiteX683" fmla="*/ 69286 w 189841"/>
                <a:gd name="connsiteY683" fmla="*/ 128493 h 175170"/>
                <a:gd name="connsiteX684" fmla="*/ 67900 w 189841"/>
                <a:gd name="connsiteY684" fmla="*/ 128296 h 175170"/>
                <a:gd name="connsiteX685" fmla="*/ 65494 w 189841"/>
                <a:gd name="connsiteY685" fmla="*/ 128657 h 175170"/>
                <a:gd name="connsiteX686" fmla="*/ 62856 w 189841"/>
                <a:gd name="connsiteY686" fmla="*/ 134024 h 175170"/>
                <a:gd name="connsiteX687" fmla="*/ 62864 w 189841"/>
                <a:gd name="connsiteY687" fmla="*/ 137095 h 175170"/>
                <a:gd name="connsiteX688" fmla="*/ 61500 w 189841"/>
                <a:gd name="connsiteY688" fmla="*/ 136364 h 175170"/>
                <a:gd name="connsiteX689" fmla="*/ 60329 w 189841"/>
                <a:gd name="connsiteY689" fmla="*/ 135407 h 175170"/>
                <a:gd name="connsiteX690" fmla="*/ 60472 w 189841"/>
                <a:gd name="connsiteY690" fmla="*/ 132045 h 175170"/>
                <a:gd name="connsiteX691" fmla="*/ 60355 w 189841"/>
                <a:gd name="connsiteY691" fmla="*/ 130632 h 175170"/>
                <a:gd name="connsiteX692" fmla="*/ 57153 w 189841"/>
                <a:gd name="connsiteY692" fmla="*/ 126045 h 175170"/>
                <a:gd name="connsiteX693" fmla="*/ 55684 w 189841"/>
                <a:gd name="connsiteY693" fmla="*/ 125530 h 175170"/>
                <a:gd name="connsiteX694" fmla="*/ 55000 w 189841"/>
                <a:gd name="connsiteY694" fmla="*/ 123978 h 175170"/>
                <a:gd name="connsiteX695" fmla="*/ 53821 w 189841"/>
                <a:gd name="connsiteY695" fmla="*/ 122324 h 175170"/>
                <a:gd name="connsiteX696" fmla="*/ 52301 w 189841"/>
                <a:gd name="connsiteY696" fmla="*/ 122641 h 175170"/>
                <a:gd name="connsiteX697" fmla="*/ 51059 w 189841"/>
                <a:gd name="connsiteY697" fmla="*/ 123312 h 175170"/>
                <a:gd name="connsiteX698" fmla="*/ 50716 w 189841"/>
                <a:gd name="connsiteY698" fmla="*/ 125811 h 175170"/>
                <a:gd name="connsiteX699" fmla="*/ 50588 w 189841"/>
                <a:gd name="connsiteY699" fmla="*/ 128050 h 175170"/>
                <a:gd name="connsiteX700" fmla="*/ 49662 w 189841"/>
                <a:gd name="connsiteY700" fmla="*/ 129734 h 175170"/>
                <a:gd name="connsiteX701" fmla="*/ 46250 w 189841"/>
                <a:gd name="connsiteY701" fmla="*/ 126536 h 175170"/>
                <a:gd name="connsiteX702" fmla="*/ 42819 w 189841"/>
                <a:gd name="connsiteY702" fmla="*/ 121001 h 175170"/>
                <a:gd name="connsiteX703" fmla="*/ 42728 w 189841"/>
                <a:gd name="connsiteY703" fmla="*/ 117960 h 175170"/>
                <a:gd name="connsiteX704" fmla="*/ 45242 w 189841"/>
                <a:gd name="connsiteY704" fmla="*/ 115185 h 175170"/>
                <a:gd name="connsiteX705" fmla="*/ 44941 w 189841"/>
                <a:gd name="connsiteY705" fmla="*/ 113198 h 175170"/>
                <a:gd name="connsiteX706" fmla="*/ 42562 w 189841"/>
                <a:gd name="connsiteY706" fmla="*/ 109272 h 175170"/>
                <a:gd name="connsiteX707" fmla="*/ 39133 w 189841"/>
                <a:gd name="connsiteY707" fmla="*/ 106744 h 175170"/>
                <a:gd name="connsiteX708" fmla="*/ 37211 w 189841"/>
                <a:gd name="connsiteY708" fmla="*/ 105993 h 175170"/>
                <a:gd name="connsiteX709" fmla="*/ 36308 w 189841"/>
                <a:gd name="connsiteY709" fmla="*/ 103303 h 175170"/>
                <a:gd name="connsiteX710" fmla="*/ 34468 w 189841"/>
                <a:gd name="connsiteY710" fmla="*/ 101912 h 175170"/>
                <a:gd name="connsiteX711" fmla="*/ 32980 w 189841"/>
                <a:gd name="connsiteY711" fmla="*/ 101264 h 175170"/>
                <a:gd name="connsiteX712" fmla="*/ 32687 w 189841"/>
                <a:gd name="connsiteY712" fmla="*/ 100305 h 175170"/>
                <a:gd name="connsiteX713" fmla="*/ 33136 w 189841"/>
                <a:gd name="connsiteY713" fmla="*/ 99595 h 175170"/>
                <a:gd name="connsiteX714" fmla="*/ 36742 w 189841"/>
                <a:gd name="connsiteY714" fmla="*/ 96823 h 175170"/>
                <a:gd name="connsiteX715" fmla="*/ 38856 w 189841"/>
                <a:gd name="connsiteY715" fmla="*/ 92481 h 175170"/>
                <a:gd name="connsiteX716" fmla="*/ 39906 w 189841"/>
                <a:gd name="connsiteY716" fmla="*/ 92274 h 175170"/>
                <a:gd name="connsiteX717" fmla="*/ 42063 w 189841"/>
                <a:gd name="connsiteY717" fmla="*/ 93304 h 175170"/>
                <a:gd name="connsiteX718" fmla="*/ 44488 w 189841"/>
                <a:gd name="connsiteY718" fmla="*/ 93035 h 175170"/>
                <a:gd name="connsiteX719" fmla="*/ 46479 w 189841"/>
                <a:gd name="connsiteY719" fmla="*/ 90489 h 175170"/>
                <a:gd name="connsiteX720" fmla="*/ 48165 w 189841"/>
                <a:gd name="connsiteY720" fmla="*/ 89103 h 175170"/>
                <a:gd name="connsiteX721" fmla="*/ 51009 w 189841"/>
                <a:gd name="connsiteY721" fmla="*/ 89282 h 175170"/>
                <a:gd name="connsiteX722" fmla="*/ 57431 w 189841"/>
                <a:gd name="connsiteY722" fmla="*/ 92685 h 175170"/>
                <a:gd name="connsiteX723" fmla="*/ 64333 w 189841"/>
                <a:gd name="connsiteY723" fmla="*/ 94623 h 175170"/>
                <a:gd name="connsiteX724" fmla="*/ 67775 w 189841"/>
                <a:gd name="connsiteY724" fmla="*/ 96324 h 175170"/>
                <a:gd name="connsiteX725" fmla="*/ 69722 w 189841"/>
                <a:gd name="connsiteY725" fmla="*/ 98009 h 175170"/>
                <a:gd name="connsiteX726" fmla="*/ 70757 w 189841"/>
                <a:gd name="connsiteY726" fmla="*/ 98358 h 175170"/>
                <a:gd name="connsiteX727" fmla="*/ 72392 w 189841"/>
                <a:gd name="connsiteY727" fmla="*/ 98596 h 175170"/>
                <a:gd name="connsiteX728" fmla="*/ 72318 w 189841"/>
                <a:gd name="connsiteY728" fmla="*/ 97336 h 175170"/>
                <a:gd name="connsiteX729" fmla="*/ 71791 w 189841"/>
                <a:gd name="connsiteY729" fmla="*/ 96221 h 175170"/>
                <a:gd name="connsiteX730" fmla="*/ 73154 w 189841"/>
                <a:gd name="connsiteY730" fmla="*/ 95614 h 175170"/>
                <a:gd name="connsiteX731" fmla="*/ 76853 w 189841"/>
                <a:gd name="connsiteY731" fmla="*/ 95646 h 175170"/>
                <a:gd name="connsiteX732" fmla="*/ 77526 w 189841"/>
                <a:gd name="connsiteY732" fmla="*/ 95055 h 175170"/>
                <a:gd name="connsiteX733" fmla="*/ 78211 w 189841"/>
                <a:gd name="connsiteY733" fmla="*/ 94098 h 175170"/>
                <a:gd name="connsiteX734" fmla="*/ 77447 w 189841"/>
                <a:gd name="connsiteY734" fmla="*/ 93010 h 175170"/>
                <a:gd name="connsiteX735" fmla="*/ 76222 w 189841"/>
                <a:gd name="connsiteY735" fmla="*/ 92487 h 175170"/>
                <a:gd name="connsiteX736" fmla="*/ 74913 w 189841"/>
                <a:gd name="connsiteY736" fmla="*/ 92342 h 175170"/>
                <a:gd name="connsiteX737" fmla="*/ 74052 w 189841"/>
                <a:gd name="connsiteY737" fmla="*/ 91997 h 175170"/>
                <a:gd name="connsiteX738" fmla="*/ 72661 w 189841"/>
                <a:gd name="connsiteY738" fmla="*/ 92345 h 175170"/>
                <a:gd name="connsiteX739" fmla="*/ 70491 w 189841"/>
                <a:gd name="connsiteY739" fmla="*/ 91504 h 175170"/>
                <a:gd name="connsiteX740" fmla="*/ 69370 w 189841"/>
                <a:gd name="connsiteY740" fmla="*/ 90810 h 175170"/>
                <a:gd name="connsiteX741" fmla="*/ 68712 w 189841"/>
                <a:gd name="connsiteY741" fmla="*/ 90096 h 175170"/>
                <a:gd name="connsiteX742" fmla="*/ 64942 w 189841"/>
                <a:gd name="connsiteY742" fmla="*/ 88672 h 175170"/>
                <a:gd name="connsiteX743" fmla="*/ 61366 w 189841"/>
                <a:gd name="connsiteY743" fmla="*/ 86264 h 175170"/>
                <a:gd name="connsiteX744" fmla="*/ 60560 w 189841"/>
                <a:gd name="connsiteY744" fmla="*/ 87627 h 175170"/>
                <a:gd name="connsiteX745" fmla="*/ 59116 w 189841"/>
                <a:gd name="connsiteY745" fmla="*/ 88366 h 175170"/>
                <a:gd name="connsiteX746" fmla="*/ 57058 w 189841"/>
                <a:gd name="connsiteY746" fmla="*/ 88468 h 175170"/>
                <a:gd name="connsiteX747" fmla="*/ 51275 w 189841"/>
                <a:gd name="connsiteY747" fmla="*/ 86935 h 175170"/>
                <a:gd name="connsiteX748" fmla="*/ 47722 w 189841"/>
                <a:gd name="connsiteY748" fmla="*/ 88105 h 175170"/>
                <a:gd name="connsiteX749" fmla="*/ 45786 w 189841"/>
                <a:gd name="connsiteY749" fmla="*/ 88412 h 175170"/>
                <a:gd name="connsiteX750" fmla="*/ 44304 w 189841"/>
                <a:gd name="connsiteY750" fmla="*/ 88438 h 175170"/>
                <a:gd name="connsiteX751" fmla="*/ 42482 w 189841"/>
                <a:gd name="connsiteY751" fmla="*/ 88963 h 175170"/>
                <a:gd name="connsiteX752" fmla="*/ 40379 w 189841"/>
                <a:gd name="connsiteY752" fmla="*/ 89277 h 175170"/>
                <a:gd name="connsiteX753" fmla="*/ 38556 w 189841"/>
                <a:gd name="connsiteY753" fmla="*/ 87054 h 175170"/>
                <a:gd name="connsiteX754" fmla="*/ 37789 w 189841"/>
                <a:gd name="connsiteY754" fmla="*/ 85331 h 175170"/>
                <a:gd name="connsiteX755" fmla="*/ 37249 w 189841"/>
                <a:gd name="connsiteY755" fmla="*/ 85009 h 175170"/>
                <a:gd name="connsiteX756" fmla="*/ 37222 w 189841"/>
                <a:gd name="connsiteY756" fmla="*/ 86628 h 175170"/>
                <a:gd name="connsiteX757" fmla="*/ 36636 w 189841"/>
                <a:gd name="connsiteY757" fmla="*/ 87926 h 175170"/>
                <a:gd name="connsiteX758" fmla="*/ 33968 w 189841"/>
                <a:gd name="connsiteY758" fmla="*/ 88655 h 175170"/>
                <a:gd name="connsiteX759" fmla="*/ 32432 w 189841"/>
                <a:gd name="connsiteY759" fmla="*/ 87650 h 175170"/>
                <a:gd name="connsiteX760" fmla="*/ 31251 w 189841"/>
                <a:gd name="connsiteY760" fmla="*/ 84598 h 175170"/>
                <a:gd name="connsiteX761" fmla="*/ 29757 w 189841"/>
                <a:gd name="connsiteY761" fmla="*/ 80715 h 175170"/>
                <a:gd name="connsiteX762" fmla="*/ 27126 w 189841"/>
                <a:gd name="connsiteY762" fmla="*/ 77576 h 175170"/>
                <a:gd name="connsiteX763" fmla="*/ 24995 w 189841"/>
                <a:gd name="connsiteY763" fmla="*/ 76755 h 175170"/>
                <a:gd name="connsiteX764" fmla="*/ 24811 w 189841"/>
                <a:gd name="connsiteY764" fmla="*/ 75029 h 175170"/>
                <a:gd name="connsiteX765" fmla="*/ 25006 w 189841"/>
                <a:gd name="connsiteY765" fmla="*/ 73647 h 175170"/>
                <a:gd name="connsiteX766" fmla="*/ 27567 w 189841"/>
                <a:gd name="connsiteY766" fmla="*/ 73306 h 175170"/>
                <a:gd name="connsiteX767" fmla="*/ 31570 w 189841"/>
                <a:gd name="connsiteY767" fmla="*/ 74751 h 175170"/>
                <a:gd name="connsiteX768" fmla="*/ 32397 w 189841"/>
                <a:gd name="connsiteY768" fmla="*/ 74464 h 175170"/>
                <a:gd name="connsiteX769" fmla="*/ 33298 w 189841"/>
                <a:gd name="connsiteY769" fmla="*/ 73797 h 175170"/>
                <a:gd name="connsiteX770" fmla="*/ 33125 w 189841"/>
                <a:gd name="connsiteY770" fmla="*/ 72322 h 175170"/>
                <a:gd name="connsiteX771" fmla="*/ 32547 w 189841"/>
                <a:gd name="connsiteY771" fmla="*/ 71008 h 175170"/>
                <a:gd name="connsiteX772" fmla="*/ 31445 w 189841"/>
                <a:gd name="connsiteY772" fmla="*/ 70949 h 175170"/>
                <a:gd name="connsiteX773" fmla="*/ 30683 w 189841"/>
                <a:gd name="connsiteY773" fmla="*/ 71105 h 175170"/>
                <a:gd name="connsiteX774" fmla="*/ 28221 w 189841"/>
                <a:gd name="connsiteY774" fmla="*/ 70833 h 175170"/>
                <a:gd name="connsiteX775" fmla="*/ 25058 w 189841"/>
                <a:gd name="connsiteY775" fmla="*/ 71563 h 175170"/>
                <a:gd name="connsiteX776" fmla="*/ 23591 w 189841"/>
                <a:gd name="connsiteY776" fmla="*/ 70875 h 175170"/>
                <a:gd name="connsiteX777" fmla="*/ 23103 w 189841"/>
                <a:gd name="connsiteY777" fmla="*/ 70039 h 175170"/>
                <a:gd name="connsiteX778" fmla="*/ 20458 w 189841"/>
                <a:gd name="connsiteY778" fmla="*/ 67963 h 175170"/>
                <a:gd name="connsiteX779" fmla="*/ 18172 w 189841"/>
                <a:gd name="connsiteY779" fmla="*/ 65177 h 175170"/>
                <a:gd name="connsiteX780" fmla="*/ 14468 w 189841"/>
                <a:gd name="connsiteY780" fmla="*/ 63316 h 175170"/>
                <a:gd name="connsiteX781" fmla="*/ 12049 w 189841"/>
                <a:gd name="connsiteY781" fmla="*/ 57641 h 175170"/>
                <a:gd name="connsiteX782" fmla="*/ 10015 w 189841"/>
                <a:gd name="connsiteY782" fmla="*/ 55161 h 175170"/>
                <a:gd name="connsiteX783" fmla="*/ 7845 w 189841"/>
                <a:gd name="connsiteY783" fmla="*/ 53389 h 175170"/>
                <a:gd name="connsiteX784" fmla="*/ 8316 w 189841"/>
                <a:gd name="connsiteY784" fmla="*/ 53356 h 175170"/>
                <a:gd name="connsiteX785" fmla="*/ 9139 w 189841"/>
                <a:gd name="connsiteY785" fmla="*/ 53657 h 175170"/>
                <a:gd name="connsiteX786" fmla="*/ 10715 w 189841"/>
                <a:gd name="connsiteY786" fmla="*/ 54632 h 175170"/>
                <a:gd name="connsiteX787" fmla="*/ 12391 w 189841"/>
                <a:gd name="connsiteY787" fmla="*/ 54842 h 175170"/>
                <a:gd name="connsiteX788" fmla="*/ 13306 w 189841"/>
                <a:gd name="connsiteY788" fmla="*/ 54196 h 175170"/>
                <a:gd name="connsiteX789" fmla="*/ 13833 w 189841"/>
                <a:gd name="connsiteY789" fmla="*/ 53603 h 175170"/>
                <a:gd name="connsiteX790" fmla="*/ 14176 w 189841"/>
                <a:gd name="connsiteY790" fmla="*/ 52630 h 175170"/>
                <a:gd name="connsiteX791" fmla="*/ 14315 w 189841"/>
                <a:gd name="connsiteY791" fmla="*/ 51495 h 175170"/>
                <a:gd name="connsiteX792" fmla="*/ 14587 w 189841"/>
                <a:gd name="connsiteY792" fmla="*/ 51119 h 175170"/>
                <a:gd name="connsiteX793" fmla="*/ 15867 w 189841"/>
                <a:gd name="connsiteY793" fmla="*/ 51247 h 175170"/>
                <a:gd name="connsiteX794" fmla="*/ 16273 w 189841"/>
                <a:gd name="connsiteY794" fmla="*/ 50964 h 175170"/>
                <a:gd name="connsiteX795" fmla="*/ 16256 w 189841"/>
                <a:gd name="connsiteY795" fmla="*/ 49944 h 175170"/>
                <a:gd name="connsiteX796" fmla="*/ 15429 w 189841"/>
                <a:gd name="connsiteY796" fmla="*/ 48672 h 175170"/>
                <a:gd name="connsiteX797" fmla="*/ 14701 w 189841"/>
                <a:gd name="connsiteY797" fmla="*/ 47105 h 175170"/>
                <a:gd name="connsiteX798" fmla="*/ 14697 w 189841"/>
                <a:gd name="connsiteY798" fmla="*/ 46358 h 175170"/>
                <a:gd name="connsiteX799" fmla="*/ 15302 w 189841"/>
                <a:gd name="connsiteY799" fmla="*/ 46055 h 175170"/>
                <a:gd name="connsiteX800" fmla="*/ 16302 w 189841"/>
                <a:gd name="connsiteY800" fmla="*/ 45374 h 175170"/>
                <a:gd name="connsiteX801" fmla="*/ 16839 w 189841"/>
                <a:gd name="connsiteY801" fmla="*/ 44532 h 175170"/>
                <a:gd name="connsiteX802" fmla="*/ 17901 w 189841"/>
                <a:gd name="connsiteY802" fmla="*/ 44112 h 175170"/>
                <a:gd name="connsiteX803" fmla="*/ 19472 w 189841"/>
                <a:gd name="connsiteY803" fmla="*/ 44035 h 175170"/>
                <a:gd name="connsiteX804" fmla="*/ 21223 w 189841"/>
                <a:gd name="connsiteY804" fmla="*/ 43666 h 175170"/>
                <a:gd name="connsiteX805" fmla="*/ 22354 w 189841"/>
                <a:gd name="connsiteY805" fmla="*/ 42760 h 175170"/>
                <a:gd name="connsiteX806" fmla="*/ 22521 w 189841"/>
                <a:gd name="connsiteY806" fmla="*/ 41862 h 175170"/>
                <a:gd name="connsiteX807" fmla="*/ 23229 w 189841"/>
                <a:gd name="connsiteY807" fmla="*/ 39391 h 175170"/>
                <a:gd name="connsiteX808" fmla="*/ 23691 w 189841"/>
                <a:gd name="connsiteY808" fmla="*/ 38181 h 175170"/>
                <a:gd name="connsiteX809" fmla="*/ 24438 w 189841"/>
                <a:gd name="connsiteY809" fmla="*/ 37076 h 175170"/>
                <a:gd name="connsiteX810" fmla="*/ 24844 w 189841"/>
                <a:gd name="connsiteY810" fmla="*/ 35586 h 175170"/>
                <a:gd name="connsiteX811" fmla="*/ 25641 w 189841"/>
                <a:gd name="connsiteY811" fmla="*/ 34184 h 175170"/>
                <a:gd name="connsiteX812" fmla="*/ 27312 w 189841"/>
                <a:gd name="connsiteY812" fmla="*/ 33596 h 175170"/>
                <a:gd name="connsiteX813" fmla="*/ 28828 w 189841"/>
                <a:gd name="connsiteY813" fmla="*/ 32903 h 175170"/>
                <a:gd name="connsiteX814" fmla="*/ 29972 w 189841"/>
                <a:gd name="connsiteY814" fmla="*/ 31096 h 175170"/>
                <a:gd name="connsiteX815" fmla="*/ 30612 w 189841"/>
                <a:gd name="connsiteY815" fmla="*/ 29547 h 175170"/>
                <a:gd name="connsiteX816" fmla="*/ 30616 w 189841"/>
                <a:gd name="connsiteY816" fmla="*/ 28599 h 175170"/>
                <a:gd name="connsiteX817" fmla="*/ 29662 w 189841"/>
                <a:gd name="connsiteY817" fmla="*/ 27047 h 175170"/>
                <a:gd name="connsiteX818" fmla="*/ 28951 w 189841"/>
                <a:gd name="connsiteY818" fmla="*/ 25538 h 175170"/>
                <a:gd name="connsiteX819" fmla="*/ 29139 w 189841"/>
                <a:gd name="connsiteY819" fmla="*/ 23578 h 175170"/>
                <a:gd name="connsiteX820" fmla="*/ 32141 w 189841"/>
                <a:gd name="connsiteY820" fmla="*/ 23414 h 175170"/>
                <a:gd name="connsiteX821" fmla="*/ 33192 w 189841"/>
                <a:gd name="connsiteY821" fmla="*/ 23231 h 175170"/>
                <a:gd name="connsiteX822" fmla="*/ 37088 w 189841"/>
                <a:gd name="connsiteY822" fmla="*/ 23125 h 175170"/>
                <a:gd name="connsiteX823" fmla="*/ 38865 w 189841"/>
                <a:gd name="connsiteY823" fmla="*/ 22073 h 175170"/>
                <a:gd name="connsiteX824" fmla="*/ 40094 w 189841"/>
                <a:gd name="connsiteY824" fmla="*/ 22167 h 175170"/>
                <a:gd name="connsiteX825" fmla="*/ 42661 w 189841"/>
                <a:gd name="connsiteY825" fmla="*/ 23078 h 175170"/>
                <a:gd name="connsiteX826" fmla="*/ 43806 w 189841"/>
                <a:gd name="connsiteY826" fmla="*/ 22358 h 175170"/>
                <a:gd name="connsiteX827" fmla="*/ 47166 w 189841"/>
                <a:gd name="connsiteY827" fmla="*/ 20936 h 175170"/>
                <a:gd name="connsiteX828" fmla="*/ 50482 w 189841"/>
                <a:gd name="connsiteY828" fmla="*/ 16805 h 175170"/>
                <a:gd name="connsiteX829" fmla="*/ 51895 w 189841"/>
                <a:gd name="connsiteY829" fmla="*/ 16185 h 175170"/>
                <a:gd name="connsiteX830" fmla="*/ 55112 w 189841"/>
                <a:gd name="connsiteY830" fmla="*/ 15934 h 175170"/>
                <a:gd name="connsiteX831" fmla="*/ 56120 w 189841"/>
                <a:gd name="connsiteY831" fmla="*/ 15456 h 175170"/>
                <a:gd name="connsiteX832" fmla="*/ 57297 w 189841"/>
                <a:gd name="connsiteY832" fmla="*/ 15547 h 175170"/>
                <a:gd name="connsiteX833" fmla="*/ 60903 w 189841"/>
                <a:gd name="connsiteY833" fmla="*/ 16385 h 175170"/>
                <a:gd name="connsiteX834" fmla="*/ 62955 w 189841"/>
                <a:gd name="connsiteY834" fmla="*/ 16513 h 175170"/>
                <a:gd name="connsiteX835" fmla="*/ 65388 w 189841"/>
                <a:gd name="connsiteY835" fmla="*/ 15942 h 175170"/>
                <a:gd name="connsiteX836" fmla="*/ 68069 w 189841"/>
                <a:gd name="connsiteY836" fmla="*/ 14932 h 175170"/>
                <a:gd name="connsiteX837" fmla="*/ 68738 w 189841"/>
                <a:gd name="connsiteY837" fmla="*/ 11394 h 175170"/>
                <a:gd name="connsiteX838" fmla="*/ 69375 w 189841"/>
                <a:gd name="connsiteY838" fmla="*/ 10886 h 175170"/>
                <a:gd name="connsiteX839" fmla="*/ 71042 w 189841"/>
                <a:gd name="connsiteY839" fmla="*/ 10744 h 175170"/>
                <a:gd name="connsiteX840" fmla="*/ 72297 w 189841"/>
                <a:gd name="connsiteY840" fmla="*/ 10773 h 175170"/>
                <a:gd name="connsiteX841" fmla="*/ 74719 w 189841"/>
                <a:gd name="connsiteY841" fmla="*/ 11054 h 175170"/>
                <a:gd name="connsiteX842" fmla="*/ 77602 w 189841"/>
                <a:gd name="connsiteY842" fmla="*/ 11148 h 175170"/>
                <a:gd name="connsiteX843" fmla="*/ 79457 w 189841"/>
                <a:gd name="connsiteY843" fmla="*/ 9488 h 175170"/>
                <a:gd name="connsiteX844" fmla="*/ 82381 w 189841"/>
                <a:gd name="connsiteY844" fmla="*/ 9364 h 175170"/>
                <a:gd name="connsiteX845" fmla="*/ 83737 w 189841"/>
                <a:gd name="connsiteY845" fmla="*/ 9124 h 175170"/>
                <a:gd name="connsiteX846" fmla="*/ 86002 w 189841"/>
                <a:gd name="connsiteY846" fmla="*/ 9459 h 175170"/>
                <a:gd name="connsiteX847" fmla="*/ 88198 w 189841"/>
                <a:gd name="connsiteY847" fmla="*/ 9440 h 175170"/>
                <a:gd name="connsiteX848" fmla="*/ 91010 w 189841"/>
                <a:gd name="connsiteY848" fmla="*/ 8748 h 175170"/>
                <a:gd name="connsiteX849" fmla="*/ 93631 w 189841"/>
                <a:gd name="connsiteY849" fmla="*/ 7613 h 175170"/>
                <a:gd name="connsiteX850" fmla="*/ 95680 w 189841"/>
                <a:gd name="connsiteY850" fmla="*/ 7710 h 175170"/>
                <a:gd name="connsiteX851" fmla="*/ 96516 w 189841"/>
                <a:gd name="connsiteY851" fmla="*/ 7505 h 175170"/>
                <a:gd name="connsiteX852" fmla="*/ 96994 w 189841"/>
                <a:gd name="connsiteY852" fmla="*/ 7266 h 175170"/>
                <a:gd name="connsiteX853" fmla="*/ 97505 w 189841"/>
                <a:gd name="connsiteY853" fmla="*/ 5729 h 175170"/>
                <a:gd name="connsiteX854" fmla="*/ 101360 w 189841"/>
                <a:gd name="connsiteY854" fmla="*/ 5635 h 175170"/>
                <a:gd name="connsiteX855" fmla="*/ 102666 w 189841"/>
                <a:gd name="connsiteY855" fmla="*/ 5788 h 175170"/>
                <a:gd name="connsiteX856" fmla="*/ 104817 w 189841"/>
                <a:gd name="connsiteY856" fmla="*/ 5828 h 175170"/>
                <a:gd name="connsiteX857" fmla="*/ 107054 w 189841"/>
                <a:gd name="connsiteY857" fmla="*/ 4990 h 175170"/>
                <a:gd name="connsiteX858" fmla="*/ 107725 w 189841"/>
                <a:gd name="connsiteY858" fmla="*/ 5061 h 175170"/>
                <a:gd name="connsiteX859" fmla="*/ 108855 w 189841"/>
                <a:gd name="connsiteY859" fmla="*/ 7311 h 175170"/>
                <a:gd name="connsiteX860" fmla="*/ 109444 w 189841"/>
                <a:gd name="connsiteY860" fmla="*/ 7963 h 175170"/>
                <a:gd name="connsiteX861" fmla="*/ 110662 w 189841"/>
                <a:gd name="connsiteY861" fmla="*/ 8564 h 175170"/>
                <a:gd name="connsiteX862" fmla="*/ 113374 w 189841"/>
                <a:gd name="connsiteY862" fmla="*/ 10250 h 175170"/>
                <a:gd name="connsiteX863" fmla="*/ 113863 w 189841"/>
                <a:gd name="connsiteY863" fmla="*/ 9806 h 175170"/>
                <a:gd name="connsiteX864" fmla="*/ 114992 w 189841"/>
                <a:gd name="connsiteY864" fmla="*/ 9243 h 175170"/>
                <a:gd name="connsiteX865" fmla="*/ 118235 w 189841"/>
                <a:gd name="connsiteY865" fmla="*/ 10015 h 175170"/>
                <a:gd name="connsiteX866" fmla="*/ 121327 w 189841"/>
                <a:gd name="connsiteY866" fmla="*/ 11314 h 175170"/>
                <a:gd name="connsiteX867" fmla="*/ 123932 w 189841"/>
                <a:gd name="connsiteY867" fmla="*/ 13219 h 175170"/>
                <a:gd name="connsiteX868" fmla="*/ 126823 w 189841"/>
                <a:gd name="connsiteY868" fmla="*/ 12670 h 175170"/>
                <a:gd name="connsiteX869" fmla="*/ 130032 w 189841"/>
                <a:gd name="connsiteY869" fmla="*/ 11735 h 175170"/>
                <a:gd name="connsiteX870" fmla="*/ 132120 w 189841"/>
                <a:gd name="connsiteY870" fmla="*/ 11463 h 175170"/>
                <a:gd name="connsiteX871" fmla="*/ 134385 w 189841"/>
                <a:gd name="connsiteY871" fmla="*/ 11333 h 175170"/>
                <a:gd name="connsiteX872" fmla="*/ 135735 w 189841"/>
                <a:gd name="connsiteY872" fmla="*/ 10927 h 175170"/>
                <a:gd name="connsiteX873" fmla="*/ 138795 w 189841"/>
                <a:gd name="connsiteY873" fmla="*/ 11416 h 175170"/>
                <a:gd name="connsiteX874" fmla="*/ 141958 w 189841"/>
                <a:gd name="connsiteY874" fmla="*/ 10393 h 175170"/>
                <a:gd name="connsiteX875" fmla="*/ 143483 w 189841"/>
                <a:gd name="connsiteY875" fmla="*/ 9467 h 175170"/>
                <a:gd name="connsiteX876" fmla="*/ 143921 w 189841"/>
                <a:gd name="connsiteY876" fmla="*/ 8170 h 175170"/>
                <a:gd name="connsiteX877" fmla="*/ 143664 w 189841"/>
                <a:gd name="connsiteY877" fmla="*/ 5881 h 175170"/>
                <a:gd name="connsiteX878" fmla="*/ 142949 w 189841"/>
                <a:gd name="connsiteY878" fmla="*/ 3589 h 175170"/>
                <a:gd name="connsiteX879" fmla="*/ 142192 w 189841"/>
                <a:gd name="connsiteY879" fmla="*/ 2743 h 175170"/>
                <a:gd name="connsiteX880" fmla="*/ 141950 w 189841"/>
                <a:gd name="connsiteY880" fmla="*/ 1868 h 175170"/>
                <a:gd name="connsiteX881" fmla="*/ 142381 w 189841"/>
                <a:gd name="connsiteY881" fmla="*/ 1050 h 175170"/>
                <a:gd name="connsiteX882" fmla="*/ 142865 w 189841"/>
                <a:gd name="connsiteY882" fmla="*/ 479 h 175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Lst>
              <a:rect l="l" t="t" r="r" b="b"/>
              <a:pathLst>
                <a:path w="189841" h="175170">
                  <a:moveTo>
                    <a:pt x="90448" y="157073"/>
                  </a:moveTo>
                  <a:lnTo>
                    <a:pt x="91198" y="157609"/>
                  </a:lnTo>
                  <a:lnTo>
                    <a:pt x="91697" y="159571"/>
                  </a:lnTo>
                  <a:lnTo>
                    <a:pt x="92998" y="160093"/>
                  </a:lnTo>
                  <a:lnTo>
                    <a:pt x="94510" y="160276"/>
                  </a:lnTo>
                  <a:lnTo>
                    <a:pt x="96559" y="160244"/>
                  </a:lnTo>
                  <a:lnTo>
                    <a:pt x="97026" y="160094"/>
                  </a:lnTo>
                  <a:lnTo>
                    <a:pt x="98330" y="158624"/>
                  </a:lnTo>
                  <a:lnTo>
                    <a:pt x="99937" y="158590"/>
                  </a:lnTo>
                  <a:lnTo>
                    <a:pt x="100638" y="160043"/>
                  </a:lnTo>
                  <a:lnTo>
                    <a:pt x="99008" y="160712"/>
                  </a:lnTo>
                  <a:lnTo>
                    <a:pt x="98676" y="161090"/>
                  </a:lnTo>
                  <a:lnTo>
                    <a:pt x="98989" y="161396"/>
                  </a:lnTo>
                  <a:lnTo>
                    <a:pt x="100213" y="162002"/>
                  </a:lnTo>
                  <a:lnTo>
                    <a:pt x="101913" y="161773"/>
                  </a:lnTo>
                  <a:lnTo>
                    <a:pt x="101964" y="162916"/>
                  </a:lnTo>
                  <a:lnTo>
                    <a:pt x="102344" y="163849"/>
                  </a:lnTo>
                  <a:lnTo>
                    <a:pt x="103184" y="164406"/>
                  </a:lnTo>
                  <a:lnTo>
                    <a:pt x="104093" y="164515"/>
                  </a:lnTo>
                  <a:lnTo>
                    <a:pt x="106104" y="164350"/>
                  </a:lnTo>
                  <a:lnTo>
                    <a:pt x="108086" y="163980"/>
                  </a:lnTo>
                  <a:lnTo>
                    <a:pt x="110129" y="163248"/>
                  </a:lnTo>
                  <a:lnTo>
                    <a:pt x="112215" y="162874"/>
                  </a:lnTo>
                  <a:lnTo>
                    <a:pt x="118447" y="163249"/>
                  </a:lnTo>
                  <a:lnTo>
                    <a:pt x="120684" y="164830"/>
                  </a:lnTo>
                  <a:lnTo>
                    <a:pt x="124940" y="165020"/>
                  </a:lnTo>
                  <a:lnTo>
                    <a:pt x="128896" y="165852"/>
                  </a:lnTo>
                  <a:lnTo>
                    <a:pt x="130974" y="165303"/>
                  </a:lnTo>
                  <a:lnTo>
                    <a:pt x="134523" y="164788"/>
                  </a:lnTo>
                  <a:lnTo>
                    <a:pt x="135092" y="165346"/>
                  </a:lnTo>
                  <a:lnTo>
                    <a:pt x="134633" y="168918"/>
                  </a:lnTo>
                  <a:lnTo>
                    <a:pt x="134852" y="169953"/>
                  </a:lnTo>
                  <a:lnTo>
                    <a:pt x="135875" y="170451"/>
                  </a:lnTo>
                  <a:lnTo>
                    <a:pt x="136888" y="170208"/>
                  </a:lnTo>
                  <a:lnTo>
                    <a:pt x="138132" y="169039"/>
                  </a:lnTo>
                  <a:lnTo>
                    <a:pt x="141109" y="168134"/>
                  </a:lnTo>
                  <a:lnTo>
                    <a:pt x="144202" y="168139"/>
                  </a:lnTo>
                  <a:lnTo>
                    <a:pt x="146804" y="165763"/>
                  </a:lnTo>
                  <a:lnTo>
                    <a:pt x="147571" y="165628"/>
                  </a:lnTo>
                  <a:lnTo>
                    <a:pt x="147093" y="166796"/>
                  </a:lnTo>
                  <a:lnTo>
                    <a:pt x="146700" y="169539"/>
                  </a:lnTo>
                  <a:lnTo>
                    <a:pt x="146141" y="171145"/>
                  </a:lnTo>
                  <a:lnTo>
                    <a:pt x="145892" y="172410"/>
                  </a:lnTo>
                  <a:lnTo>
                    <a:pt x="144152" y="173063"/>
                  </a:lnTo>
                  <a:lnTo>
                    <a:pt x="141522" y="173175"/>
                  </a:lnTo>
                  <a:lnTo>
                    <a:pt x="136724" y="172898"/>
                  </a:lnTo>
                  <a:lnTo>
                    <a:pt x="131887" y="173346"/>
                  </a:lnTo>
                  <a:lnTo>
                    <a:pt x="122928" y="174549"/>
                  </a:lnTo>
                  <a:lnTo>
                    <a:pt x="113951" y="175170"/>
                  </a:lnTo>
                  <a:lnTo>
                    <a:pt x="112744" y="174765"/>
                  </a:lnTo>
                  <a:lnTo>
                    <a:pt x="112716" y="173170"/>
                  </a:lnTo>
                  <a:lnTo>
                    <a:pt x="112522" y="172069"/>
                  </a:lnTo>
                  <a:lnTo>
                    <a:pt x="111941" y="171298"/>
                  </a:lnTo>
                  <a:lnTo>
                    <a:pt x="109166" y="170640"/>
                  </a:lnTo>
                  <a:lnTo>
                    <a:pt x="106519" y="169511"/>
                  </a:lnTo>
                  <a:lnTo>
                    <a:pt x="96140" y="167967"/>
                  </a:lnTo>
                  <a:lnTo>
                    <a:pt x="93692" y="167361"/>
                  </a:lnTo>
                  <a:lnTo>
                    <a:pt x="89718" y="167677"/>
                  </a:lnTo>
                  <a:lnTo>
                    <a:pt x="88263" y="167635"/>
                  </a:lnTo>
                  <a:lnTo>
                    <a:pt x="87261" y="167081"/>
                  </a:lnTo>
                  <a:lnTo>
                    <a:pt x="86572" y="166129"/>
                  </a:lnTo>
                  <a:lnTo>
                    <a:pt x="86261" y="163106"/>
                  </a:lnTo>
                  <a:lnTo>
                    <a:pt x="86753" y="160110"/>
                  </a:lnTo>
                  <a:lnTo>
                    <a:pt x="87613" y="159318"/>
                  </a:lnTo>
                  <a:lnTo>
                    <a:pt x="88008" y="160221"/>
                  </a:lnTo>
                  <a:lnTo>
                    <a:pt x="89027" y="160634"/>
                  </a:lnTo>
                  <a:lnTo>
                    <a:pt x="89973" y="159724"/>
                  </a:lnTo>
                  <a:lnTo>
                    <a:pt x="89964" y="158350"/>
                  </a:lnTo>
                  <a:close/>
                  <a:moveTo>
                    <a:pt x="167536" y="152919"/>
                  </a:moveTo>
                  <a:lnTo>
                    <a:pt x="167180" y="155589"/>
                  </a:lnTo>
                  <a:lnTo>
                    <a:pt x="166078" y="157728"/>
                  </a:lnTo>
                  <a:lnTo>
                    <a:pt x="167221" y="159502"/>
                  </a:lnTo>
                  <a:lnTo>
                    <a:pt x="167767" y="161523"/>
                  </a:lnTo>
                  <a:lnTo>
                    <a:pt x="166495" y="161857"/>
                  </a:lnTo>
                  <a:lnTo>
                    <a:pt x="165651" y="163269"/>
                  </a:lnTo>
                  <a:lnTo>
                    <a:pt x="164794" y="162079"/>
                  </a:lnTo>
                  <a:lnTo>
                    <a:pt x="165163" y="160705"/>
                  </a:lnTo>
                  <a:lnTo>
                    <a:pt x="164165" y="158526"/>
                  </a:lnTo>
                  <a:lnTo>
                    <a:pt x="166053" y="155292"/>
                  </a:lnTo>
                  <a:lnTo>
                    <a:pt x="166096" y="153720"/>
                  </a:lnTo>
                  <a:close/>
                  <a:moveTo>
                    <a:pt x="73059" y="138689"/>
                  </a:moveTo>
                  <a:lnTo>
                    <a:pt x="74106" y="140102"/>
                  </a:lnTo>
                  <a:lnTo>
                    <a:pt x="76300" y="142164"/>
                  </a:lnTo>
                  <a:lnTo>
                    <a:pt x="75343" y="143599"/>
                  </a:lnTo>
                  <a:lnTo>
                    <a:pt x="75086" y="144696"/>
                  </a:lnTo>
                  <a:lnTo>
                    <a:pt x="72815" y="143942"/>
                  </a:lnTo>
                  <a:lnTo>
                    <a:pt x="72182" y="142810"/>
                  </a:lnTo>
                  <a:lnTo>
                    <a:pt x="72068" y="140299"/>
                  </a:lnTo>
                  <a:lnTo>
                    <a:pt x="72664" y="139074"/>
                  </a:lnTo>
                  <a:close/>
                  <a:moveTo>
                    <a:pt x="189841" y="137431"/>
                  </a:moveTo>
                  <a:lnTo>
                    <a:pt x="189801" y="139035"/>
                  </a:lnTo>
                  <a:lnTo>
                    <a:pt x="187899" y="143092"/>
                  </a:lnTo>
                  <a:lnTo>
                    <a:pt x="186211" y="145117"/>
                  </a:lnTo>
                  <a:lnTo>
                    <a:pt x="186655" y="146743"/>
                  </a:lnTo>
                  <a:lnTo>
                    <a:pt x="183952" y="147193"/>
                  </a:lnTo>
                  <a:lnTo>
                    <a:pt x="181238" y="150175"/>
                  </a:lnTo>
                  <a:lnTo>
                    <a:pt x="179642" y="150705"/>
                  </a:lnTo>
                  <a:lnTo>
                    <a:pt x="179091" y="150636"/>
                  </a:lnTo>
                  <a:lnTo>
                    <a:pt x="178424" y="149468"/>
                  </a:lnTo>
                  <a:lnTo>
                    <a:pt x="179348" y="146645"/>
                  </a:lnTo>
                  <a:lnTo>
                    <a:pt x="178493" y="144829"/>
                  </a:lnTo>
                  <a:lnTo>
                    <a:pt x="178441" y="144059"/>
                  </a:lnTo>
                  <a:lnTo>
                    <a:pt x="179726" y="142993"/>
                  </a:lnTo>
                  <a:lnTo>
                    <a:pt x="180629" y="141396"/>
                  </a:lnTo>
                  <a:lnTo>
                    <a:pt x="182822" y="139667"/>
                  </a:lnTo>
                  <a:lnTo>
                    <a:pt x="188506" y="137619"/>
                  </a:lnTo>
                  <a:close/>
                  <a:moveTo>
                    <a:pt x="127421" y="136416"/>
                  </a:moveTo>
                  <a:lnTo>
                    <a:pt x="128713" y="137395"/>
                  </a:lnTo>
                  <a:lnTo>
                    <a:pt x="129045" y="138469"/>
                  </a:lnTo>
                  <a:lnTo>
                    <a:pt x="128017" y="139799"/>
                  </a:lnTo>
                  <a:lnTo>
                    <a:pt x="126570" y="139322"/>
                  </a:lnTo>
                  <a:lnTo>
                    <a:pt x="127160" y="138816"/>
                  </a:lnTo>
                  <a:lnTo>
                    <a:pt x="127508" y="138159"/>
                  </a:lnTo>
                  <a:lnTo>
                    <a:pt x="127546" y="137212"/>
                  </a:lnTo>
                  <a:lnTo>
                    <a:pt x="127154" y="136629"/>
                  </a:lnTo>
                  <a:close/>
                  <a:moveTo>
                    <a:pt x="148672" y="132238"/>
                  </a:moveTo>
                  <a:lnTo>
                    <a:pt x="149805" y="132602"/>
                  </a:lnTo>
                  <a:lnTo>
                    <a:pt x="150676" y="133587"/>
                  </a:lnTo>
                  <a:lnTo>
                    <a:pt x="148929" y="134192"/>
                  </a:lnTo>
                  <a:lnTo>
                    <a:pt x="147819" y="135462"/>
                  </a:lnTo>
                  <a:lnTo>
                    <a:pt x="146461" y="134562"/>
                  </a:lnTo>
                  <a:lnTo>
                    <a:pt x="146456" y="133333"/>
                  </a:lnTo>
                  <a:lnTo>
                    <a:pt x="147942" y="133709"/>
                  </a:lnTo>
                  <a:lnTo>
                    <a:pt x="148985" y="133017"/>
                  </a:lnTo>
                  <a:close/>
                  <a:moveTo>
                    <a:pt x="181674" y="132173"/>
                  </a:moveTo>
                  <a:lnTo>
                    <a:pt x="181836" y="132646"/>
                  </a:lnTo>
                  <a:lnTo>
                    <a:pt x="181818" y="133656"/>
                  </a:lnTo>
                  <a:lnTo>
                    <a:pt x="181622" y="134385"/>
                  </a:lnTo>
                  <a:lnTo>
                    <a:pt x="181138" y="134788"/>
                  </a:lnTo>
                  <a:lnTo>
                    <a:pt x="180028" y="133630"/>
                  </a:lnTo>
                  <a:lnTo>
                    <a:pt x="179976" y="133026"/>
                  </a:lnTo>
                  <a:lnTo>
                    <a:pt x="181106" y="132333"/>
                  </a:lnTo>
                  <a:close/>
                  <a:moveTo>
                    <a:pt x="108112" y="129062"/>
                  </a:moveTo>
                  <a:lnTo>
                    <a:pt x="108151" y="130553"/>
                  </a:lnTo>
                  <a:lnTo>
                    <a:pt x="108000" y="131087"/>
                  </a:lnTo>
                  <a:lnTo>
                    <a:pt x="103474" y="131806"/>
                  </a:lnTo>
                  <a:lnTo>
                    <a:pt x="103893" y="130097"/>
                  </a:lnTo>
                  <a:lnTo>
                    <a:pt x="104169" y="129557"/>
                  </a:lnTo>
                  <a:lnTo>
                    <a:pt x="105668" y="130352"/>
                  </a:lnTo>
                  <a:lnTo>
                    <a:pt x="106220" y="129946"/>
                  </a:lnTo>
                  <a:lnTo>
                    <a:pt x="106445" y="129476"/>
                  </a:lnTo>
                  <a:close/>
                  <a:moveTo>
                    <a:pt x="124921" y="128417"/>
                  </a:moveTo>
                  <a:lnTo>
                    <a:pt x="127376" y="130240"/>
                  </a:lnTo>
                  <a:lnTo>
                    <a:pt x="126819" y="131339"/>
                  </a:lnTo>
                  <a:lnTo>
                    <a:pt x="126434" y="131737"/>
                  </a:lnTo>
                  <a:lnTo>
                    <a:pt x="124761" y="130134"/>
                  </a:lnTo>
                  <a:lnTo>
                    <a:pt x="124126" y="129197"/>
                  </a:lnTo>
                  <a:close/>
                  <a:moveTo>
                    <a:pt x="168476" y="125472"/>
                  </a:moveTo>
                  <a:lnTo>
                    <a:pt x="170389" y="126393"/>
                  </a:lnTo>
                  <a:lnTo>
                    <a:pt x="166873" y="127910"/>
                  </a:lnTo>
                  <a:lnTo>
                    <a:pt x="165940" y="128712"/>
                  </a:lnTo>
                  <a:lnTo>
                    <a:pt x="163345" y="128885"/>
                  </a:lnTo>
                  <a:lnTo>
                    <a:pt x="161488" y="129993"/>
                  </a:lnTo>
                  <a:lnTo>
                    <a:pt x="160797" y="130023"/>
                  </a:lnTo>
                  <a:lnTo>
                    <a:pt x="161619" y="128797"/>
                  </a:lnTo>
                  <a:lnTo>
                    <a:pt x="163954" y="127117"/>
                  </a:lnTo>
                  <a:lnTo>
                    <a:pt x="167355" y="125637"/>
                  </a:lnTo>
                  <a:close/>
                  <a:moveTo>
                    <a:pt x="140505" y="124652"/>
                  </a:moveTo>
                  <a:lnTo>
                    <a:pt x="141915" y="125533"/>
                  </a:lnTo>
                  <a:lnTo>
                    <a:pt x="140151" y="126118"/>
                  </a:lnTo>
                  <a:lnTo>
                    <a:pt x="137380" y="128386"/>
                  </a:lnTo>
                  <a:lnTo>
                    <a:pt x="135428" y="128594"/>
                  </a:lnTo>
                  <a:lnTo>
                    <a:pt x="134811" y="128403"/>
                  </a:lnTo>
                  <a:lnTo>
                    <a:pt x="135996" y="127964"/>
                  </a:lnTo>
                  <a:lnTo>
                    <a:pt x="136828" y="127498"/>
                  </a:lnTo>
                  <a:lnTo>
                    <a:pt x="137227" y="126934"/>
                  </a:lnTo>
                  <a:lnTo>
                    <a:pt x="139207" y="125943"/>
                  </a:lnTo>
                  <a:close/>
                  <a:moveTo>
                    <a:pt x="112100" y="122454"/>
                  </a:moveTo>
                  <a:lnTo>
                    <a:pt x="113141" y="124351"/>
                  </a:lnTo>
                  <a:lnTo>
                    <a:pt x="112206" y="125057"/>
                  </a:lnTo>
                  <a:lnTo>
                    <a:pt x="111802" y="125168"/>
                  </a:lnTo>
                  <a:lnTo>
                    <a:pt x="111224" y="124096"/>
                  </a:lnTo>
                  <a:lnTo>
                    <a:pt x="111103" y="123096"/>
                  </a:lnTo>
                  <a:lnTo>
                    <a:pt x="111334" y="122510"/>
                  </a:lnTo>
                  <a:close/>
                  <a:moveTo>
                    <a:pt x="160140" y="120840"/>
                  </a:moveTo>
                  <a:lnTo>
                    <a:pt x="161864" y="121735"/>
                  </a:lnTo>
                  <a:lnTo>
                    <a:pt x="162956" y="122814"/>
                  </a:lnTo>
                  <a:lnTo>
                    <a:pt x="163489" y="123020"/>
                  </a:lnTo>
                  <a:lnTo>
                    <a:pt x="163366" y="123671"/>
                  </a:lnTo>
                  <a:lnTo>
                    <a:pt x="163038" y="124102"/>
                  </a:lnTo>
                  <a:lnTo>
                    <a:pt x="160831" y="124453"/>
                  </a:lnTo>
                  <a:lnTo>
                    <a:pt x="161224" y="122434"/>
                  </a:lnTo>
                  <a:close/>
                  <a:moveTo>
                    <a:pt x="123575" y="119280"/>
                  </a:moveTo>
                  <a:lnTo>
                    <a:pt x="124465" y="119553"/>
                  </a:lnTo>
                  <a:lnTo>
                    <a:pt x="124381" y="120919"/>
                  </a:lnTo>
                  <a:lnTo>
                    <a:pt x="124545" y="121320"/>
                  </a:lnTo>
                  <a:lnTo>
                    <a:pt x="122787" y="123281"/>
                  </a:lnTo>
                  <a:lnTo>
                    <a:pt x="121325" y="123069"/>
                  </a:lnTo>
                  <a:lnTo>
                    <a:pt x="120710" y="122171"/>
                  </a:lnTo>
                  <a:lnTo>
                    <a:pt x="121617" y="120327"/>
                  </a:lnTo>
                  <a:close/>
                  <a:moveTo>
                    <a:pt x="129993" y="118062"/>
                  </a:moveTo>
                  <a:lnTo>
                    <a:pt x="130857" y="118349"/>
                  </a:lnTo>
                  <a:lnTo>
                    <a:pt x="131377" y="119179"/>
                  </a:lnTo>
                  <a:lnTo>
                    <a:pt x="131297" y="122060"/>
                  </a:lnTo>
                  <a:lnTo>
                    <a:pt x="130449" y="123885"/>
                  </a:lnTo>
                  <a:lnTo>
                    <a:pt x="128477" y="124848"/>
                  </a:lnTo>
                  <a:lnTo>
                    <a:pt x="127132" y="123458"/>
                  </a:lnTo>
                  <a:lnTo>
                    <a:pt x="126380" y="121269"/>
                  </a:lnTo>
                  <a:close/>
                  <a:moveTo>
                    <a:pt x="106963" y="117710"/>
                  </a:moveTo>
                  <a:lnTo>
                    <a:pt x="107965" y="118165"/>
                  </a:lnTo>
                  <a:lnTo>
                    <a:pt x="108116" y="118793"/>
                  </a:lnTo>
                  <a:lnTo>
                    <a:pt x="107842" y="119877"/>
                  </a:lnTo>
                  <a:lnTo>
                    <a:pt x="107024" y="120260"/>
                  </a:lnTo>
                  <a:lnTo>
                    <a:pt x="105659" y="119702"/>
                  </a:lnTo>
                  <a:lnTo>
                    <a:pt x="106022" y="118304"/>
                  </a:lnTo>
                  <a:close/>
                  <a:moveTo>
                    <a:pt x="105802" y="110953"/>
                  </a:moveTo>
                  <a:lnTo>
                    <a:pt x="106184" y="111607"/>
                  </a:lnTo>
                  <a:lnTo>
                    <a:pt x="106912" y="112667"/>
                  </a:lnTo>
                  <a:lnTo>
                    <a:pt x="105901" y="114289"/>
                  </a:lnTo>
                  <a:lnTo>
                    <a:pt x="104644" y="115062"/>
                  </a:lnTo>
                  <a:lnTo>
                    <a:pt x="105061" y="113294"/>
                  </a:lnTo>
                  <a:lnTo>
                    <a:pt x="104441" y="112371"/>
                  </a:lnTo>
                  <a:lnTo>
                    <a:pt x="104996" y="111586"/>
                  </a:lnTo>
                  <a:close/>
                  <a:moveTo>
                    <a:pt x="116311" y="110092"/>
                  </a:moveTo>
                  <a:lnTo>
                    <a:pt x="117114" y="110485"/>
                  </a:lnTo>
                  <a:lnTo>
                    <a:pt x="117004" y="113135"/>
                  </a:lnTo>
                  <a:lnTo>
                    <a:pt x="116421" y="113112"/>
                  </a:lnTo>
                  <a:lnTo>
                    <a:pt x="116082" y="112703"/>
                  </a:lnTo>
                  <a:lnTo>
                    <a:pt x="116063" y="111689"/>
                  </a:lnTo>
                  <a:close/>
                  <a:moveTo>
                    <a:pt x="126076" y="110085"/>
                  </a:moveTo>
                  <a:lnTo>
                    <a:pt x="128615" y="111057"/>
                  </a:lnTo>
                  <a:lnTo>
                    <a:pt x="128492" y="111670"/>
                  </a:lnTo>
                  <a:lnTo>
                    <a:pt x="127283" y="112383"/>
                  </a:lnTo>
                  <a:lnTo>
                    <a:pt x="125169" y="112540"/>
                  </a:lnTo>
                  <a:lnTo>
                    <a:pt x="125292" y="110592"/>
                  </a:lnTo>
                  <a:close/>
                  <a:moveTo>
                    <a:pt x="148259" y="105865"/>
                  </a:moveTo>
                  <a:lnTo>
                    <a:pt x="147054" y="107265"/>
                  </a:lnTo>
                  <a:lnTo>
                    <a:pt x="145020" y="108570"/>
                  </a:lnTo>
                  <a:lnTo>
                    <a:pt x="141138" y="109568"/>
                  </a:lnTo>
                  <a:lnTo>
                    <a:pt x="140101" y="109666"/>
                  </a:lnTo>
                  <a:lnTo>
                    <a:pt x="140418" y="108645"/>
                  </a:lnTo>
                  <a:lnTo>
                    <a:pt x="142399" y="106873"/>
                  </a:lnTo>
                  <a:lnTo>
                    <a:pt x="145167" y="106786"/>
                  </a:lnTo>
                  <a:lnTo>
                    <a:pt x="147689" y="105898"/>
                  </a:lnTo>
                  <a:close/>
                  <a:moveTo>
                    <a:pt x="119248" y="105703"/>
                  </a:moveTo>
                  <a:lnTo>
                    <a:pt x="120408" y="106538"/>
                  </a:lnTo>
                  <a:lnTo>
                    <a:pt x="123362" y="106981"/>
                  </a:lnTo>
                  <a:lnTo>
                    <a:pt x="124035" y="107775"/>
                  </a:lnTo>
                  <a:lnTo>
                    <a:pt x="123215" y="109423"/>
                  </a:lnTo>
                  <a:lnTo>
                    <a:pt x="121835" y="109169"/>
                  </a:lnTo>
                  <a:lnTo>
                    <a:pt x="119527" y="107396"/>
                  </a:lnTo>
                  <a:lnTo>
                    <a:pt x="118738" y="106591"/>
                  </a:lnTo>
                  <a:lnTo>
                    <a:pt x="118300" y="105799"/>
                  </a:lnTo>
                  <a:close/>
                  <a:moveTo>
                    <a:pt x="104648" y="105651"/>
                  </a:moveTo>
                  <a:lnTo>
                    <a:pt x="105128" y="106512"/>
                  </a:lnTo>
                  <a:lnTo>
                    <a:pt x="104136" y="108356"/>
                  </a:lnTo>
                  <a:lnTo>
                    <a:pt x="102655" y="109597"/>
                  </a:lnTo>
                  <a:lnTo>
                    <a:pt x="102401" y="107736"/>
                  </a:lnTo>
                  <a:lnTo>
                    <a:pt x="103350" y="105778"/>
                  </a:lnTo>
                  <a:close/>
                  <a:moveTo>
                    <a:pt x="158719" y="102358"/>
                  </a:moveTo>
                  <a:lnTo>
                    <a:pt x="161438" y="103201"/>
                  </a:lnTo>
                  <a:lnTo>
                    <a:pt x="162194" y="103111"/>
                  </a:lnTo>
                  <a:lnTo>
                    <a:pt x="163479" y="103417"/>
                  </a:lnTo>
                  <a:lnTo>
                    <a:pt x="163820" y="104971"/>
                  </a:lnTo>
                  <a:lnTo>
                    <a:pt x="162118" y="105196"/>
                  </a:lnTo>
                  <a:lnTo>
                    <a:pt x="159173" y="106622"/>
                  </a:lnTo>
                  <a:lnTo>
                    <a:pt x="157920" y="106309"/>
                  </a:lnTo>
                  <a:lnTo>
                    <a:pt x="156422" y="105069"/>
                  </a:lnTo>
                  <a:lnTo>
                    <a:pt x="154042" y="104940"/>
                  </a:lnTo>
                  <a:lnTo>
                    <a:pt x="153338" y="104602"/>
                  </a:lnTo>
                  <a:lnTo>
                    <a:pt x="154612" y="103140"/>
                  </a:lnTo>
                  <a:lnTo>
                    <a:pt x="156927" y="102400"/>
                  </a:lnTo>
                  <a:close/>
                  <a:moveTo>
                    <a:pt x="23108" y="99333"/>
                  </a:moveTo>
                  <a:lnTo>
                    <a:pt x="24593" y="101294"/>
                  </a:lnTo>
                  <a:lnTo>
                    <a:pt x="26388" y="101608"/>
                  </a:lnTo>
                  <a:lnTo>
                    <a:pt x="27463" y="102513"/>
                  </a:lnTo>
                  <a:lnTo>
                    <a:pt x="29795" y="105004"/>
                  </a:lnTo>
                  <a:lnTo>
                    <a:pt x="27919" y="104387"/>
                  </a:lnTo>
                  <a:lnTo>
                    <a:pt x="25917" y="106110"/>
                  </a:lnTo>
                  <a:lnTo>
                    <a:pt x="23380" y="104097"/>
                  </a:lnTo>
                  <a:lnTo>
                    <a:pt x="21860" y="102058"/>
                  </a:lnTo>
                  <a:lnTo>
                    <a:pt x="21516" y="101241"/>
                  </a:lnTo>
                  <a:close/>
                  <a:moveTo>
                    <a:pt x="113744" y="97780"/>
                  </a:moveTo>
                  <a:lnTo>
                    <a:pt x="115173" y="99739"/>
                  </a:lnTo>
                  <a:lnTo>
                    <a:pt x="117412" y="99967"/>
                  </a:lnTo>
                  <a:lnTo>
                    <a:pt x="117238" y="101174"/>
                  </a:lnTo>
                  <a:lnTo>
                    <a:pt x="117946" y="102729"/>
                  </a:lnTo>
                  <a:lnTo>
                    <a:pt x="118194" y="103684"/>
                  </a:lnTo>
                  <a:lnTo>
                    <a:pt x="117542" y="105403"/>
                  </a:lnTo>
                  <a:lnTo>
                    <a:pt x="115814" y="103405"/>
                  </a:lnTo>
                  <a:lnTo>
                    <a:pt x="113923" y="102035"/>
                  </a:lnTo>
                  <a:lnTo>
                    <a:pt x="113215" y="100840"/>
                  </a:lnTo>
                  <a:lnTo>
                    <a:pt x="112062" y="100118"/>
                  </a:lnTo>
                  <a:lnTo>
                    <a:pt x="111748" y="98509"/>
                  </a:lnTo>
                  <a:lnTo>
                    <a:pt x="113146" y="97847"/>
                  </a:lnTo>
                  <a:close/>
                  <a:moveTo>
                    <a:pt x="84849" y="97755"/>
                  </a:moveTo>
                  <a:lnTo>
                    <a:pt x="85553" y="97885"/>
                  </a:lnTo>
                  <a:lnTo>
                    <a:pt x="85981" y="98290"/>
                  </a:lnTo>
                  <a:lnTo>
                    <a:pt x="86337" y="99426"/>
                  </a:lnTo>
                  <a:lnTo>
                    <a:pt x="85462" y="100060"/>
                  </a:lnTo>
                  <a:lnTo>
                    <a:pt x="84475" y="100028"/>
                  </a:lnTo>
                  <a:lnTo>
                    <a:pt x="83778" y="99795"/>
                  </a:lnTo>
                  <a:lnTo>
                    <a:pt x="83426" y="99289"/>
                  </a:lnTo>
                  <a:lnTo>
                    <a:pt x="83862" y="99047"/>
                  </a:lnTo>
                  <a:lnTo>
                    <a:pt x="84374" y="98030"/>
                  </a:lnTo>
                  <a:close/>
                  <a:moveTo>
                    <a:pt x="20270" y="85327"/>
                  </a:moveTo>
                  <a:lnTo>
                    <a:pt x="21357" y="87684"/>
                  </a:lnTo>
                  <a:lnTo>
                    <a:pt x="21631" y="90652"/>
                  </a:lnTo>
                  <a:lnTo>
                    <a:pt x="23190" y="91209"/>
                  </a:lnTo>
                  <a:lnTo>
                    <a:pt x="25261" y="93882"/>
                  </a:lnTo>
                  <a:lnTo>
                    <a:pt x="25082" y="95249"/>
                  </a:lnTo>
                  <a:lnTo>
                    <a:pt x="24652" y="95717"/>
                  </a:lnTo>
                  <a:lnTo>
                    <a:pt x="21221" y="94456"/>
                  </a:lnTo>
                  <a:lnTo>
                    <a:pt x="20398" y="95022"/>
                  </a:lnTo>
                  <a:lnTo>
                    <a:pt x="19394" y="94792"/>
                  </a:lnTo>
                  <a:lnTo>
                    <a:pt x="18774" y="93316"/>
                  </a:lnTo>
                  <a:lnTo>
                    <a:pt x="18845" y="92797"/>
                  </a:lnTo>
                  <a:lnTo>
                    <a:pt x="18284" y="91913"/>
                  </a:lnTo>
                  <a:lnTo>
                    <a:pt x="17815" y="91518"/>
                  </a:lnTo>
                  <a:lnTo>
                    <a:pt x="16464" y="92692"/>
                  </a:lnTo>
                  <a:lnTo>
                    <a:pt x="15612" y="92912"/>
                  </a:lnTo>
                  <a:lnTo>
                    <a:pt x="15606" y="91837"/>
                  </a:lnTo>
                  <a:lnTo>
                    <a:pt x="16854" y="88881"/>
                  </a:lnTo>
                  <a:lnTo>
                    <a:pt x="17437" y="88382"/>
                  </a:lnTo>
                  <a:lnTo>
                    <a:pt x="18463" y="89358"/>
                  </a:lnTo>
                  <a:lnTo>
                    <a:pt x="19307" y="88995"/>
                  </a:lnTo>
                  <a:lnTo>
                    <a:pt x="19942" y="87396"/>
                  </a:lnTo>
                  <a:lnTo>
                    <a:pt x="19985" y="85801"/>
                  </a:lnTo>
                  <a:close/>
                  <a:moveTo>
                    <a:pt x="22184" y="85094"/>
                  </a:moveTo>
                  <a:lnTo>
                    <a:pt x="22739" y="85292"/>
                  </a:lnTo>
                  <a:lnTo>
                    <a:pt x="23324" y="85933"/>
                  </a:lnTo>
                  <a:lnTo>
                    <a:pt x="23319" y="86588"/>
                  </a:lnTo>
                  <a:lnTo>
                    <a:pt x="23553" y="87290"/>
                  </a:lnTo>
                  <a:lnTo>
                    <a:pt x="24162" y="88136"/>
                  </a:lnTo>
                  <a:lnTo>
                    <a:pt x="24593" y="89070"/>
                  </a:lnTo>
                  <a:lnTo>
                    <a:pt x="23501" y="89348"/>
                  </a:lnTo>
                  <a:lnTo>
                    <a:pt x="22110" y="86887"/>
                  </a:lnTo>
                  <a:lnTo>
                    <a:pt x="21607" y="85189"/>
                  </a:lnTo>
                  <a:close/>
                  <a:moveTo>
                    <a:pt x="140766" y="82063"/>
                  </a:moveTo>
                  <a:lnTo>
                    <a:pt x="142932" y="83533"/>
                  </a:lnTo>
                  <a:lnTo>
                    <a:pt x="144036" y="83634"/>
                  </a:lnTo>
                  <a:lnTo>
                    <a:pt x="143612" y="85038"/>
                  </a:lnTo>
                  <a:lnTo>
                    <a:pt x="143798" y="85494"/>
                  </a:lnTo>
                  <a:lnTo>
                    <a:pt x="143962" y="89751"/>
                  </a:lnTo>
                  <a:lnTo>
                    <a:pt x="142939" y="90350"/>
                  </a:lnTo>
                  <a:lnTo>
                    <a:pt x="142770" y="91518"/>
                  </a:lnTo>
                  <a:lnTo>
                    <a:pt x="142569" y="91932"/>
                  </a:lnTo>
                  <a:lnTo>
                    <a:pt x="140458" y="93383"/>
                  </a:lnTo>
                  <a:lnTo>
                    <a:pt x="138100" y="91283"/>
                  </a:lnTo>
                  <a:lnTo>
                    <a:pt x="137711" y="90607"/>
                  </a:lnTo>
                  <a:lnTo>
                    <a:pt x="139442" y="89759"/>
                  </a:lnTo>
                  <a:lnTo>
                    <a:pt x="140300" y="88451"/>
                  </a:lnTo>
                  <a:lnTo>
                    <a:pt x="139604" y="86844"/>
                  </a:lnTo>
                  <a:lnTo>
                    <a:pt x="137201" y="84466"/>
                  </a:lnTo>
                  <a:lnTo>
                    <a:pt x="137087" y="82776"/>
                  </a:lnTo>
                  <a:close/>
                  <a:moveTo>
                    <a:pt x="23166" y="75808"/>
                  </a:moveTo>
                  <a:lnTo>
                    <a:pt x="23730" y="76971"/>
                  </a:lnTo>
                  <a:lnTo>
                    <a:pt x="23624" y="81119"/>
                  </a:lnTo>
                  <a:lnTo>
                    <a:pt x="23002" y="81883"/>
                  </a:lnTo>
                  <a:lnTo>
                    <a:pt x="22143" y="82082"/>
                  </a:lnTo>
                  <a:lnTo>
                    <a:pt x="21402" y="81946"/>
                  </a:lnTo>
                  <a:lnTo>
                    <a:pt x="20730" y="82063"/>
                  </a:lnTo>
                  <a:lnTo>
                    <a:pt x="20083" y="82556"/>
                  </a:lnTo>
                  <a:lnTo>
                    <a:pt x="20154" y="80513"/>
                  </a:lnTo>
                  <a:lnTo>
                    <a:pt x="20918" y="77978"/>
                  </a:lnTo>
                  <a:lnTo>
                    <a:pt x="21851" y="76496"/>
                  </a:lnTo>
                  <a:close/>
                  <a:moveTo>
                    <a:pt x="107004" y="72294"/>
                  </a:moveTo>
                  <a:lnTo>
                    <a:pt x="108738" y="73277"/>
                  </a:lnTo>
                  <a:lnTo>
                    <a:pt x="109118" y="74914"/>
                  </a:lnTo>
                  <a:lnTo>
                    <a:pt x="111185" y="76712"/>
                  </a:lnTo>
                  <a:lnTo>
                    <a:pt x="108848" y="77341"/>
                  </a:lnTo>
                  <a:lnTo>
                    <a:pt x="108228" y="77242"/>
                  </a:lnTo>
                  <a:lnTo>
                    <a:pt x="108749" y="76448"/>
                  </a:lnTo>
                  <a:lnTo>
                    <a:pt x="108790" y="76114"/>
                  </a:lnTo>
                  <a:lnTo>
                    <a:pt x="106460" y="74662"/>
                  </a:lnTo>
                  <a:lnTo>
                    <a:pt x="106734" y="72775"/>
                  </a:lnTo>
                  <a:close/>
                  <a:moveTo>
                    <a:pt x="81068" y="70881"/>
                  </a:moveTo>
                  <a:lnTo>
                    <a:pt x="83340" y="72853"/>
                  </a:lnTo>
                  <a:lnTo>
                    <a:pt x="84590" y="75656"/>
                  </a:lnTo>
                  <a:lnTo>
                    <a:pt x="85762" y="76602"/>
                  </a:lnTo>
                  <a:lnTo>
                    <a:pt x="88222" y="77718"/>
                  </a:lnTo>
                  <a:lnTo>
                    <a:pt x="89377" y="77860"/>
                  </a:lnTo>
                  <a:lnTo>
                    <a:pt x="93573" y="79875"/>
                  </a:lnTo>
                  <a:lnTo>
                    <a:pt x="98455" y="80277"/>
                  </a:lnTo>
                  <a:lnTo>
                    <a:pt x="99086" y="80857"/>
                  </a:lnTo>
                  <a:lnTo>
                    <a:pt x="99686" y="82409"/>
                  </a:lnTo>
                  <a:lnTo>
                    <a:pt x="100682" y="83626"/>
                  </a:lnTo>
                  <a:lnTo>
                    <a:pt x="100932" y="84573"/>
                  </a:lnTo>
                  <a:lnTo>
                    <a:pt x="100412" y="85623"/>
                  </a:lnTo>
                  <a:lnTo>
                    <a:pt x="101133" y="88834"/>
                  </a:lnTo>
                  <a:lnTo>
                    <a:pt x="102364" y="91881"/>
                  </a:lnTo>
                  <a:lnTo>
                    <a:pt x="104219" y="93358"/>
                  </a:lnTo>
                  <a:lnTo>
                    <a:pt x="106525" y="93804"/>
                  </a:lnTo>
                  <a:lnTo>
                    <a:pt x="108721" y="93743"/>
                  </a:lnTo>
                  <a:lnTo>
                    <a:pt x="109276" y="94347"/>
                  </a:lnTo>
                  <a:lnTo>
                    <a:pt x="109058" y="97010"/>
                  </a:lnTo>
                  <a:lnTo>
                    <a:pt x="108129" y="98046"/>
                  </a:lnTo>
                  <a:lnTo>
                    <a:pt x="107374" y="98298"/>
                  </a:lnTo>
                  <a:lnTo>
                    <a:pt x="106717" y="98026"/>
                  </a:lnTo>
                  <a:lnTo>
                    <a:pt x="106123" y="97399"/>
                  </a:lnTo>
                  <a:lnTo>
                    <a:pt x="105476" y="97103"/>
                  </a:lnTo>
                  <a:lnTo>
                    <a:pt x="104214" y="97051"/>
                  </a:lnTo>
                  <a:lnTo>
                    <a:pt x="103292" y="95979"/>
                  </a:lnTo>
                  <a:lnTo>
                    <a:pt x="100954" y="94512"/>
                  </a:lnTo>
                  <a:lnTo>
                    <a:pt x="100524" y="93637"/>
                  </a:lnTo>
                  <a:lnTo>
                    <a:pt x="100446" y="92285"/>
                  </a:lnTo>
                  <a:lnTo>
                    <a:pt x="99453" y="91289"/>
                  </a:lnTo>
                  <a:lnTo>
                    <a:pt x="98540" y="89393"/>
                  </a:lnTo>
                  <a:lnTo>
                    <a:pt x="97671" y="88870"/>
                  </a:lnTo>
                  <a:lnTo>
                    <a:pt x="97192" y="87921"/>
                  </a:lnTo>
                  <a:lnTo>
                    <a:pt x="97153" y="87513"/>
                  </a:lnTo>
                  <a:lnTo>
                    <a:pt x="93750" y="87237"/>
                  </a:lnTo>
                  <a:lnTo>
                    <a:pt x="90932" y="87224"/>
                  </a:lnTo>
                  <a:lnTo>
                    <a:pt x="88544" y="86147"/>
                  </a:lnTo>
                  <a:lnTo>
                    <a:pt x="87805" y="83329"/>
                  </a:lnTo>
                  <a:lnTo>
                    <a:pt x="86389" y="82571"/>
                  </a:lnTo>
                  <a:lnTo>
                    <a:pt x="85326" y="81773"/>
                  </a:lnTo>
                  <a:lnTo>
                    <a:pt x="84441" y="80667"/>
                  </a:lnTo>
                  <a:lnTo>
                    <a:pt x="82204" y="78627"/>
                  </a:lnTo>
                  <a:lnTo>
                    <a:pt x="79729" y="76918"/>
                  </a:lnTo>
                  <a:lnTo>
                    <a:pt x="77337" y="75793"/>
                  </a:lnTo>
                  <a:lnTo>
                    <a:pt x="74797" y="75055"/>
                  </a:lnTo>
                  <a:lnTo>
                    <a:pt x="72733" y="75926"/>
                  </a:lnTo>
                  <a:lnTo>
                    <a:pt x="71530" y="75719"/>
                  </a:lnTo>
                  <a:lnTo>
                    <a:pt x="71286" y="75130"/>
                  </a:lnTo>
                  <a:lnTo>
                    <a:pt x="73851" y="73957"/>
                  </a:lnTo>
                  <a:lnTo>
                    <a:pt x="77378" y="71714"/>
                  </a:lnTo>
                  <a:lnTo>
                    <a:pt x="79863" y="70973"/>
                  </a:lnTo>
                  <a:close/>
                  <a:moveTo>
                    <a:pt x="87287" y="66387"/>
                  </a:moveTo>
                  <a:lnTo>
                    <a:pt x="91396" y="68825"/>
                  </a:lnTo>
                  <a:lnTo>
                    <a:pt x="90409" y="69700"/>
                  </a:lnTo>
                  <a:lnTo>
                    <a:pt x="88883" y="69317"/>
                  </a:lnTo>
                  <a:close/>
                  <a:moveTo>
                    <a:pt x="95622" y="64855"/>
                  </a:moveTo>
                  <a:lnTo>
                    <a:pt x="94933" y="66595"/>
                  </a:lnTo>
                  <a:lnTo>
                    <a:pt x="93789" y="67688"/>
                  </a:lnTo>
                  <a:lnTo>
                    <a:pt x="92755" y="67992"/>
                  </a:lnTo>
                  <a:lnTo>
                    <a:pt x="93791" y="65926"/>
                  </a:lnTo>
                  <a:close/>
                  <a:moveTo>
                    <a:pt x="148180" y="61866"/>
                  </a:moveTo>
                  <a:lnTo>
                    <a:pt x="149559" y="63255"/>
                  </a:lnTo>
                  <a:lnTo>
                    <a:pt x="149175" y="64793"/>
                  </a:lnTo>
                  <a:lnTo>
                    <a:pt x="152233" y="67340"/>
                  </a:lnTo>
                  <a:lnTo>
                    <a:pt x="153276" y="68951"/>
                  </a:lnTo>
                  <a:lnTo>
                    <a:pt x="153660" y="70521"/>
                  </a:lnTo>
                  <a:lnTo>
                    <a:pt x="153403" y="70971"/>
                  </a:lnTo>
                  <a:lnTo>
                    <a:pt x="152243" y="70120"/>
                  </a:lnTo>
                  <a:lnTo>
                    <a:pt x="151296" y="69849"/>
                  </a:lnTo>
                  <a:lnTo>
                    <a:pt x="151615" y="70971"/>
                  </a:lnTo>
                  <a:lnTo>
                    <a:pt x="152589" y="71935"/>
                  </a:lnTo>
                  <a:lnTo>
                    <a:pt x="150855" y="72487"/>
                  </a:lnTo>
                  <a:lnTo>
                    <a:pt x="149117" y="72458"/>
                  </a:lnTo>
                  <a:lnTo>
                    <a:pt x="144046" y="71115"/>
                  </a:lnTo>
                  <a:lnTo>
                    <a:pt x="142876" y="69688"/>
                  </a:lnTo>
                  <a:lnTo>
                    <a:pt x="145910" y="67538"/>
                  </a:lnTo>
                  <a:lnTo>
                    <a:pt x="146530" y="66672"/>
                  </a:lnTo>
                  <a:lnTo>
                    <a:pt x="144381" y="66757"/>
                  </a:lnTo>
                  <a:lnTo>
                    <a:pt x="142090" y="69311"/>
                  </a:lnTo>
                  <a:lnTo>
                    <a:pt x="138417" y="68189"/>
                  </a:lnTo>
                  <a:lnTo>
                    <a:pt x="137294" y="67162"/>
                  </a:lnTo>
                  <a:lnTo>
                    <a:pt x="137043" y="66608"/>
                  </a:lnTo>
                  <a:lnTo>
                    <a:pt x="138490" y="64341"/>
                  </a:lnTo>
                  <a:lnTo>
                    <a:pt x="141075" y="64417"/>
                  </a:lnTo>
                  <a:lnTo>
                    <a:pt x="142444" y="63907"/>
                  </a:lnTo>
                  <a:lnTo>
                    <a:pt x="144135" y="63190"/>
                  </a:lnTo>
                  <a:lnTo>
                    <a:pt x="144148" y="62112"/>
                  </a:lnTo>
                  <a:close/>
                  <a:moveTo>
                    <a:pt x="4248" y="50509"/>
                  </a:moveTo>
                  <a:lnTo>
                    <a:pt x="5422" y="51103"/>
                  </a:lnTo>
                  <a:lnTo>
                    <a:pt x="6182" y="51716"/>
                  </a:lnTo>
                  <a:lnTo>
                    <a:pt x="6420" y="52418"/>
                  </a:lnTo>
                  <a:lnTo>
                    <a:pt x="4770" y="53826"/>
                  </a:lnTo>
                  <a:lnTo>
                    <a:pt x="4427" y="54463"/>
                  </a:lnTo>
                  <a:lnTo>
                    <a:pt x="5697" y="55727"/>
                  </a:lnTo>
                  <a:lnTo>
                    <a:pt x="5675" y="56233"/>
                  </a:lnTo>
                  <a:lnTo>
                    <a:pt x="6211" y="58677"/>
                  </a:lnTo>
                  <a:lnTo>
                    <a:pt x="6828" y="59599"/>
                  </a:lnTo>
                  <a:lnTo>
                    <a:pt x="8430" y="60334"/>
                  </a:lnTo>
                  <a:lnTo>
                    <a:pt x="9540" y="60577"/>
                  </a:lnTo>
                  <a:lnTo>
                    <a:pt x="10020" y="62032"/>
                  </a:lnTo>
                  <a:lnTo>
                    <a:pt x="7265" y="61129"/>
                  </a:lnTo>
                  <a:lnTo>
                    <a:pt x="5252" y="59829"/>
                  </a:lnTo>
                  <a:lnTo>
                    <a:pt x="3591" y="56615"/>
                  </a:lnTo>
                  <a:lnTo>
                    <a:pt x="54" y="52953"/>
                  </a:lnTo>
                  <a:lnTo>
                    <a:pt x="0" y="51889"/>
                  </a:lnTo>
                  <a:lnTo>
                    <a:pt x="1345" y="51082"/>
                  </a:lnTo>
                  <a:close/>
                  <a:moveTo>
                    <a:pt x="128309" y="44914"/>
                  </a:moveTo>
                  <a:lnTo>
                    <a:pt x="128056" y="46257"/>
                  </a:lnTo>
                  <a:lnTo>
                    <a:pt x="127220" y="47137"/>
                  </a:lnTo>
                  <a:lnTo>
                    <a:pt x="126605" y="48654"/>
                  </a:lnTo>
                  <a:lnTo>
                    <a:pt x="126272" y="50821"/>
                  </a:lnTo>
                  <a:lnTo>
                    <a:pt x="124983" y="50873"/>
                  </a:lnTo>
                  <a:lnTo>
                    <a:pt x="124202" y="50435"/>
                  </a:lnTo>
                  <a:lnTo>
                    <a:pt x="123945" y="49616"/>
                  </a:lnTo>
                  <a:lnTo>
                    <a:pt x="123893" y="48581"/>
                  </a:lnTo>
                  <a:lnTo>
                    <a:pt x="123327" y="48621"/>
                  </a:lnTo>
                  <a:lnTo>
                    <a:pt x="122871" y="49746"/>
                  </a:lnTo>
                  <a:lnTo>
                    <a:pt x="122472" y="50253"/>
                  </a:lnTo>
                  <a:lnTo>
                    <a:pt x="121174" y="50360"/>
                  </a:lnTo>
                  <a:lnTo>
                    <a:pt x="119753" y="49668"/>
                  </a:lnTo>
                  <a:lnTo>
                    <a:pt x="119820" y="48171"/>
                  </a:lnTo>
                  <a:lnTo>
                    <a:pt x="119535" y="46438"/>
                  </a:lnTo>
                  <a:lnTo>
                    <a:pt x="119660" y="45831"/>
                  </a:lnTo>
                  <a:lnTo>
                    <a:pt x="123556" y="45681"/>
                  </a:lnTo>
                  <a:lnTo>
                    <a:pt x="124696" y="46961"/>
                  </a:lnTo>
                  <a:lnTo>
                    <a:pt x="126074" y="46219"/>
                  </a:lnTo>
                  <a:lnTo>
                    <a:pt x="126639" y="45417"/>
                  </a:lnTo>
                  <a:close/>
                  <a:moveTo>
                    <a:pt x="130950" y="32341"/>
                  </a:moveTo>
                  <a:lnTo>
                    <a:pt x="132183" y="32966"/>
                  </a:lnTo>
                  <a:lnTo>
                    <a:pt x="133066" y="33702"/>
                  </a:lnTo>
                  <a:lnTo>
                    <a:pt x="133541" y="34679"/>
                  </a:lnTo>
                  <a:lnTo>
                    <a:pt x="131040" y="35363"/>
                  </a:lnTo>
                  <a:lnTo>
                    <a:pt x="128285" y="33206"/>
                  </a:lnTo>
                  <a:close/>
                  <a:moveTo>
                    <a:pt x="110049" y="25075"/>
                  </a:moveTo>
                  <a:lnTo>
                    <a:pt x="112167" y="25249"/>
                  </a:lnTo>
                  <a:lnTo>
                    <a:pt x="113372" y="26719"/>
                  </a:lnTo>
                  <a:lnTo>
                    <a:pt x="113653" y="27413"/>
                  </a:lnTo>
                  <a:lnTo>
                    <a:pt x="113262" y="28592"/>
                  </a:lnTo>
                  <a:lnTo>
                    <a:pt x="113385" y="29738"/>
                  </a:lnTo>
                  <a:lnTo>
                    <a:pt x="110548" y="30675"/>
                  </a:lnTo>
                  <a:lnTo>
                    <a:pt x="107665" y="28903"/>
                  </a:lnTo>
                  <a:lnTo>
                    <a:pt x="107691" y="27849"/>
                  </a:lnTo>
                  <a:lnTo>
                    <a:pt x="109213" y="25709"/>
                  </a:lnTo>
                  <a:close/>
                  <a:moveTo>
                    <a:pt x="144925" y="0"/>
                  </a:moveTo>
                  <a:lnTo>
                    <a:pt x="147585" y="721"/>
                  </a:lnTo>
                  <a:lnTo>
                    <a:pt x="149568" y="1256"/>
                  </a:lnTo>
                  <a:lnTo>
                    <a:pt x="150717" y="2129"/>
                  </a:lnTo>
                  <a:lnTo>
                    <a:pt x="151436" y="2926"/>
                  </a:lnTo>
                  <a:lnTo>
                    <a:pt x="152530" y="3614"/>
                  </a:lnTo>
                  <a:lnTo>
                    <a:pt x="153345" y="3772"/>
                  </a:lnTo>
                  <a:lnTo>
                    <a:pt x="153973" y="6128"/>
                  </a:lnTo>
                  <a:lnTo>
                    <a:pt x="154308" y="9045"/>
                  </a:lnTo>
                  <a:lnTo>
                    <a:pt x="153809" y="10301"/>
                  </a:lnTo>
                  <a:lnTo>
                    <a:pt x="152351" y="10592"/>
                  </a:lnTo>
                  <a:lnTo>
                    <a:pt x="147802" y="13345"/>
                  </a:lnTo>
                  <a:lnTo>
                    <a:pt x="147692" y="15861"/>
                  </a:lnTo>
                  <a:lnTo>
                    <a:pt x="147752" y="17079"/>
                  </a:lnTo>
                  <a:lnTo>
                    <a:pt x="147845" y="17940"/>
                  </a:lnTo>
                  <a:lnTo>
                    <a:pt x="148320" y="18665"/>
                  </a:lnTo>
                  <a:lnTo>
                    <a:pt x="148320" y="19710"/>
                  </a:lnTo>
                  <a:lnTo>
                    <a:pt x="147810" y="20829"/>
                  </a:lnTo>
                  <a:lnTo>
                    <a:pt x="145823" y="22703"/>
                  </a:lnTo>
                  <a:lnTo>
                    <a:pt x="144446" y="24193"/>
                  </a:lnTo>
                  <a:lnTo>
                    <a:pt x="142904" y="26211"/>
                  </a:lnTo>
                  <a:lnTo>
                    <a:pt x="142032" y="26457"/>
                  </a:lnTo>
                  <a:lnTo>
                    <a:pt x="141352" y="26812"/>
                  </a:lnTo>
                  <a:lnTo>
                    <a:pt x="140727" y="25699"/>
                  </a:lnTo>
                  <a:lnTo>
                    <a:pt x="137298" y="23731"/>
                  </a:lnTo>
                  <a:lnTo>
                    <a:pt x="129362" y="22583"/>
                  </a:lnTo>
                  <a:lnTo>
                    <a:pt x="125571" y="21129"/>
                  </a:lnTo>
                  <a:lnTo>
                    <a:pt x="123908" y="21399"/>
                  </a:lnTo>
                  <a:lnTo>
                    <a:pt x="120688" y="19771"/>
                  </a:lnTo>
                  <a:lnTo>
                    <a:pt x="118481" y="20486"/>
                  </a:lnTo>
                  <a:lnTo>
                    <a:pt x="113800" y="23378"/>
                  </a:lnTo>
                  <a:lnTo>
                    <a:pt x="111273" y="23064"/>
                  </a:lnTo>
                  <a:lnTo>
                    <a:pt x="108572" y="21326"/>
                  </a:lnTo>
                  <a:lnTo>
                    <a:pt x="106814" y="21006"/>
                  </a:lnTo>
                  <a:lnTo>
                    <a:pt x="104752" y="21927"/>
                  </a:lnTo>
                  <a:lnTo>
                    <a:pt x="101448" y="25253"/>
                  </a:lnTo>
                  <a:lnTo>
                    <a:pt x="98086" y="26882"/>
                  </a:lnTo>
                  <a:lnTo>
                    <a:pt x="95074" y="26245"/>
                  </a:lnTo>
                  <a:lnTo>
                    <a:pt x="91021" y="26259"/>
                  </a:lnTo>
                  <a:lnTo>
                    <a:pt x="90588" y="28117"/>
                  </a:lnTo>
                  <a:lnTo>
                    <a:pt x="91373" y="29402"/>
                  </a:lnTo>
                  <a:lnTo>
                    <a:pt x="93588" y="31593"/>
                  </a:lnTo>
                  <a:lnTo>
                    <a:pt x="92549" y="33239"/>
                  </a:lnTo>
                  <a:lnTo>
                    <a:pt x="93320" y="34888"/>
                  </a:lnTo>
                  <a:lnTo>
                    <a:pt x="94763" y="35223"/>
                  </a:lnTo>
                  <a:lnTo>
                    <a:pt x="96942" y="35130"/>
                  </a:lnTo>
                  <a:lnTo>
                    <a:pt x="100971" y="37263"/>
                  </a:lnTo>
                  <a:lnTo>
                    <a:pt x="102733" y="39510"/>
                  </a:lnTo>
                  <a:lnTo>
                    <a:pt x="103858" y="41968"/>
                  </a:lnTo>
                  <a:lnTo>
                    <a:pt x="101405" y="40206"/>
                  </a:lnTo>
                  <a:lnTo>
                    <a:pt x="99777" y="38511"/>
                  </a:lnTo>
                  <a:lnTo>
                    <a:pt x="97505" y="37896"/>
                  </a:lnTo>
                  <a:lnTo>
                    <a:pt x="94346" y="36452"/>
                  </a:lnTo>
                  <a:lnTo>
                    <a:pt x="92362" y="36211"/>
                  </a:lnTo>
                  <a:lnTo>
                    <a:pt x="90250" y="37212"/>
                  </a:lnTo>
                  <a:lnTo>
                    <a:pt x="90085" y="38348"/>
                  </a:lnTo>
                  <a:lnTo>
                    <a:pt x="92362" y="40468"/>
                  </a:lnTo>
                  <a:lnTo>
                    <a:pt x="94443" y="41772"/>
                  </a:lnTo>
                  <a:lnTo>
                    <a:pt x="95547" y="42833"/>
                  </a:lnTo>
                  <a:lnTo>
                    <a:pt x="96283" y="45180"/>
                  </a:lnTo>
                  <a:lnTo>
                    <a:pt x="95864" y="45977"/>
                  </a:lnTo>
                  <a:lnTo>
                    <a:pt x="95095" y="46719"/>
                  </a:lnTo>
                  <a:lnTo>
                    <a:pt x="92625" y="45241"/>
                  </a:lnTo>
                  <a:lnTo>
                    <a:pt x="88848" y="39980"/>
                  </a:lnTo>
                  <a:lnTo>
                    <a:pt x="83579" y="38931"/>
                  </a:lnTo>
                  <a:lnTo>
                    <a:pt x="82698" y="40029"/>
                  </a:lnTo>
                  <a:lnTo>
                    <a:pt x="83733" y="42811"/>
                  </a:lnTo>
                  <a:lnTo>
                    <a:pt x="84482" y="43894"/>
                  </a:lnTo>
                  <a:lnTo>
                    <a:pt x="89060" y="46894"/>
                  </a:lnTo>
                  <a:lnTo>
                    <a:pt x="88693" y="47530"/>
                  </a:lnTo>
                  <a:lnTo>
                    <a:pt x="88025" y="47801"/>
                  </a:lnTo>
                  <a:lnTo>
                    <a:pt x="82901" y="46087"/>
                  </a:lnTo>
                  <a:lnTo>
                    <a:pt x="81411" y="43476"/>
                  </a:lnTo>
                  <a:lnTo>
                    <a:pt x="81053" y="40173"/>
                  </a:lnTo>
                  <a:lnTo>
                    <a:pt x="76324" y="37877"/>
                  </a:lnTo>
                  <a:lnTo>
                    <a:pt x="71864" y="35377"/>
                  </a:lnTo>
                  <a:lnTo>
                    <a:pt x="70867" y="33002"/>
                  </a:lnTo>
                  <a:lnTo>
                    <a:pt x="71785" y="32121"/>
                  </a:lnTo>
                  <a:lnTo>
                    <a:pt x="72435" y="30375"/>
                  </a:lnTo>
                  <a:lnTo>
                    <a:pt x="69984" y="30697"/>
                  </a:lnTo>
                  <a:lnTo>
                    <a:pt x="68446" y="31801"/>
                  </a:lnTo>
                  <a:lnTo>
                    <a:pt x="65961" y="32872"/>
                  </a:lnTo>
                  <a:lnTo>
                    <a:pt x="65859" y="34625"/>
                  </a:lnTo>
                  <a:lnTo>
                    <a:pt x="66252" y="36248"/>
                  </a:lnTo>
                  <a:lnTo>
                    <a:pt x="65430" y="38606"/>
                  </a:lnTo>
                  <a:lnTo>
                    <a:pt x="64631" y="42709"/>
                  </a:lnTo>
                  <a:lnTo>
                    <a:pt x="65136" y="44859"/>
                  </a:lnTo>
                  <a:lnTo>
                    <a:pt x="70521" y="51017"/>
                  </a:lnTo>
                  <a:lnTo>
                    <a:pt x="72363" y="55482"/>
                  </a:lnTo>
                  <a:lnTo>
                    <a:pt x="73685" y="57173"/>
                  </a:lnTo>
                  <a:lnTo>
                    <a:pt x="76441" y="59037"/>
                  </a:lnTo>
                  <a:lnTo>
                    <a:pt x="79314" y="62503"/>
                  </a:lnTo>
                  <a:lnTo>
                    <a:pt x="80533" y="64308"/>
                  </a:lnTo>
                  <a:lnTo>
                    <a:pt x="81400" y="67259"/>
                  </a:lnTo>
                  <a:lnTo>
                    <a:pt x="78982" y="69084"/>
                  </a:lnTo>
                  <a:lnTo>
                    <a:pt x="77574" y="69160"/>
                  </a:lnTo>
                  <a:lnTo>
                    <a:pt x="76794" y="68350"/>
                  </a:lnTo>
                  <a:lnTo>
                    <a:pt x="77885" y="66339"/>
                  </a:lnTo>
                  <a:lnTo>
                    <a:pt x="77730" y="65113"/>
                  </a:lnTo>
                  <a:lnTo>
                    <a:pt x="73996" y="63214"/>
                  </a:lnTo>
                  <a:lnTo>
                    <a:pt x="72415" y="63854"/>
                  </a:lnTo>
                  <a:lnTo>
                    <a:pt x="70593" y="65091"/>
                  </a:lnTo>
                  <a:lnTo>
                    <a:pt x="71633" y="67387"/>
                  </a:lnTo>
                  <a:lnTo>
                    <a:pt x="72804" y="68899"/>
                  </a:lnTo>
                  <a:lnTo>
                    <a:pt x="73391" y="70984"/>
                  </a:lnTo>
                  <a:lnTo>
                    <a:pt x="75629" y="70803"/>
                  </a:lnTo>
                  <a:lnTo>
                    <a:pt x="72616" y="73135"/>
                  </a:lnTo>
                  <a:lnTo>
                    <a:pt x="69789" y="74326"/>
                  </a:lnTo>
                  <a:lnTo>
                    <a:pt x="67008" y="74395"/>
                  </a:lnTo>
                  <a:lnTo>
                    <a:pt x="65237" y="74611"/>
                  </a:lnTo>
                  <a:lnTo>
                    <a:pt x="64627" y="75207"/>
                  </a:lnTo>
                  <a:lnTo>
                    <a:pt x="66067" y="75641"/>
                  </a:lnTo>
                  <a:lnTo>
                    <a:pt x="67243" y="75680"/>
                  </a:lnTo>
                  <a:lnTo>
                    <a:pt x="69157" y="76939"/>
                  </a:lnTo>
                  <a:lnTo>
                    <a:pt x="74603" y="78449"/>
                  </a:lnTo>
                  <a:lnTo>
                    <a:pt x="77198" y="80355"/>
                  </a:lnTo>
                  <a:lnTo>
                    <a:pt x="79747" y="80529"/>
                  </a:lnTo>
                  <a:lnTo>
                    <a:pt x="82312" y="84025"/>
                  </a:lnTo>
                  <a:lnTo>
                    <a:pt x="86749" y="84955"/>
                  </a:lnTo>
                  <a:lnTo>
                    <a:pt x="89278" y="88478"/>
                  </a:lnTo>
                  <a:lnTo>
                    <a:pt x="92640" y="89171"/>
                  </a:lnTo>
                  <a:lnTo>
                    <a:pt x="95536" y="90469"/>
                  </a:lnTo>
                  <a:lnTo>
                    <a:pt x="96384" y="91707"/>
                  </a:lnTo>
                  <a:lnTo>
                    <a:pt x="96807" y="93941"/>
                  </a:lnTo>
                  <a:lnTo>
                    <a:pt x="96995" y="98672"/>
                  </a:lnTo>
                  <a:lnTo>
                    <a:pt x="97622" y="102191"/>
                  </a:lnTo>
                  <a:lnTo>
                    <a:pt x="97643" y="103303"/>
                  </a:lnTo>
                  <a:lnTo>
                    <a:pt x="97490" y="104963"/>
                  </a:lnTo>
                  <a:lnTo>
                    <a:pt x="96702" y="105778"/>
                  </a:lnTo>
                  <a:lnTo>
                    <a:pt x="95637" y="105803"/>
                  </a:lnTo>
                  <a:lnTo>
                    <a:pt x="93553" y="103219"/>
                  </a:lnTo>
                  <a:lnTo>
                    <a:pt x="90357" y="100497"/>
                  </a:lnTo>
                  <a:lnTo>
                    <a:pt x="86989" y="97256"/>
                  </a:lnTo>
                  <a:lnTo>
                    <a:pt x="86032" y="96687"/>
                  </a:lnTo>
                  <a:lnTo>
                    <a:pt x="85249" y="96633"/>
                  </a:lnTo>
                  <a:lnTo>
                    <a:pt x="83446" y="97730"/>
                  </a:lnTo>
                  <a:lnTo>
                    <a:pt x="78436" y="98577"/>
                  </a:lnTo>
                  <a:lnTo>
                    <a:pt x="76086" y="99761"/>
                  </a:lnTo>
                  <a:lnTo>
                    <a:pt x="75203" y="100022"/>
                  </a:lnTo>
                  <a:lnTo>
                    <a:pt x="74957" y="100643"/>
                  </a:lnTo>
                  <a:lnTo>
                    <a:pt x="76058" y="101290"/>
                  </a:lnTo>
                  <a:lnTo>
                    <a:pt x="77408" y="102770"/>
                  </a:lnTo>
                  <a:lnTo>
                    <a:pt x="77408" y="104793"/>
                  </a:lnTo>
                  <a:lnTo>
                    <a:pt x="78522" y="107248"/>
                  </a:lnTo>
                  <a:lnTo>
                    <a:pt x="79962" y="107882"/>
                  </a:lnTo>
                  <a:lnTo>
                    <a:pt x="81839" y="107828"/>
                  </a:lnTo>
                  <a:lnTo>
                    <a:pt x="82914" y="108281"/>
                  </a:lnTo>
                  <a:lnTo>
                    <a:pt x="83193" y="109258"/>
                  </a:lnTo>
                  <a:lnTo>
                    <a:pt x="84283" y="110398"/>
                  </a:lnTo>
                  <a:lnTo>
                    <a:pt x="85002" y="111242"/>
                  </a:lnTo>
                  <a:lnTo>
                    <a:pt x="84972" y="111846"/>
                  </a:lnTo>
                  <a:lnTo>
                    <a:pt x="79738" y="113451"/>
                  </a:lnTo>
                  <a:lnTo>
                    <a:pt x="78643" y="114184"/>
                  </a:lnTo>
                  <a:lnTo>
                    <a:pt x="77725" y="114559"/>
                  </a:lnTo>
                  <a:lnTo>
                    <a:pt x="76365" y="113796"/>
                  </a:lnTo>
                  <a:lnTo>
                    <a:pt x="76287" y="111836"/>
                  </a:lnTo>
                  <a:lnTo>
                    <a:pt x="74488" y="110784"/>
                  </a:lnTo>
                  <a:lnTo>
                    <a:pt x="72838" y="109883"/>
                  </a:lnTo>
                  <a:lnTo>
                    <a:pt x="70861" y="109496"/>
                  </a:lnTo>
                  <a:lnTo>
                    <a:pt x="69178" y="108146"/>
                  </a:lnTo>
                  <a:lnTo>
                    <a:pt x="68081" y="109243"/>
                  </a:lnTo>
                  <a:lnTo>
                    <a:pt x="68958" y="113042"/>
                  </a:lnTo>
                  <a:lnTo>
                    <a:pt x="70861" y="115656"/>
                  </a:lnTo>
                  <a:lnTo>
                    <a:pt x="74043" y="122656"/>
                  </a:lnTo>
                  <a:lnTo>
                    <a:pt x="75488" y="126783"/>
                  </a:lnTo>
                  <a:lnTo>
                    <a:pt x="75780" y="128778"/>
                  </a:lnTo>
                  <a:lnTo>
                    <a:pt x="75060" y="132087"/>
                  </a:lnTo>
                  <a:lnTo>
                    <a:pt x="76624" y="134544"/>
                  </a:lnTo>
                  <a:lnTo>
                    <a:pt x="77695" y="137065"/>
                  </a:lnTo>
                  <a:lnTo>
                    <a:pt x="76516" y="136970"/>
                  </a:lnTo>
                  <a:lnTo>
                    <a:pt x="75493" y="136081"/>
                  </a:lnTo>
                  <a:lnTo>
                    <a:pt x="73776" y="135032"/>
                  </a:lnTo>
                  <a:lnTo>
                    <a:pt x="70446" y="131007"/>
                  </a:lnTo>
                  <a:lnTo>
                    <a:pt x="69286" y="128493"/>
                  </a:lnTo>
                  <a:lnTo>
                    <a:pt x="67900" y="128296"/>
                  </a:lnTo>
                  <a:lnTo>
                    <a:pt x="65494" y="128657"/>
                  </a:lnTo>
                  <a:lnTo>
                    <a:pt x="62856" y="134024"/>
                  </a:lnTo>
                  <a:lnTo>
                    <a:pt x="62864" y="137095"/>
                  </a:lnTo>
                  <a:lnTo>
                    <a:pt x="61500" y="136364"/>
                  </a:lnTo>
                  <a:lnTo>
                    <a:pt x="60329" y="135407"/>
                  </a:lnTo>
                  <a:lnTo>
                    <a:pt x="60472" y="132045"/>
                  </a:lnTo>
                  <a:lnTo>
                    <a:pt x="60355" y="130632"/>
                  </a:lnTo>
                  <a:lnTo>
                    <a:pt x="57153" y="126045"/>
                  </a:lnTo>
                  <a:lnTo>
                    <a:pt x="55684" y="125530"/>
                  </a:lnTo>
                  <a:lnTo>
                    <a:pt x="55000" y="123978"/>
                  </a:lnTo>
                  <a:lnTo>
                    <a:pt x="53821" y="122324"/>
                  </a:lnTo>
                  <a:lnTo>
                    <a:pt x="52301" y="122641"/>
                  </a:lnTo>
                  <a:lnTo>
                    <a:pt x="51059" y="123312"/>
                  </a:lnTo>
                  <a:lnTo>
                    <a:pt x="50716" y="125811"/>
                  </a:lnTo>
                  <a:lnTo>
                    <a:pt x="50588" y="128050"/>
                  </a:lnTo>
                  <a:lnTo>
                    <a:pt x="49662" y="129734"/>
                  </a:lnTo>
                  <a:lnTo>
                    <a:pt x="46250" y="126536"/>
                  </a:lnTo>
                  <a:lnTo>
                    <a:pt x="42819" y="121001"/>
                  </a:lnTo>
                  <a:lnTo>
                    <a:pt x="42728" y="117960"/>
                  </a:lnTo>
                  <a:lnTo>
                    <a:pt x="45242" y="115185"/>
                  </a:lnTo>
                  <a:lnTo>
                    <a:pt x="44941" y="113198"/>
                  </a:lnTo>
                  <a:lnTo>
                    <a:pt x="42562" y="109272"/>
                  </a:lnTo>
                  <a:lnTo>
                    <a:pt x="39133" y="106744"/>
                  </a:lnTo>
                  <a:lnTo>
                    <a:pt x="37211" y="105993"/>
                  </a:lnTo>
                  <a:lnTo>
                    <a:pt x="36308" y="103303"/>
                  </a:lnTo>
                  <a:lnTo>
                    <a:pt x="34468" y="101912"/>
                  </a:lnTo>
                  <a:lnTo>
                    <a:pt x="32980" y="101264"/>
                  </a:lnTo>
                  <a:lnTo>
                    <a:pt x="32687" y="100305"/>
                  </a:lnTo>
                  <a:lnTo>
                    <a:pt x="33136" y="99595"/>
                  </a:lnTo>
                  <a:lnTo>
                    <a:pt x="36742" y="96823"/>
                  </a:lnTo>
                  <a:lnTo>
                    <a:pt x="38856" y="92481"/>
                  </a:lnTo>
                  <a:lnTo>
                    <a:pt x="39906" y="92274"/>
                  </a:lnTo>
                  <a:lnTo>
                    <a:pt x="42063" y="93304"/>
                  </a:lnTo>
                  <a:lnTo>
                    <a:pt x="44488" y="93035"/>
                  </a:lnTo>
                  <a:lnTo>
                    <a:pt x="46479" y="90489"/>
                  </a:lnTo>
                  <a:lnTo>
                    <a:pt x="48165" y="89103"/>
                  </a:lnTo>
                  <a:lnTo>
                    <a:pt x="51009" y="89282"/>
                  </a:lnTo>
                  <a:lnTo>
                    <a:pt x="57431" y="92685"/>
                  </a:lnTo>
                  <a:lnTo>
                    <a:pt x="64333" y="94623"/>
                  </a:lnTo>
                  <a:lnTo>
                    <a:pt x="67775" y="96324"/>
                  </a:lnTo>
                  <a:lnTo>
                    <a:pt x="69722" y="98009"/>
                  </a:lnTo>
                  <a:lnTo>
                    <a:pt x="70757" y="98358"/>
                  </a:lnTo>
                  <a:lnTo>
                    <a:pt x="72392" y="98596"/>
                  </a:lnTo>
                  <a:lnTo>
                    <a:pt x="72318" y="97336"/>
                  </a:lnTo>
                  <a:lnTo>
                    <a:pt x="71791" y="96221"/>
                  </a:lnTo>
                  <a:lnTo>
                    <a:pt x="73154" y="95614"/>
                  </a:lnTo>
                  <a:lnTo>
                    <a:pt x="76853" y="95646"/>
                  </a:lnTo>
                  <a:lnTo>
                    <a:pt x="77526" y="95055"/>
                  </a:lnTo>
                  <a:lnTo>
                    <a:pt x="78211" y="94098"/>
                  </a:lnTo>
                  <a:lnTo>
                    <a:pt x="77447" y="93010"/>
                  </a:lnTo>
                  <a:lnTo>
                    <a:pt x="76222" y="92487"/>
                  </a:lnTo>
                  <a:lnTo>
                    <a:pt x="74913" y="92342"/>
                  </a:lnTo>
                  <a:lnTo>
                    <a:pt x="74052" y="91997"/>
                  </a:lnTo>
                  <a:lnTo>
                    <a:pt x="72661" y="92345"/>
                  </a:lnTo>
                  <a:lnTo>
                    <a:pt x="70491" y="91504"/>
                  </a:lnTo>
                  <a:lnTo>
                    <a:pt x="69370" y="90810"/>
                  </a:lnTo>
                  <a:lnTo>
                    <a:pt x="68712" y="90096"/>
                  </a:lnTo>
                  <a:lnTo>
                    <a:pt x="64942" y="88672"/>
                  </a:lnTo>
                  <a:lnTo>
                    <a:pt x="61366" y="86264"/>
                  </a:lnTo>
                  <a:lnTo>
                    <a:pt x="60560" y="87627"/>
                  </a:lnTo>
                  <a:lnTo>
                    <a:pt x="59116" y="88366"/>
                  </a:lnTo>
                  <a:lnTo>
                    <a:pt x="57058" y="88468"/>
                  </a:lnTo>
                  <a:lnTo>
                    <a:pt x="51275" y="86935"/>
                  </a:lnTo>
                  <a:lnTo>
                    <a:pt x="47722" y="88105"/>
                  </a:lnTo>
                  <a:lnTo>
                    <a:pt x="45786" y="88412"/>
                  </a:lnTo>
                  <a:lnTo>
                    <a:pt x="44304" y="88438"/>
                  </a:lnTo>
                  <a:lnTo>
                    <a:pt x="42482" y="88963"/>
                  </a:lnTo>
                  <a:lnTo>
                    <a:pt x="40379" y="89277"/>
                  </a:lnTo>
                  <a:lnTo>
                    <a:pt x="38556" y="87054"/>
                  </a:lnTo>
                  <a:lnTo>
                    <a:pt x="37789" y="85331"/>
                  </a:lnTo>
                  <a:lnTo>
                    <a:pt x="37249" y="85009"/>
                  </a:lnTo>
                  <a:lnTo>
                    <a:pt x="37222" y="86628"/>
                  </a:lnTo>
                  <a:lnTo>
                    <a:pt x="36636" y="87926"/>
                  </a:lnTo>
                  <a:lnTo>
                    <a:pt x="33968" y="88655"/>
                  </a:lnTo>
                  <a:lnTo>
                    <a:pt x="32432" y="87650"/>
                  </a:lnTo>
                  <a:lnTo>
                    <a:pt x="31251" y="84598"/>
                  </a:lnTo>
                  <a:lnTo>
                    <a:pt x="29757" y="80715"/>
                  </a:lnTo>
                  <a:lnTo>
                    <a:pt x="27126" y="77576"/>
                  </a:lnTo>
                  <a:lnTo>
                    <a:pt x="24995" y="76755"/>
                  </a:lnTo>
                  <a:lnTo>
                    <a:pt x="24811" y="75029"/>
                  </a:lnTo>
                  <a:lnTo>
                    <a:pt x="25006" y="73647"/>
                  </a:lnTo>
                  <a:lnTo>
                    <a:pt x="27567" y="73306"/>
                  </a:lnTo>
                  <a:lnTo>
                    <a:pt x="31570" y="74751"/>
                  </a:lnTo>
                  <a:lnTo>
                    <a:pt x="32397" y="74464"/>
                  </a:lnTo>
                  <a:lnTo>
                    <a:pt x="33298" y="73797"/>
                  </a:lnTo>
                  <a:lnTo>
                    <a:pt x="33125" y="72322"/>
                  </a:lnTo>
                  <a:lnTo>
                    <a:pt x="32547" y="71008"/>
                  </a:lnTo>
                  <a:lnTo>
                    <a:pt x="31445" y="70949"/>
                  </a:lnTo>
                  <a:lnTo>
                    <a:pt x="30683" y="71105"/>
                  </a:lnTo>
                  <a:lnTo>
                    <a:pt x="28221" y="70833"/>
                  </a:lnTo>
                  <a:lnTo>
                    <a:pt x="25058" y="71563"/>
                  </a:lnTo>
                  <a:lnTo>
                    <a:pt x="23591" y="70875"/>
                  </a:lnTo>
                  <a:lnTo>
                    <a:pt x="23103" y="70039"/>
                  </a:lnTo>
                  <a:lnTo>
                    <a:pt x="20458" y="67963"/>
                  </a:lnTo>
                  <a:lnTo>
                    <a:pt x="18172" y="65177"/>
                  </a:lnTo>
                  <a:lnTo>
                    <a:pt x="14468" y="63316"/>
                  </a:lnTo>
                  <a:lnTo>
                    <a:pt x="12049" y="57641"/>
                  </a:lnTo>
                  <a:lnTo>
                    <a:pt x="10015" y="55161"/>
                  </a:lnTo>
                  <a:lnTo>
                    <a:pt x="7845" y="53389"/>
                  </a:lnTo>
                  <a:lnTo>
                    <a:pt x="8316" y="53356"/>
                  </a:lnTo>
                  <a:lnTo>
                    <a:pt x="9139" y="53657"/>
                  </a:lnTo>
                  <a:lnTo>
                    <a:pt x="10715" y="54632"/>
                  </a:lnTo>
                  <a:lnTo>
                    <a:pt x="12391" y="54842"/>
                  </a:lnTo>
                  <a:lnTo>
                    <a:pt x="13306" y="54196"/>
                  </a:lnTo>
                  <a:lnTo>
                    <a:pt x="13833" y="53603"/>
                  </a:lnTo>
                  <a:lnTo>
                    <a:pt x="14176" y="52630"/>
                  </a:lnTo>
                  <a:lnTo>
                    <a:pt x="14315" y="51495"/>
                  </a:lnTo>
                  <a:lnTo>
                    <a:pt x="14587" y="51119"/>
                  </a:lnTo>
                  <a:lnTo>
                    <a:pt x="15867" y="51247"/>
                  </a:lnTo>
                  <a:lnTo>
                    <a:pt x="16273" y="50964"/>
                  </a:lnTo>
                  <a:lnTo>
                    <a:pt x="16256" y="49944"/>
                  </a:lnTo>
                  <a:lnTo>
                    <a:pt x="15429" y="48672"/>
                  </a:lnTo>
                  <a:lnTo>
                    <a:pt x="14701" y="47105"/>
                  </a:lnTo>
                  <a:lnTo>
                    <a:pt x="14697" y="46358"/>
                  </a:lnTo>
                  <a:lnTo>
                    <a:pt x="15302" y="46055"/>
                  </a:lnTo>
                  <a:lnTo>
                    <a:pt x="16302" y="45374"/>
                  </a:lnTo>
                  <a:lnTo>
                    <a:pt x="16839" y="44532"/>
                  </a:lnTo>
                  <a:lnTo>
                    <a:pt x="17901" y="44112"/>
                  </a:lnTo>
                  <a:lnTo>
                    <a:pt x="19472" y="44035"/>
                  </a:lnTo>
                  <a:lnTo>
                    <a:pt x="21223" y="43666"/>
                  </a:lnTo>
                  <a:lnTo>
                    <a:pt x="22354" y="42760"/>
                  </a:lnTo>
                  <a:lnTo>
                    <a:pt x="22521" y="41862"/>
                  </a:lnTo>
                  <a:lnTo>
                    <a:pt x="23229" y="39391"/>
                  </a:lnTo>
                  <a:lnTo>
                    <a:pt x="23691" y="38181"/>
                  </a:lnTo>
                  <a:lnTo>
                    <a:pt x="24438" y="37076"/>
                  </a:lnTo>
                  <a:lnTo>
                    <a:pt x="24844" y="35586"/>
                  </a:lnTo>
                  <a:lnTo>
                    <a:pt x="25641" y="34184"/>
                  </a:lnTo>
                  <a:lnTo>
                    <a:pt x="27312" y="33596"/>
                  </a:lnTo>
                  <a:lnTo>
                    <a:pt x="28828" y="32903"/>
                  </a:lnTo>
                  <a:lnTo>
                    <a:pt x="29972" y="31096"/>
                  </a:lnTo>
                  <a:lnTo>
                    <a:pt x="30612" y="29547"/>
                  </a:lnTo>
                  <a:lnTo>
                    <a:pt x="30616" y="28599"/>
                  </a:lnTo>
                  <a:lnTo>
                    <a:pt x="29662" y="27047"/>
                  </a:lnTo>
                  <a:lnTo>
                    <a:pt x="28951" y="25538"/>
                  </a:lnTo>
                  <a:lnTo>
                    <a:pt x="29139" y="23578"/>
                  </a:lnTo>
                  <a:lnTo>
                    <a:pt x="32141" y="23414"/>
                  </a:lnTo>
                  <a:lnTo>
                    <a:pt x="33192" y="23231"/>
                  </a:lnTo>
                  <a:lnTo>
                    <a:pt x="37088" y="23125"/>
                  </a:lnTo>
                  <a:lnTo>
                    <a:pt x="38865" y="22073"/>
                  </a:lnTo>
                  <a:lnTo>
                    <a:pt x="40094" y="22167"/>
                  </a:lnTo>
                  <a:lnTo>
                    <a:pt x="42661" y="23078"/>
                  </a:lnTo>
                  <a:lnTo>
                    <a:pt x="43806" y="22358"/>
                  </a:lnTo>
                  <a:lnTo>
                    <a:pt x="47166" y="20936"/>
                  </a:lnTo>
                  <a:lnTo>
                    <a:pt x="50482" y="16805"/>
                  </a:lnTo>
                  <a:lnTo>
                    <a:pt x="51895" y="16185"/>
                  </a:lnTo>
                  <a:lnTo>
                    <a:pt x="55112" y="15934"/>
                  </a:lnTo>
                  <a:lnTo>
                    <a:pt x="56120" y="15456"/>
                  </a:lnTo>
                  <a:lnTo>
                    <a:pt x="57297" y="15547"/>
                  </a:lnTo>
                  <a:lnTo>
                    <a:pt x="60903" y="16385"/>
                  </a:lnTo>
                  <a:lnTo>
                    <a:pt x="62955" y="16513"/>
                  </a:lnTo>
                  <a:lnTo>
                    <a:pt x="65388" y="15942"/>
                  </a:lnTo>
                  <a:lnTo>
                    <a:pt x="68069" y="14932"/>
                  </a:lnTo>
                  <a:lnTo>
                    <a:pt x="68738" y="11394"/>
                  </a:lnTo>
                  <a:lnTo>
                    <a:pt x="69375" y="10886"/>
                  </a:lnTo>
                  <a:lnTo>
                    <a:pt x="71042" y="10744"/>
                  </a:lnTo>
                  <a:lnTo>
                    <a:pt x="72297" y="10773"/>
                  </a:lnTo>
                  <a:lnTo>
                    <a:pt x="74719" y="11054"/>
                  </a:lnTo>
                  <a:lnTo>
                    <a:pt x="77602" y="11148"/>
                  </a:lnTo>
                  <a:lnTo>
                    <a:pt x="79457" y="9488"/>
                  </a:lnTo>
                  <a:lnTo>
                    <a:pt x="82381" y="9364"/>
                  </a:lnTo>
                  <a:lnTo>
                    <a:pt x="83737" y="9124"/>
                  </a:lnTo>
                  <a:lnTo>
                    <a:pt x="86002" y="9459"/>
                  </a:lnTo>
                  <a:lnTo>
                    <a:pt x="88198" y="9440"/>
                  </a:lnTo>
                  <a:lnTo>
                    <a:pt x="91010" y="8748"/>
                  </a:lnTo>
                  <a:lnTo>
                    <a:pt x="93631" y="7613"/>
                  </a:lnTo>
                  <a:lnTo>
                    <a:pt x="95680" y="7710"/>
                  </a:lnTo>
                  <a:lnTo>
                    <a:pt x="96516" y="7505"/>
                  </a:lnTo>
                  <a:lnTo>
                    <a:pt x="96994" y="7266"/>
                  </a:lnTo>
                  <a:lnTo>
                    <a:pt x="97505" y="5729"/>
                  </a:lnTo>
                  <a:lnTo>
                    <a:pt x="101360" y="5635"/>
                  </a:lnTo>
                  <a:lnTo>
                    <a:pt x="102666" y="5788"/>
                  </a:lnTo>
                  <a:lnTo>
                    <a:pt x="104817" y="5828"/>
                  </a:lnTo>
                  <a:lnTo>
                    <a:pt x="107054" y="4990"/>
                  </a:lnTo>
                  <a:lnTo>
                    <a:pt x="107725" y="5061"/>
                  </a:lnTo>
                  <a:lnTo>
                    <a:pt x="108855" y="7311"/>
                  </a:lnTo>
                  <a:lnTo>
                    <a:pt x="109444" y="7963"/>
                  </a:lnTo>
                  <a:lnTo>
                    <a:pt x="110662" y="8564"/>
                  </a:lnTo>
                  <a:lnTo>
                    <a:pt x="113374" y="10250"/>
                  </a:lnTo>
                  <a:lnTo>
                    <a:pt x="113863" y="9806"/>
                  </a:lnTo>
                  <a:lnTo>
                    <a:pt x="114992" y="9243"/>
                  </a:lnTo>
                  <a:lnTo>
                    <a:pt x="118235" y="10015"/>
                  </a:lnTo>
                  <a:lnTo>
                    <a:pt x="121327" y="11314"/>
                  </a:lnTo>
                  <a:lnTo>
                    <a:pt x="123932" y="13219"/>
                  </a:lnTo>
                  <a:lnTo>
                    <a:pt x="126823" y="12670"/>
                  </a:lnTo>
                  <a:lnTo>
                    <a:pt x="130032" y="11735"/>
                  </a:lnTo>
                  <a:lnTo>
                    <a:pt x="132120" y="11463"/>
                  </a:lnTo>
                  <a:lnTo>
                    <a:pt x="134385" y="11333"/>
                  </a:lnTo>
                  <a:lnTo>
                    <a:pt x="135735" y="10927"/>
                  </a:lnTo>
                  <a:lnTo>
                    <a:pt x="138795" y="11416"/>
                  </a:lnTo>
                  <a:lnTo>
                    <a:pt x="141958" y="10393"/>
                  </a:lnTo>
                  <a:lnTo>
                    <a:pt x="143483" y="9467"/>
                  </a:lnTo>
                  <a:lnTo>
                    <a:pt x="143921" y="8170"/>
                  </a:lnTo>
                  <a:lnTo>
                    <a:pt x="143664" y="5881"/>
                  </a:lnTo>
                  <a:lnTo>
                    <a:pt x="142949" y="3589"/>
                  </a:lnTo>
                  <a:lnTo>
                    <a:pt x="142192" y="2743"/>
                  </a:lnTo>
                  <a:lnTo>
                    <a:pt x="141950" y="1868"/>
                  </a:lnTo>
                  <a:lnTo>
                    <a:pt x="142381" y="1050"/>
                  </a:lnTo>
                  <a:lnTo>
                    <a:pt x="142865" y="479"/>
                  </a:lnTo>
                  <a:close/>
                </a:path>
              </a:pathLst>
            </a:custGeom>
            <a:grpFill/>
            <a:ln w="3175"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22" name="ee4p_HR_1_92573">
              <a:extLst>
                <a:ext uri="{FF2B5EF4-FFF2-40B4-BE49-F238E27FC236}">
                  <a16:creationId xmlns:a16="http://schemas.microsoft.com/office/drawing/2014/main" id="{CE51FC0C-1490-4C6F-9A0A-5934544EB2C2}"/>
                </a:ext>
              </a:extLst>
            </p:cNvPr>
            <p:cNvSpPr>
              <a:spLocks noChangeAspect="1"/>
            </p:cNvSpPr>
            <p:nvPr>
              <p:custDataLst>
                <p:tags r:id="rId16"/>
              </p:custDataLst>
            </p:nvPr>
          </p:nvSpPr>
          <p:spPr>
            <a:xfrm>
              <a:off x="4956596" y="4920452"/>
              <a:ext cx="515754" cy="442242"/>
            </a:xfrm>
            <a:custGeom>
              <a:avLst/>
              <a:gdLst>
                <a:gd name="connsiteX0" fmla="*/ 86563 w 130102"/>
                <a:gd name="connsiteY0" fmla="*/ 101746 h 111558"/>
                <a:gd name="connsiteX1" fmla="*/ 90452 w 130102"/>
                <a:gd name="connsiteY1" fmla="*/ 102584 h 111558"/>
                <a:gd name="connsiteX2" fmla="*/ 93469 w 130102"/>
                <a:gd name="connsiteY2" fmla="*/ 104421 h 111558"/>
                <a:gd name="connsiteX3" fmla="*/ 84622 w 130102"/>
                <a:gd name="connsiteY3" fmla="*/ 102014 h 111558"/>
                <a:gd name="connsiteX4" fmla="*/ 85626 w 130102"/>
                <a:gd name="connsiteY4" fmla="*/ 101793 h 111558"/>
                <a:gd name="connsiteX5" fmla="*/ 69288 w 130102"/>
                <a:gd name="connsiteY5" fmla="*/ 96494 h 111558"/>
                <a:gd name="connsiteX6" fmla="*/ 73375 w 130102"/>
                <a:gd name="connsiteY6" fmla="*/ 97242 h 111558"/>
                <a:gd name="connsiteX7" fmla="*/ 76373 w 130102"/>
                <a:gd name="connsiteY7" fmla="*/ 96898 h 111558"/>
                <a:gd name="connsiteX8" fmla="*/ 79083 w 130102"/>
                <a:gd name="connsiteY8" fmla="*/ 97357 h 111558"/>
                <a:gd name="connsiteX9" fmla="*/ 80767 w 130102"/>
                <a:gd name="connsiteY9" fmla="*/ 98207 h 111558"/>
                <a:gd name="connsiteX10" fmla="*/ 81175 w 130102"/>
                <a:gd name="connsiteY10" fmla="*/ 98624 h 111558"/>
                <a:gd name="connsiteX11" fmla="*/ 78988 w 130102"/>
                <a:gd name="connsiteY11" fmla="*/ 98682 h 111558"/>
                <a:gd name="connsiteX12" fmla="*/ 76515 w 130102"/>
                <a:gd name="connsiteY12" fmla="*/ 98337 h 111558"/>
                <a:gd name="connsiteX13" fmla="*/ 73710 w 130102"/>
                <a:gd name="connsiteY13" fmla="*/ 99201 h 111558"/>
                <a:gd name="connsiteX14" fmla="*/ 71238 w 130102"/>
                <a:gd name="connsiteY14" fmla="*/ 98739 h 111558"/>
                <a:gd name="connsiteX15" fmla="*/ 70298 w 130102"/>
                <a:gd name="connsiteY15" fmla="*/ 98178 h 111558"/>
                <a:gd name="connsiteX16" fmla="*/ 69633 w 130102"/>
                <a:gd name="connsiteY16" fmla="*/ 97476 h 111558"/>
                <a:gd name="connsiteX17" fmla="*/ 81872 w 130102"/>
                <a:gd name="connsiteY17" fmla="*/ 95708 h 111558"/>
                <a:gd name="connsiteX18" fmla="*/ 93013 w 130102"/>
                <a:gd name="connsiteY18" fmla="*/ 100400 h 111558"/>
                <a:gd name="connsiteX19" fmla="*/ 91773 w 130102"/>
                <a:gd name="connsiteY19" fmla="*/ 99158 h 111558"/>
                <a:gd name="connsiteX20" fmla="*/ 93380 w 130102"/>
                <a:gd name="connsiteY20" fmla="*/ 98666 h 111558"/>
                <a:gd name="connsiteX21" fmla="*/ 94745 w 130102"/>
                <a:gd name="connsiteY21" fmla="*/ 99020 h 111558"/>
                <a:gd name="connsiteX22" fmla="*/ 95615 w 130102"/>
                <a:gd name="connsiteY22" fmla="*/ 100551 h 111558"/>
                <a:gd name="connsiteX23" fmla="*/ 97330 w 130102"/>
                <a:gd name="connsiteY23" fmla="*/ 101558 h 111558"/>
                <a:gd name="connsiteX24" fmla="*/ 100109 w 130102"/>
                <a:gd name="connsiteY24" fmla="*/ 103327 h 111558"/>
                <a:gd name="connsiteX25" fmla="*/ 101864 w 130102"/>
                <a:gd name="connsiteY25" fmla="*/ 104682 h 111558"/>
                <a:gd name="connsiteX26" fmla="*/ 105846 w 130102"/>
                <a:gd name="connsiteY26" fmla="*/ 107117 h 111558"/>
                <a:gd name="connsiteX27" fmla="*/ 106788 w 130102"/>
                <a:gd name="connsiteY27" fmla="*/ 107457 h 111558"/>
                <a:gd name="connsiteX28" fmla="*/ 108772 w 130102"/>
                <a:gd name="connsiteY28" fmla="*/ 108176 h 111558"/>
                <a:gd name="connsiteX29" fmla="*/ 108811 w 130102"/>
                <a:gd name="connsiteY29" fmla="*/ 109157 h 111558"/>
                <a:gd name="connsiteX30" fmla="*/ 109664 w 130102"/>
                <a:gd name="connsiteY30" fmla="*/ 110273 h 111558"/>
                <a:gd name="connsiteX31" fmla="*/ 110566 w 130102"/>
                <a:gd name="connsiteY31" fmla="*/ 111558 h 111558"/>
                <a:gd name="connsiteX32" fmla="*/ 106488 w 130102"/>
                <a:gd name="connsiteY32" fmla="*/ 109026 h 111558"/>
                <a:gd name="connsiteX33" fmla="*/ 102676 w 130102"/>
                <a:gd name="connsiteY33" fmla="*/ 106192 h 111558"/>
                <a:gd name="connsiteX34" fmla="*/ 95229 w 130102"/>
                <a:gd name="connsiteY34" fmla="*/ 101826 h 111558"/>
                <a:gd name="connsiteX35" fmla="*/ 89946 w 130102"/>
                <a:gd name="connsiteY35" fmla="*/ 100762 h 111558"/>
                <a:gd name="connsiteX36" fmla="*/ 82721 w 130102"/>
                <a:gd name="connsiteY36" fmla="*/ 97247 h 111558"/>
                <a:gd name="connsiteX37" fmla="*/ 78016 w 130102"/>
                <a:gd name="connsiteY37" fmla="*/ 96003 h 111558"/>
                <a:gd name="connsiteX38" fmla="*/ 79808 w 130102"/>
                <a:gd name="connsiteY38" fmla="*/ 95716 h 111558"/>
                <a:gd name="connsiteX39" fmla="*/ 66429 w 130102"/>
                <a:gd name="connsiteY39" fmla="*/ 90251 h 111558"/>
                <a:gd name="connsiteX40" fmla="*/ 69404 w 130102"/>
                <a:gd name="connsiteY40" fmla="*/ 90667 h 111558"/>
                <a:gd name="connsiteX41" fmla="*/ 70318 w 130102"/>
                <a:gd name="connsiteY41" fmla="*/ 91709 h 111558"/>
                <a:gd name="connsiteX42" fmla="*/ 78364 w 130102"/>
                <a:gd name="connsiteY42" fmla="*/ 92543 h 111558"/>
                <a:gd name="connsiteX43" fmla="*/ 81302 w 130102"/>
                <a:gd name="connsiteY43" fmla="*/ 93029 h 111558"/>
                <a:gd name="connsiteX44" fmla="*/ 79756 w 130102"/>
                <a:gd name="connsiteY44" fmla="*/ 93307 h 111558"/>
                <a:gd name="connsiteX45" fmla="*/ 69918 w 130102"/>
                <a:gd name="connsiteY45" fmla="*/ 93100 h 111558"/>
                <a:gd name="connsiteX46" fmla="*/ 67057 w 130102"/>
                <a:gd name="connsiteY46" fmla="*/ 92543 h 111558"/>
                <a:gd name="connsiteX47" fmla="*/ 63874 w 130102"/>
                <a:gd name="connsiteY47" fmla="*/ 91108 h 111558"/>
                <a:gd name="connsiteX48" fmla="*/ 63224 w 130102"/>
                <a:gd name="connsiteY48" fmla="*/ 90667 h 111558"/>
                <a:gd name="connsiteX49" fmla="*/ 64827 w 130102"/>
                <a:gd name="connsiteY49" fmla="*/ 86010 h 111558"/>
                <a:gd name="connsiteX50" fmla="*/ 68202 w 130102"/>
                <a:gd name="connsiteY50" fmla="*/ 86149 h 111558"/>
                <a:gd name="connsiteX51" fmla="*/ 73350 w 130102"/>
                <a:gd name="connsiteY51" fmla="*/ 86984 h 111558"/>
                <a:gd name="connsiteX52" fmla="*/ 74609 w 130102"/>
                <a:gd name="connsiteY52" fmla="*/ 87957 h 111558"/>
                <a:gd name="connsiteX53" fmla="*/ 74218 w 130102"/>
                <a:gd name="connsiteY53" fmla="*/ 88406 h 111558"/>
                <a:gd name="connsiteX54" fmla="*/ 72263 w 130102"/>
                <a:gd name="connsiteY54" fmla="*/ 89139 h 111558"/>
                <a:gd name="connsiteX55" fmla="*/ 68774 w 130102"/>
                <a:gd name="connsiteY55" fmla="*/ 89209 h 111558"/>
                <a:gd name="connsiteX56" fmla="*/ 65742 w 130102"/>
                <a:gd name="connsiteY56" fmla="*/ 88722 h 111558"/>
                <a:gd name="connsiteX57" fmla="*/ 64256 w 130102"/>
                <a:gd name="connsiteY57" fmla="*/ 87887 h 111558"/>
                <a:gd name="connsiteX58" fmla="*/ 64367 w 130102"/>
                <a:gd name="connsiteY58" fmla="*/ 87184 h 111558"/>
                <a:gd name="connsiteX59" fmla="*/ 38758 w 130102"/>
                <a:gd name="connsiteY59" fmla="*/ 69183 h 111558"/>
                <a:gd name="connsiteX60" fmla="*/ 41000 w 130102"/>
                <a:gd name="connsiteY60" fmla="*/ 70181 h 111558"/>
                <a:gd name="connsiteX61" fmla="*/ 42455 w 130102"/>
                <a:gd name="connsiteY61" fmla="*/ 72191 h 111558"/>
                <a:gd name="connsiteX62" fmla="*/ 41063 w 130102"/>
                <a:gd name="connsiteY62" fmla="*/ 71778 h 111558"/>
                <a:gd name="connsiteX63" fmla="*/ 39611 w 130102"/>
                <a:gd name="connsiteY63" fmla="*/ 70534 h 111558"/>
                <a:gd name="connsiteX64" fmla="*/ 34243 w 130102"/>
                <a:gd name="connsiteY64" fmla="*/ 65203 h 111558"/>
                <a:gd name="connsiteX65" fmla="*/ 37897 w 130102"/>
                <a:gd name="connsiteY65" fmla="*/ 67787 h 111558"/>
                <a:gd name="connsiteX66" fmla="*/ 38242 w 130102"/>
                <a:gd name="connsiteY66" fmla="*/ 68741 h 111558"/>
                <a:gd name="connsiteX67" fmla="*/ 35483 w 130102"/>
                <a:gd name="connsiteY67" fmla="*/ 66947 h 111558"/>
                <a:gd name="connsiteX68" fmla="*/ 34437 w 130102"/>
                <a:gd name="connsiteY68" fmla="*/ 65741 h 111558"/>
                <a:gd name="connsiteX69" fmla="*/ 29804 w 130102"/>
                <a:gd name="connsiteY69" fmla="*/ 64924 h 111558"/>
                <a:gd name="connsiteX70" fmla="*/ 31738 w 130102"/>
                <a:gd name="connsiteY70" fmla="*/ 66300 h 111558"/>
                <a:gd name="connsiteX71" fmla="*/ 36962 w 130102"/>
                <a:gd name="connsiteY71" fmla="*/ 71573 h 111558"/>
                <a:gd name="connsiteX72" fmla="*/ 37277 w 130102"/>
                <a:gd name="connsiteY72" fmla="*/ 71969 h 111558"/>
                <a:gd name="connsiteX73" fmla="*/ 37247 w 130102"/>
                <a:gd name="connsiteY73" fmla="*/ 72239 h 111558"/>
                <a:gd name="connsiteX74" fmla="*/ 36100 w 130102"/>
                <a:gd name="connsiteY74" fmla="*/ 71858 h 111558"/>
                <a:gd name="connsiteX75" fmla="*/ 35791 w 130102"/>
                <a:gd name="connsiteY75" fmla="*/ 71981 h 111558"/>
                <a:gd name="connsiteX76" fmla="*/ 30384 w 130102"/>
                <a:gd name="connsiteY76" fmla="*/ 66074 h 111558"/>
                <a:gd name="connsiteX77" fmla="*/ 27080 w 130102"/>
                <a:gd name="connsiteY77" fmla="*/ 50537 h 111558"/>
                <a:gd name="connsiteX78" fmla="*/ 28449 w 130102"/>
                <a:gd name="connsiteY78" fmla="*/ 51863 h 111558"/>
                <a:gd name="connsiteX79" fmla="*/ 29590 w 130102"/>
                <a:gd name="connsiteY79" fmla="*/ 52692 h 111558"/>
                <a:gd name="connsiteX80" fmla="*/ 30533 w 130102"/>
                <a:gd name="connsiteY80" fmla="*/ 52894 h 111558"/>
                <a:gd name="connsiteX81" fmla="*/ 32930 w 130102"/>
                <a:gd name="connsiteY81" fmla="*/ 54978 h 111558"/>
                <a:gd name="connsiteX82" fmla="*/ 35286 w 130102"/>
                <a:gd name="connsiteY82" fmla="*/ 57656 h 111558"/>
                <a:gd name="connsiteX83" fmla="*/ 38093 w 130102"/>
                <a:gd name="connsiteY83" fmla="*/ 59980 h 111558"/>
                <a:gd name="connsiteX84" fmla="*/ 37510 w 130102"/>
                <a:gd name="connsiteY84" fmla="*/ 60052 h 111558"/>
                <a:gd name="connsiteX85" fmla="*/ 36955 w 130102"/>
                <a:gd name="connsiteY85" fmla="*/ 60373 h 111558"/>
                <a:gd name="connsiteX86" fmla="*/ 36383 w 130102"/>
                <a:gd name="connsiteY86" fmla="*/ 61094 h 111558"/>
                <a:gd name="connsiteX87" fmla="*/ 34954 w 130102"/>
                <a:gd name="connsiteY87" fmla="*/ 59765 h 111558"/>
                <a:gd name="connsiteX88" fmla="*/ 33641 w 130102"/>
                <a:gd name="connsiteY88" fmla="*/ 58817 h 111558"/>
                <a:gd name="connsiteX89" fmla="*/ 32701 w 130102"/>
                <a:gd name="connsiteY89" fmla="*/ 57695 h 111558"/>
                <a:gd name="connsiteX90" fmla="*/ 30859 w 130102"/>
                <a:gd name="connsiteY90" fmla="*/ 56295 h 111558"/>
                <a:gd name="connsiteX91" fmla="*/ 30237 w 130102"/>
                <a:gd name="connsiteY91" fmla="*/ 54693 h 111558"/>
                <a:gd name="connsiteX92" fmla="*/ 27491 w 130102"/>
                <a:gd name="connsiteY92" fmla="*/ 51425 h 111558"/>
                <a:gd name="connsiteX93" fmla="*/ 25944 w 130102"/>
                <a:gd name="connsiteY93" fmla="*/ 46425 h 111558"/>
                <a:gd name="connsiteX94" fmla="*/ 27353 w 130102"/>
                <a:gd name="connsiteY94" fmla="*/ 46516 h 111558"/>
                <a:gd name="connsiteX95" fmla="*/ 27564 w 130102"/>
                <a:gd name="connsiteY95" fmla="*/ 47155 h 111558"/>
                <a:gd name="connsiteX96" fmla="*/ 29061 w 130102"/>
                <a:gd name="connsiteY96" fmla="*/ 48859 h 111558"/>
                <a:gd name="connsiteX97" fmla="*/ 29618 w 130102"/>
                <a:gd name="connsiteY97" fmla="*/ 50061 h 111558"/>
                <a:gd name="connsiteX98" fmla="*/ 27536 w 130102"/>
                <a:gd name="connsiteY98" fmla="*/ 48976 h 111558"/>
                <a:gd name="connsiteX99" fmla="*/ 25672 w 130102"/>
                <a:gd name="connsiteY99" fmla="*/ 48561 h 111558"/>
                <a:gd name="connsiteX100" fmla="*/ 25277 w 130102"/>
                <a:gd name="connsiteY100" fmla="*/ 47744 h 111558"/>
                <a:gd name="connsiteX101" fmla="*/ 25545 w 130102"/>
                <a:gd name="connsiteY101" fmla="*/ 47074 h 111558"/>
                <a:gd name="connsiteX102" fmla="*/ 18596 w 130102"/>
                <a:gd name="connsiteY102" fmla="*/ 37698 h 111558"/>
                <a:gd name="connsiteX103" fmla="*/ 18838 w 130102"/>
                <a:gd name="connsiteY103" fmla="*/ 40065 h 111558"/>
                <a:gd name="connsiteX104" fmla="*/ 19382 w 130102"/>
                <a:gd name="connsiteY104" fmla="*/ 41424 h 111558"/>
                <a:gd name="connsiteX105" fmla="*/ 21010 w 130102"/>
                <a:gd name="connsiteY105" fmla="*/ 43092 h 111558"/>
                <a:gd name="connsiteX106" fmla="*/ 20682 w 130102"/>
                <a:gd name="connsiteY106" fmla="*/ 45851 h 111558"/>
                <a:gd name="connsiteX107" fmla="*/ 21015 w 130102"/>
                <a:gd name="connsiteY107" fmla="*/ 49774 h 111558"/>
                <a:gd name="connsiteX108" fmla="*/ 21345 w 130102"/>
                <a:gd name="connsiteY108" fmla="*/ 50646 h 111558"/>
                <a:gd name="connsiteX109" fmla="*/ 21468 w 130102"/>
                <a:gd name="connsiteY109" fmla="*/ 51553 h 111558"/>
                <a:gd name="connsiteX110" fmla="*/ 21297 w 130102"/>
                <a:gd name="connsiteY110" fmla="*/ 52610 h 111558"/>
                <a:gd name="connsiteX111" fmla="*/ 19952 w 130102"/>
                <a:gd name="connsiteY111" fmla="*/ 51274 h 111558"/>
                <a:gd name="connsiteX112" fmla="*/ 19274 w 130102"/>
                <a:gd name="connsiteY112" fmla="*/ 48876 h 111558"/>
                <a:gd name="connsiteX113" fmla="*/ 17583 w 130102"/>
                <a:gd name="connsiteY113" fmla="*/ 44999 h 111558"/>
                <a:gd name="connsiteX114" fmla="*/ 17365 w 130102"/>
                <a:gd name="connsiteY114" fmla="*/ 43906 h 111558"/>
                <a:gd name="connsiteX115" fmla="*/ 18242 w 130102"/>
                <a:gd name="connsiteY115" fmla="*/ 42826 h 111558"/>
                <a:gd name="connsiteX116" fmla="*/ 18195 w 130102"/>
                <a:gd name="connsiteY116" fmla="*/ 41732 h 111558"/>
                <a:gd name="connsiteX117" fmla="*/ 16996 w 130102"/>
                <a:gd name="connsiteY117" fmla="*/ 38322 h 111558"/>
                <a:gd name="connsiteX118" fmla="*/ 18000 w 130102"/>
                <a:gd name="connsiteY118" fmla="*/ 37765 h 111558"/>
                <a:gd name="connsiteX119" fmla="*/ 23304 w 130102"/>
                <a:gd name="connsiteY119" fmla="*/ 36128 h 111558"/>
                <a:gd name="connsiteX120" fmla="*/ 24606 w 130102"/>
                <a:gd name="connsiteY120" fmla="*/ 37408 h 111558"/>
                <a:gd name="connsiteX121" fmla="*/ 26180 w 130102"/>
                <a:gd name="connsiteY121" fmla="*/ 39816 h 111558"/>
                <a:gd name="connsiteX122" fmla="*/ 27020 w 130102"/>
                <a:gd name="connsiteY122" fmla="*/ 40488 h 111558"/>
                <a:gd name="connsiteX123" fmla="*/ 28592 w 130102"/>
                <a:gd name="connsiteY123" fmla="*/ 42905 h 111558"/>
                <a:gd name="connsiteX124" fmla="*/ 25867 w 130102"/>
                <a:gd name="connsiteY124" fmla="*/ 43491 h 111558"/>
                <a:gd name="connsiteX125" fmla="*/ 24569 w 130102"/>
                <a:gd name="connsiteY125" fmla="*/ 42443 h 111558"/>
                <a:gd name="connsiteX126" fmla="*/ 24230 w 130102"/>
                <a:gd name="connsiteY126" fmla="*/ 41583 h 111558"/>
                <a:gd name="connsiteX127" fmla="*/ 21991 w 130102"/>
                <a:gd name="connsiteY127" fmla="*/ 41310 h 111558"/>
                <a:gd name="connsiteX128" fmla="*/ 20635 w 130102"/>
                <a:gd name="connsiteY128" fmla="*/ 40112 h 111558"/>
                <a:gd name="connsiteX129" fmla="*/ 20358 w 130102"/>
                <a:gd name="connsiteY129" fmla="*/ 39581 h 111558"/>
                <a:gd name="connsiteX130" fmla="*/ 22276 w 130102"/>
                <a:gd name="connsiteY130" fmla="*/ 38262 h 111558"/>
                <a:gd name="connsiteX131" fmla="*/ 62002 w 130102"/>
                <a:gd name="connsiteY131" fmla="*/ 0 h 111558"/>
                <a:gd name="connsiteX132" fmla="*/ 64356 w 130102"/>
                <a:gd name="connsiteY132" fmla="*/ 284 h 111558"/>
                <a:gd name="connsiteX133" fmla="*/ 66314 w 130102"/>
                <a:gd name="connsiteY133" fmla="*/ 964 h 111558"/>
                <a:gd name="connsiteX134" fmla="*/ 67502 w 130102"/>
                <a:gd name="connsiteY134" fmla="*/ 1378 h 111558"/>
                <a:gd name="connsiteX135" fmla="*/ 71441 w 130102"/>
                <a:gd name="connsiteY135" fmla="*/ 3281 h 111558"/>
                <a:gd name="connsiteX136" fmla="*/ 74170 w 130102"/>
                <a:gd name="connsiteY136" fmla="*/ 5419 h 111558"/>
                <a:gd name="connsiteX137" fmla="*/ 75684 w 130102"/>
                <a:gd name="connsiteY137" fmla="*/ 7791 h 111558"/>
                <a:gd name="connsiteX138" fmla="*/ 77735 w 130102"/>
                <a:gd name="connsiteY138" fmla="*/ 9628 h 111558"/>
                <a:gd name="connsiteX139" fmla="*/ 80320 w 130102"/>
                <a:gd name="connsiteY139" fmla="*/ 10927 h 111558"/>
                <a:gd name="connsiteX140" fmla="*/ 82367 w 130102"/>
                <a:gd name="connsiteY140" fmla="*/ 12689 h 111558"/>
                <a:gd name="connsiteX141" fmla="*/ 83881 w 130102"/>
                <a:gd name="connsiteY141" fmla="*/ 14912 h 111558"/>
                <a:gd name="connsiteX142" fmla="*/ 85997 w 130102"/>
                <a:gd name="connsiteY142" fmla="*/ 16156 h 111558"/>
                <a:gd name="connsiteX143" fmla="*/ 88714 w 130102"/>
                <a:gd name="connsiteY143" fmla="*/ 16426 h 111558"/>
                <a:gd name="connsiteX144" fmla="*/ 90435 w 130102"/>
                <a:gd name="connsiteY144" fmla="*/ 17186 h 111558"/>
                <a:gd name="connsiteX145" fmla="*/ 91156 w 130102"/>
                <a:gd name="connsiteY145" fmla="*/ 18438 h 111558"/>
                <a:gd name="connsiteX146" fmla="*/ 92633 w 130102"/>
                <a:gd name="connsiteY146" fmla="*/ 19572 h 111558"/>
                <a:gd name="connsiteX147" fmla="*/ 94859 w 130102"/>
                <a:gd name="connsiteY147" fmla="*/ 20586 h 111558"/>
                <a:gd name="connsiteX148" fmla="*/ 98325 w 130102"/>
                <a:gd name="connsiteY148" fmla="*/ 21142 h 111558"/>
                <a:gd name="connsiteX149" fmla="*/ 104961 w 130102"/>
                <a:gd name="connsiteY149" fmla="*/ 21274 h 111558"/>
                <a:gd name="connsiteX150" fmla="*/ 105550 w 130102"/>
                <a:gd name="connsiteY150" fmla="*/ 21302 h 111558"/>
                <a:gd name="connsiteX151" fmla="*/ 107047 w 130102"/>
                <a:gd name="connsiteY151" fmla="*/ 21617 h 111558"/>
                <a:gd name="connsiteX152" fmla="*/ 108794 w 130102"/>
                <a:gd name="connsiteY152" fmla="*/ 21223 h 111558"/>
                <a:gd name="connsiteX153" fmla="*/ 110923 w 130102"/>
                <a:gd name="connsiteY153" fmla="*/ 20429 h 111558"/>
                <a:gd name="connsiteX154" fmla="*/ 111609 w 130102"/>
                <a:gd name="connsiteY154" fmla="*/ 19956 h 111558"/>
                <a:gd name="connsiteX155" fmla="*/ 113851 w 130102"/>
                <a:gd name="connsiteY155" fmla="*/ 17359 h 111558"/>
                <a:gd name="connsiteX156" fmla="*/ 115084 w 130102"/>
                <a:gd name="connsiteY156" fmla="*/ 17583 h 111558"/>
                <a:gd name="connsiteX157" fmla="*/ 117544 w 130102"/>
                <a:gd name="connsiteY157" fmla="*/ 17266 h 111558"/>
                <a:gd name="connsiteX158" fmla="*/ 119031 w 130102"/>
                <a:gd name="connsiteY158" fmla="*/ 16690 h 111558"/>
                <a:gd name="connsiteX159" fmla="*/ 119144 w 130102"/>
                <a:gd name="connsiteY159" fmla="*/ 16690 h 111558"/>
                <a:gd name="connsiteX160" fmla="*/ 119049 w 130102"/>
                <a:gd name="connsiteY160" fmla="*/ 17355 h 111558"/>
                <a:gd name="connsiteX161" fmla="*/ 118882 w 130102"/>
                <a:gd name="connsiteY161" fmla="*/ 18516 h 111558"/>
                <a:gd name="connsiteX162" fmla="*/ 117677 w 130102"/>
                <a:gd name="connsiteY162" fmla="*/ 19338 h 111558"/>
                <a:gd name="connsiteX163" fmla="*/ 118904 w 130102"/>
                <a:gd name="connsiteY163" fmla="*/ 21229 h 111558"/>
                <a:gd name="connsiteX164" fmla="*/ 120070 w 130102"/>
                <a:gd name="connsiteY164" fmla="*/ 24293 h 111558"/>
                <a:gd name="connsiteX165" fmla="*/ 119420 w 130102"/>
                <a:gd name="connsiteY165" fmla="*/ 25806 h 111558"/>
                <a:gd name="connsiteX166" fmla="*/ 120212 w 130102"/>
                <a:gd name="connsiteY166" fmla="*/ 26983 h 111558"/>
                <a:gd name="connsiteX167" fmla="*/ 122454 w 130102"/>
                <a:gd name="connsiteY167" fmla="*/ 27828 h 111558"/>
                <a:gd name="connsiteX168" fmla="*/ 122657 w 130102"/>
                <a:gd name="connsiteY168" fmla="*/ 28165 h 111558"/>
                <a:gd name="connsiteX169" fmla="*/ 121972 w 130102"/>
                <a:gd name="connsiteY169" fmla="*/ 28517 h 111558"/>
                <a:gd name="connsiteX170" fmla="*/ 121405 w 130102"/>
                <a:gd name="connsiteY170" fmla="*/ 29516 h 111558"/>
                <a:gd name="connsiteX171" fmla="*/ 121340 w 130102"/>
                <a:gd name="connsiteY171" fmla="*/ 31336 h 111558"/>
                <a:gd name="connsiteX172" fmla="*/ 123294 w 130102"/>
                <a:gd name="connsiteY172" fmla="*/ 33054 h 111558"/>
                <a:gd name="connsiteX173" fmla="*/ 127269 w 130102"/>
                <a:gd name="connsiteY173" fmla="*/ 34670 h 111558"/>
                <a:gd name="connsiteX174" fmla="*/ 128539 w 130102"/>
                <a:gd name="connsiteY174" fmla="*/ 34941 h 111558"/>
                <a:gd name="connsiteX175" fmla="*/ 129025 w 130102"/>
                <a:gd name="connsiteY175" fmla="*/ 35562 h 111558"/>
                <a:gd name="connsiteX176" fmla="*/ 129690 w 130102"/>
                <a:gd name="connsiteY176" fmla="*/ 35968 h 111558"/>
                <a:gd name="connsiteX177" fmla="*/ 130081 w 130102"/>
                <a:gd name="connsiteY177" fmla="*/ 36464 h 111558"/>
                <a:gd name="connsiteX178" fmla="*/ 130102 w 130102"/>
                <a:gd name="connsiteY178" fmla="*/ 37105 h 111558"/>
                <a:gd name="connsiteX179" fmla="*/ 129818 w 130102"/>
                <a:gd name="connsiteY179" fmla="*/ 37545 h 111558"/>
                <a:gd name="connsiteX180" fmla="*/ 127937 w 130102"/>
                <a:gd name="connsiteY180" fmla="*/ 37702 h 111558"/>
                <a:gd name="connsiteX181" fmla="*/ 125790 w 130102"/>
                <a:gd name="connsiteY181" fmla="*/ 37688 h 111558"/>
                <a:gd name="connsiteX182" fmla="*/ 124264 w 130102"/>
                <a:gd name="connsiteY182" fmla="*/ 36909 h 111558"/>
                <a:gd name="connsiteX183" fmla="*/ 124128 w 130102"/>
                <a:gd name="connsiteY183" fmla="*/ 37477 h 111558"/>
                <a:gd name="connsiteX184" fmla="*/ 124104 w 130102"/>
                <a:gd name="connsiteY184" fmla="*/ 38128 h 111558"/>
                <a:gd name="connsiteX185" fmla="*/ 122627 w 130102"/>
                <a:gd name="connsiteY185" fmla="*/ 38525 h 111558"/>
                <a:gd name="connsiteX186" fmla="*/ 123447 w 130102"/>
                <a:gd name="connsiteY186" fmla="*/ 42995 h 111558"/>
                <a:gd name="connsiteX187" fmla="*/ 123121 w 130102"/>
                <a:gd name="connsiteY187" fmla="*/ 44279 h 111558"/>
                <a:gd name="connsiteX188" fmla="*/ 122575 w 130102"/>
                <a:gd name="connsiteY188" fmla="*/ 44710 h 111558"/>
                <a:gd name="connsiteX189" fmla="*/ 122067 w 130102"/>
                <a:gd name="connsiteY189" fmla="*/ 44531 h 111558"/>
                <a:gd name="connsiteX190" fmla="*/ 121448 w 130102"/>
                <a:gd name="connsiteY190" fmla="*/ 44481 h 111558"/>
                <a:gd name="connsiteX191" fmla="*/ 121137 w 130102"/>
                <a:gd name="connsiteY191" fmla="*/ 44900 h 111558"/>
                <a:gd name="connsiteX192" fmla="*/ 121394 w 130102"/>
                <a:gd name="connsiteY192" fmla="*/ 45851 h 111558"/>
                <a:gd name="connsiteX193" fmla="*/ 119938 w 130102"/>
                <a:gd name="connsiteY193" fmla="*/ 45960 h 111558"/>
                <a:gd name="connsiteX194" fmla="*/ 117619 w 130102"/>
                <a:gd name="connsiteY194" fmla="*/ 45467 h 111558"/>
                <a:gd name="connsiteX195" fmla="*/ 116557 w 130102"/>
                <a:gd name="connsiteY195" fmla="*/ 44603 h 111558"/>
                <a:gd name="connsiteX196" fmla="*/ 116375 w 130102"/>
                <a:gd name="connsiteY196" fmla="*/ 43720 h 111558"/>
                <a:gd name="connsiteX197" fmla="*/ 116358 w 130102"/>
                <a:gd name="connsiteY197" fmla="*/ 42900 h 111558"/>
                <a:gd name="connsiteX198" fmla="*/ 115622 w 130102"/>
                <a:gd name="connsiteY198" fmla="*/ 41553 h 111558"/>
                <a:gd name="connsiteX199" fmla="*/ 113776 w 130102"/>
                <a:gd name="connsiteY199" fmla="*/ 40161 h 111558"/>
                <a:gd name="connsiteX200" fmla="*/ 109921 w 130102"/>
                <a:gd name="connsiteY200" fmla="*/ 39931 h 111558"/>
                <a:gd name="connsiteX201" fmla="*/ 108498 w 130102"/>
                <a:gd name="connsiteY201" fmla="*/ 39489 h 111558"/>
                <a:gd name="connsiteX202" fmla="*/ 107032 w 130102"/>
                <a:gd name="connsiteY202" fmla="*/ 38981 h 111558"/>
                <a:gd name="connsiteX203" fmla="*/ 105425 w 130102"/>
                <a:gd name="connsiteY203" fmla="*/ 38605 h 111558"/>
                <a:gd name="connsiteX204" fmla="*/ 103944 w 130102"/>
                <a:gd name="connsiteY204" fmla="*/ 38643 h 111558"/>
                <a:gd name="connsiteX205" fmla="*/ 102158 w 130102"/>
                <a:gd name="connsiteY205" fmla="*/ 39013 h 111558"/>
                <a:gd name="connsiteX206" fmla="*/ 99042 w 130102"/>
                <a:gd name="connsiteY206" fmla="*/ 38400 h 111558"/>
                <a:gd name="connsiteX207" fmla="*/ 97988 w 130102"/>
                <a:gd name="connsiteY207" fmla="*/ 39218 h 111558"/>
                <a:gd name="connsiteX208" fmla="*/ 96347 w 130102"/>
                <a:gd name="connsiteY208" fmla="*/ 40166 h 111558"/>
                <a:gd name="connsiteX209" fmla="*/ 94984 w 130102"/>
                <a:gd name="connsiteY209" fmla="*/ 40142 h 111558"/>
                <a:gd name="connsiteX210" fmla="*/ 92272 w 130102"/>
                <a:gd name="connsiteY210" fmla="*/ 37945 h 111558"/>
                <a:gd name="connsiteX211" fmla="*/ 91463 w 130102"/>
                <a:gd name="connsiteY211" fmla="*/ 37806 h 111558"/>
                <a:gd name="connsiteX212" fmla="*/ 89091 w 130102"/>
                <a:gd name="connsiteY212" fmla="*/ 38926 h 111558"/>
                <a:gd name="connsiteX213" fmla="*/ 88126 w 130102"/>
                <a:gd name="connsiteY213" fmla="*/ 38986 h 111558"/>
                <a:gd name="connsiteX214" fmla="*/ 87386 w 130102"/>
                <a:gd name="connsiteY214" fmla="*/ 38632 h 111558"/>
                <a:gd name="connsiteX215" fmla="*/ 84179 w 130102"/>
                <a:gd name="connsiteY215" fmla="*/ 37793 h 111558"/>
                <a:gd name="connsiteX216" fmla="*/ 82732 w 130102"/>
                <a:gd name="connsiteY216" fmla="*/ 37612 h 111558"/>
                <a:gd name="connsiteX217" fmla="*/ 81670 w 130102"/>
                <a:gd name="connsiteY217" fmla="*/ 38009 h 111558"/>
                <a:gd name="connsiteX218" fmla="*/ 79785 w 130102"/>
                <a:gd name="connsiteY218" fmla="*/ 37579 h 111558"/>
                <a:gd name="connsiteX219" fmla="*/ 75213 w 130102"/>
                <a:gd name="connsiteY219" fmla="*/ 34708 h 111558"/>
                <a:gd name="connsiteX220" fmla="*/ 72387 w 130102"/>
                <a:gd name="connsiteY220" fmla="*/ 36891 h 111558"/>
                <a:gd name="connsiteX221" fmla="*/ 66634 w 130102"/>
                <a:gd name="connsiteY221" fmla="*/ 36348 h 111558"/>
                <a:gd name="connsiteX222" fmla="*/ 64928 w 130102"/>
                <a:gd name="connsiteY222" fmla="*/ 37846 h 111558"/>
                <a:gd name="connsiteX223" fmla="*/ 62972 w 130102"/>
                <a:gd name="connsiteY223" fmla="*/ 40683 h 111558"/>
                <a:gd name="connsiteX224" fmla="*/ 61387 w 130102"/>
                <a:gd name="connsiteY224" fmla="*/ 42037 h 111558"/>
                <a:gd name="connsiteX225" fmla="*/ 60009 w 130102"/>
                <a:gd name="connsiteY225" fmla="*/ 41551 h 111558"/>
                <a:gd name="connsiteX226" fmla="*/ 58379 w 130102"/>
                <a:gd name="connsiteY226" fmla="*/ 40303 h 111558"/>
                <a:gd name="connsiteX227" fmla="*/ 55526 w 130102"/>
                <a:gd name="connsiteY227" fmla="*/ 37091 h 111558"/>
                <a:gd name="connsiteX228" fmla="*/ 54086 w 130102"/>
                <a:gd name="connsiteY228" fmla="*/ 36511 h 111558"/>
                <a:gd name="connsiteX229" fmla="*/ 52429 w 130102"/>
                <a:gd name="connsiteY229" fmla="*/ 36375 h 111558"/>
                <a:gd name="connsiteX230" fmla="*/ 50983 w 130102"/>
                <a:gd name="connsiteY230" fmla="*/ 36730 h 111558"/>
                <a:gd name="connsiteX231" fmla="*/ 50214 w 130102"/>
                <a:gd name="connsiteY231" fmla="*/ 37382 h 111558"/>
                <a:gd name="connsiteX232" fmla="*/ 49626 w 130102"/>
                <a:gd name="connsiteY232" fmla="*/ 42073 h 111558"/>
                <a:gd name="connsiteX233" fmla="*/ 49106 w 130102"/>
                <a:gd name="connsiteY233" fmla="*/ 46200 h 111558"/>
                <a:gd name="connsiteX234" fmla="*/ 49076 w 130102"/>
                <a:gd name="connsiteY234" fmla="*/ 48671 h 111558"/>
                <a:gd name="connsiteX235" fmla="*/ 52248 w 130102"/>
                <a:gd name="connsiteY235" fmla="*/ 50957 h 111558"/>
                <a:gd name="connsiteX236" fmla="*/ 55984 w 130102"/>
                <a:gd name="connsiteY236" fmla="*/ 54887 h 111558"/>
                <a:gd name="connsiteX237" fmla="*/ 57187 w 130102"/>
                <a:gd name="connsiteY237" fmla="*/ 55338 h 111558"/>
                <a:gd name="connsiteX238" fmla="*/ 57781 w 130102"/>
                <a:gd name="connsiteY238" fmla="*/ 56624 h 111558"/>
                <a:gd name="connsiteX239" fmla="*/ 58655 w 130102"/>
                <a:gd name="connsiteY239" fmla="*/ 59931 h 111558"/>
                <a:gd name="connsiteX240" fmla="*/ 59637 w 130102"/>
                <a:gd name="connsiteY240" fmla="*/ 63645 h 111558"/>
                <a:gd name="connsiteX241" fmla="*/ 61536 w 130102"/>
                <a:gd name="connsiteY241" fmla="*/ 66102 h 111558"/>
                <a:gd name="connsiteX242" fmla="*/ 63248 w 130102"/>
                <a:gd name="connsiteY242" fmla="*/ 67859 h 111558"/>
                <a:gd name="connsiteX243" fmla="*/ 65338 w 130102"/>
                <a:gd name="connsiteY243" fmla="*/ 69403 h 111558"/>
                <a:gd name="connsiteX244" fmla="*/ 67957 w 130102"/>
                <a:gd name="connsiteY244" fmla="*/ 71822 h 111558"/>
                <a:gd name="connsiteX245" fmla="*/ 70106 w 130102"/>
                <a:gd name="connsiteY245" fmla="*/ 74474 h 111558"/>
                <a:gd name="connsiteX246" fmla="*/ 70676 w 130102"/>
                <a:gd name="connsiteY246" fmla="*/ 75452 h 111558"/>
                <a:gd name="connsiteX247" fmla="*/ 74842 w 130102"/>
                <a:gd name="connsiteY247" fmla="*/ 78954 h 111558"/>
                <a:gd name="connsiteX248" fmla="*/ 78882 w 130102"/>
                <a:gd name="connsiteY248" fmla="*/ 82524 h 111558"/>
                <a:gd name="connsiteX249" fmla="*/ 82497 w 130102"/>
                <a:gd name="connsiteY249" fmla="*/ 83772 h 111558"/>
                <a:gd name="connsiteX250" fmla="*/ 83067 w 130102"/>
                <a:gd name="connsiteY250" fmla="*/ 84431 h 111558"/>
                <a:gd name="connsiteX251" fmla="*/ 83099 w 130102"/>
                <a:gd name="connsiteY251" fmla="*/ 87172 h 111558"/>
                <a:gd name="connsiteX252" fmla="*/ 83492 w 130102"/>
                <a:gd name="connsiteY252" fmla="*/ 88200 h 111558"/>
                <a:gd name="connsiteX253" fmla="*/ 85906 w 130102"/>
                <a:gd name="connsiteY253" fmla="*/ 91066 h 111558"/>
                <a:gd name="connsiteX254" fmla="*/ 90828 w 130102"/>
                <a:gd name="connsiteY254" fmla="*/ 95255 h 111558"/>
                <a:gd name="connsiteX255" fmla="*/ 91396 w 130102"/>
                <a:gd name="connsiteY255" fmla="*/ 96225 h 111558"/>
                <a:gd name="connsiteX256" fmla="*/ 91558 w 130102"/>
                <a:gd name="connsiteY256" fmla="*/ 96935 h 111558"/>
                <a:gd name="connsiteX257" fmla="*/ 91240 w 130102"/>
                <a:gd name="connsiteY257" fmla="*/ 97480 h 111558"/>
                <a:gd name="connsiteX258" fmla="*/ 89951 w 130102"/>
                <a:gd name="connsiteY258" fmla="*/ 98053 h 111558"/>
                <a:gd name="connsiteX259" fmla="*/ 88893 w 130102"/>
                <a:gd name="connsiteY259" fmla="*/ 97413 h 111558"/>
                <a:gd name="connsiteX260" fmla="*/ 84306 w 130102"/>
                <a:gd name="connsiteY260" fmla="*/ 93321 h 111558"/>
                <a:gd name="connsiteX261" fmla="*/ 79873 w 130102"/>
                <a:gd name="connsiteY261" fmla="*/ 90738 h 111558"/>
                <a:gd name="connsiteX262" fmla="*/ 74870 w 130102"/>
                <a:gd name="connsiteY262" fmla="*/ 85865 h 111558"/>
                <a:gd name="connsiteX263" fmla="*/ 68173 w 130102"/>
                <a:gd name="connsiteY263" fmla="*/ 83938 h 111558"/>
                <a:gd name="connsiteX264" fmla="*/ 63611 w 130102"/>
                <a:gd name="connsiteY264" fmla="*/ 81802 h 111558"/>
                <a:gd name="connsiteX265" fmla="*/ 60847 w 130102"/>
                <a:gd name="connsiteY265" fmla="*/ 82129 h 111558"/>
                <a:gd name="connsiteX266" fmla="*/ 57798 w 130102"/>
                <a:gd name="connsiteY266" fmla="*/ 82801 h 111558"/>
                <a:gd name="connsiteX267" fmla="*/ 55917 w 130102"/>
                <a:gd name="connsiteY267" fmla="*/ 82822 h 111558"/>
                <a:gd name="connsiteX268" fmla="*/ 54580 w 130102"/>
                <a:gd name="connsiteY268" fmla="*/ 82438 h 111558"/>
                <a:gd name="connsiteX269" fmla="*/ 53630 w 130102"/>
                <a:gd name="connsiteY269" fmla="*/ 81113 h 111558"/>
                <a:gd name="connsiteX270" fmla="*/ 53775 w 130102"/>
                <a:gd name="connsiteY270" fmla="*/ 80088 h 111558"/>
                <a:gd name="connsiteX271" fmla="*/ 53606 w 130102"/>
                <a:gd name="connsiteY271" fmla="*/ 78749 h 111558"/>
                <a:gd name="connsiteX272" fmla="*/ 50933 w 130102"/>
                <a:gd name="connsiteY272" fmla="*/ 76610 h 111558"/>
                <a:gd name="connsiteX273" fmla="*/ 47286 w 130102"/>
                <a:gd name="connsiteY273" fmla="*/ 74575 h 111558"/>
                <a:gd name="connsiteX274" fmla="*/ 43831 w 130102"/>
                <a:gd name="connsiteY274" fmla="*/ 71940 h 111558"/>
                <a:gd name="connsiteX275" fmla="*/ 36897 w 130102"/>
                <a:gd name="connsiteY275" fmla="*/ 64811 h 111558"/>
                <a:gd name="connsiteX276" fmla="*/ 35506 w 130102"/>
                <a:gd name="connsiteY276" fmla="*/ 62516 h 111558"/>
                <a:gd name="connsiteX277" fmla="*/ 36871 w 130102"/>
                <a:gd name="connsiteY277" fmla="*/ 62079 h 111558"/>
                <a:gd name="connsiteX278" fmla="*/ 37903 w 130102"/>
                <a:gd name="connsiteY278" fmla="*/ 62118 h 111558"/>
                <a:gd name="connsiteX279" fmla="*/ 39074 w 130102"/>
                <a:gd name="connsiteY279" fmla="*/ 61647 h 111558"/>
                <a:gd name="connsiteX280" fmla="*/ 40963 w 130102"/>
                <a:gd name="connsiteY280" fmla="*/ 61635 h 111558"/>
                <a:gd name="connsiteX281" fmla="*/ 43202 w 130102"/>
                <a:gd name="connsiteY281" fmla="*/ 62104 h 111558"/>
                <a:gd name="connsiteX282" fmla="*/ 41220 w 130102"/>
                <a:gd name="connsiteY282" fmla="*/ 60576 h 111558"/>
                <a:gd name="connsiteX283" fmla="*/ 38754 w 130102"/>
                <a:gd name="connsiteY283" fmla="*/ 59076 h 111558"/>
                <a:gd name="connsiteX284" fmla="*/ 32375 w 130102"/>
                <a:gd name="connsiteY284" fmla="*/ 53109 h 111558"/>
                <a:gd name="connsiteX285" fmla="*/ 30471 w 130102"/>
                <a:gd name="connsiteY285" fmla="*/ 50286 h 111558"/>
                <a:gd name="connsiteX286" fmla="*/ 30250 w 130102"/>
                <a:gd name="connsiteY286" fmla="*/ 47241 h 111558"/>
                <a:gd name="connsiteX287" fmla="*/ 30721 w 130102"/>
                <a:gd name="connsiteY287" fmla="*/ 43060 h 111558"/>
                <a:gd name="connsiteX288" fmla="*/ 29572 w 130102"/>
                <a:gd name="connsiteY288" fmla="*/ 40063 h 111558"/>
                <a:gd name="connsiteX289" fmla="*/ 24651 w 130102"/>
                <a:gd name="connsiteY289" fmla="*/ 36179 h 111558"/>
                <a:gd name="connsiteX290" fmla="*/ 22848 w 130102"/>
                <a:gd name="connsiteY290" fmla="*/ 34128 h 111558"/>
                <a:gd name="connsiteX291" fmla="*/ 19214 w 130102"/>
                <a:gd name="connsiteY291" fmla="*/ 32910 h 111558"/>
                <a:gd name="connsiteX292" fmla="*/ 17590 w 130102"/>
                <a:gd name="connsiteY292" fmla="*/ 33030 h 111558"/>
                <a:gd name="connsiteX293" fmla="*/ 16614 w 130102"/>
                <a:gd name="connsiteY293" fmla="*/ 34545 h 111558"/>
                <a:gd name="connsiteX294" fmla="*/ 15901 w 130102"/>
                <a:gd name="connsiteY294" fmla="*/ 37910 h 111558"/>
                <a:gd name="connsiteX295" fmla="*/ 12679 w 130102"/>
                <a:gd name="connsiteY295" fmla="*/ 42343 h 111558"/>
                <a:gd name="connsiteX296" fmla="*/ 11604 w 130102"/>
                <a:gd name="connsiteY296" fmla="*/ 44267 h 111558"/>
                <a:gd name="connsiteX297" fmla="*/ 9920 w 130102"/>
                <a:gd name="connsiteY297" fmla="*/ 46766 h 111558"/>
                <a:gd name="connsiteX298" fmla="*/ 8460 w 130102"/>
                <a:gd name="connsiteY298" fmla="*/ 46938 h 111558"/>
                <a:gd name="connsiteX299" fmla="*/ 7596 w 130102"/>
                <a:gd name="connsiteY299" fmla="*/ 46718 h 111558"/>
                <a:gd name="connsiteX300" fmla="*/ 4981 w 130102"/>
                <a:gd name="connsiteY300" fmla="*/ 42510 h 111558"/>
                <a:gd name="connsiteX301" fmla="*/ 2478 w 130102"/>
                <a:gd name="connsiteY301" fmla="*/ 39319 h 111558"/>
                <a:gd name="connsiteX302" fmla="*/ 2129 w 130102"/>
                <a:gd name="connsiteY302" fmla="*/ 37807 h 111558"/>
                <a:gd name="connsiteX303" fmla="*/ 1904 w 130102"/>
                <a:gd name="connsiteY303" fmla="*/ 35946 h 111558"/>
                <a:gd name="connsiteX304" fmla="*/ 0 w 130102"/>
                <a:gd name="connsiteY304" fmla="*/ 29077 h 111558"/>
                <a:gd name="connsiteX305" fmla="*/ 1343 w 130102"/>
                <a:gd name="connsiteY305" fmla="*/ 28113 h 111558"/>
                <a:gd name="connsiteX306" fmla="*/ 2168 w 130102"/>
                <a:gd name="connsiteY306" fmla="*/ 29216 h 111558"/>
                <a:gd name="connsiteX307" fmla="*/ 7994 w 130102"/>
                <a:gd name="connsiteY307" fmla="*/ 30544 h 111558"/>
                <a:gd name="connsiteX308" fmla="*/ 9252 w 130102"/>
                <a:gd name="connsiteY308" fmla="*/ 29955 h 111558"/>
                <a:gd name="connsiteX309" fmla="*/ 10015 w 130102"/>
                <a:gd name="connsiteY309" fmla="*/ 29055 h 111558"/>
                <a:gd name="connsiteX310" fmla="*/ 10019 w 130102"/>
                <a:gd name="connsiteY310" fmla="*/ 28485 h 111558"/>
                <a:gd name="connsiteX311" fmla="*/ 10516 w 130102"/>
                <a:gd name="connsiteY311" fmla="*/ 28318 h 111558"/>
                <a:gd name="connsiteX312" fmla="*/ 12567 w 130102"/>
                <a:gd name="connsiteY312" fmla="*/ 29186 h 111558"/>
                <a:gd name="connsiteX313" fmla="*/ 14241 w 130102"/>
                <a:gd name="connsiteY313" fmla="*/ 28985 h 111558"/>
                <a:gd name="connsiteX314" fmla="*/ 16933 w 130102"/>
                <a:gd name="connsiteY314" fmla="*/ 28945 h 111558"/>
                <a:gd name="connsiteX315" fmla="*/ 18855 w 130102"/>
                <a:gd name="connsiteY315" fmla="*/ 29087 h 111558"/>
                <a:gd name="connsiteX316" fmla="*/ 20125 w 130102"/>
                <a:gd name="connsiteY316" fmla="*/ 28419 h 111558"/>
                <a:gd name="connsiteX317" fmla="*/ 21846 w 130102"/>
                <a:gd name="connsiteY317" fmla="*/ 25960 h 111558"/>
                <a:gd name="connsiteX318" fmla="*/ 22483 w 130102"/>
                <a:gd name="connsiteY318" fmla="*/ 24583 h 111558"/>
                <a:gd name="connsiteX319" fmla="*/ 23254 w 130102"/>
                <a:gd name="connsiteY319" fmla="*/ 24254 h 111558"/>
                <a:gd name="connsiteX320" fmla="*/ 23761 w 130102"/>
                <a:gd name="connsiteY320" fmla="*/ 24418 h 111558"/>
                <a:gd name="connsiteX321" fmla="*/ 24133 w 130102"/>
                <a:gd name="connsiteY321" fmla="*/ 25550 h 111558"/>
                <a:gd name="connsiteX322" fmla="*/ 25038 w 130102"/>
                <a:gd name="connsiteY322" fmla="*/ 26613 h 111558"/>
                <a:gd name="connsiteX323" fmla="*/ 26897 w 130102"/>
                <a:gd name="connsiteY323" fmla="*/ 28344 h 111558"/>
                <a:gd name="connsiteX324" fmla="*/ 28212 w 130102"/>
                <a:gd name="connsiteY324" fmla="*/ 29175 h 111558"/>
                <a:gd name="connsiteX325" fmla="*/ 29406 w 130102"/>
                <a:gd name="connsiteY325" fmla="*/ 29474 h 111558"/>
                <a:gd name="connsiteX326" fmla="*/ 30576 w 130102"/>
                <a:gd name="connsiteY326" fmla="*/ 28778 h 111558"/>
                <a:gd name="connsiteX327" fmla="*/ 31784 w 130102"/>
                <a:gd name="connsiteY327" fmla="*/ 28580 h 111558"/>
                <a:gd name="connsiteX328" fmla="*/ 35230 w 130102"/>
                <a:gd name="connsiteY328" fmla="*/ 29929 h 111558"/>
                <a:gd name="connsiteX329" fmla="*/ 38141 w 130102"/>
                <a:gd name="connsiteY329" fmla="*/ 30186 h 111558"/>
                <a:gd name="connsiteX330" fmla="*/ 40294 w 130102"/>
                <a:gd name="connsiteY330" fmla="*/ 29482 h 111558"/>
                <a:gd name="connsiteX331" fmla="*/ 40011 w 130102"/>
                <a:gd name="connsiteY331" fmla="*/ 28514 h 111558"/>
                <a:gd name="connsiteX332" fmla="*/ 39227 w 130102"/>
                <a:gd name="connsiteY332" fmla="*/ 27435 h 111558"/>
                <a:gd name="connsiteX333" fmla="*/ 39058 w 130102"/>
                <a:gd name="connsiteY333" fmla="*/ 26387 h 111558"/>
                <a:gd name="connsiteX334" fmla="*/ 39203 w 130102"/>
                <a:gd name="connsiteY334" fmla="*/ 25481 h 111558"/>
                <a:gd name="connsiteX335" fmla="*/ 40680 w 130102"/>
                <a:gd name="connsiteY335" fmla="*/ 24577 h 111558"/>
                <a:gd name="connsiteX336" fmla="*/ 40609 w 130102"/>
                <a:gd name="connsiteY336" fmla="*/ 24180 h 111558"/>
                <a:gd name="connsiteX337" fmla="*/ 38823 w 130102"/>
                <a:gd name="connsiteY337" fmla="*/ 22589 h 111558"/>
                <a:gd name="connsiteX338" fmla="*/ 38914 w 130102"/>
                <a:gd name="connsiteY338" fmla="*/ 22179 h 111558"/>
                <a:gd name="connsiteX339" fmla="*/ 42829 w 130102"/>
                <a:gd name="connsiteY339" fmla="*/ 20389 h 111558"/>
                <a:gd name="connsiteX340" fmla="*/ 46603 w 130102"/>
                <a:gd name="connsiteY340" fmla="*/ 19384 h 111558"/>
                <a:gd name="connsiteX341" fmla="*/ 47208 w 130102"/>
                <a:gd name="connsiteY341" fmla="*/ 18609 h 111558"/>
                <a:gd name="connsiteX342" fmla="*/ 47560 w 130102"/>
                <a:gd name="connsiteY342" fmla="*/ 17443 h 111558"/>
                <a:gd name="connsiteX343" fmla="*/ 47726 w 130102"/>
                <a:gd name="connsiteY343" fmla="*/ 15256 h 111558"/>
                <a:gd name="connsiteX344" fmla="*/ 47519 w 130102"/>
                <a:gd name="connsiteY344" fmla="*/ 13466 h 111558"/>
                <a:gd name="connsiteX345" fmla="*/ 45986 w 130102"/>
                <a:gd name="connsiteY345" fmla="*/ 11787 h 111558"/>
                <a:gd name="connsiteX346" fmla="*/ 45891 w 130102"/>
                <a:gd name="connsiteY346" fmla="*/ 10937 h 111558"/>
                <a:gd name="connsiteX347" fmla="*/ 46254 w 130102"/>
                <a:gd name="connsiteY347" fmla="*/ 10054 h 111558"/>
                <a:gd name="connsiteX348" fmla="*/ 46849 w 130102"/>
                <a:gd name="connsiteY348" fmla="*/ 9256 h 111558"/>
                <a:gd name="connsiteX349" fmla="*/ 48359 w 130102"/>
                <a:gd name="connsiteY349" fmla="*/ 8910 h 111558"/>
                <a:gd name="connsiteX350" fmla="*/ 50130 w 130102"/>
                <a:gd name="connsiteY350" fmla="*/ 8336 h 111558"/>
                <a:gd name="connsiteX351" fmla="*/ 51529 w 130102"/>
                <a:gd name="connsiteY351" fmla="*/ 7675 h 111558"/>
                <a:gd name="connsiteX352" fmla="*/ 53425 w 130102"/>
                <a:gd name="connsiteY352" fmla="*/ 7127 h 111558"/>
                <a:gd name="connsiteX353" fmla="*/ 54915 w 130102"/>
                <a:gd name="connsiteY353" fmla="*/ 6359 h 111558"/>
                <a:gd name="connsiteX354" fmla="*/ 56370 w 130102"/>
                <a:gd name="connsiteY354" fmla="*/ 4531 h 111558"/>
                <a:gd name="connsiteX355" fmla="*/ 57253 w 130102"/>
                <a:gd name="connsiteY355" fmla="*/ 4229 h 111558"/>
                <a:gd name="connsiteX356" fmla="*/ 59929 w 130102"/>
                <a:gd name="connsiteY356" fmla="*/ 4489 h 111558"/>
                <a:gd name="connsiteX357" fmla="*/ 60501 w 130102"/>
                <a:gd name="connsiteY357" fmla="*/ 4038 h 111558"/>
                <a:gd name="connsiteX358" fmla="*/ 60134 w 130102"/>
                <a:gd name="connsiteY358" fmla="*/ 1410 h 111558"/>
                <a:gd name="connsiteX359" fmla="*/ 60613 w 130102"/>
                <a:gd name="connsiteY359" fmla="*/ 742 h 111558"/>
                <a:gd name="connsiteX360" fmla="*/ 61559 w 130102"/>
                <a:gd name="connsiteY360" fmla="*/ 368 h 11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Lst>
              <a:rect l="l" t="t" r="r" b="b"/>
              <a:pathLst>
                <a:path w="130102" h="111558">
                  <a:moveTo>
                    <a:pt x="86563" y="101746"/>
                  </a:moveTo>
                  <a:lnTo>
                    <a:pt x="90452" y="102584"/>
                  </a:lnTo>
                  <a:lnTo>
                    <a:pt x="93469" y="104421"/>
                  </a:lnTo>
                  <a:lnTo>
                    <a:pt x="84622" y="102014"/>
                  </a:lnTo>
                  <a:lnTo>
                    <a:pt x="85626" y="101793"/>
                  </a:lnTo>
                  <a:close/>
                  <a:moveTo>
                    <a:pt x="69288" y="96494"/>
                  </a:moveTo>
                  <a:lnTo>
                    <a:pt x="73375" y="97242"/>
                  </a:lnTo>
                  <a:lnTo>
                    <a:pt x="76373" y="96898"/>
                  </a:lnTo>
                  <a:lnTo>
                    <a:pt x="79083" y="97357"/>
                  </a:lnTo>
                  <a:lnTo>
                    <a:pt x="80767" y="98207"/>
                  </a:lnTo>
                  <a:lnTo>
                    <a:pt x="81175" y="98624"/>
                  </a:lnTo>
                  <a:lnTo>
                    <a:pt x="78988" y="98682"/>
                  </a:lnTo>
                  <a:lnTo>
                    <a:pt x="76515" y="98337"/>
                  </a:lnTo>
                  <a:lnTo>
                    <a:pt x="73710" y="99201"/>
                  </a:lnTo>
                  <a:lnTo>
                    <a:pt x="71238" y="98739"/>
                  </a:lnTo>
                  <a:lnTo>
                    <a:pt x="70298" y="98178"/>
                  </a:lnTo>
                  <a:lnTo>
                    <a:pt x="69633" y="97476"/>
                  </a:lnTo>
                  <a:close/>
                  <a:moveTo>
                    <a:pt x="81872" y="95708"/>
                  </a:moveTo>
                  <a:lnTo>
                    <a:pt x="93013" y="100400"/>
                  </a:lnTo>
                  <a:lnTo>
                    <a:pt x="91773" y="99158"/>
                  </a:lnTo>
                  <a:lnTo>
                    <a:pt x="93380" y="98666"/>
                  </a:lnTo>
                  <a:lnTo>
                    <a:pt x="94745" y="99020"/>
                  </a:lnTo>
                  <a:lnTo>
                    <a:pt x="95615" y="100551"/>
                  </a:lnTo>
                  <a:lnTo>
                    <a:pt x="97330" y="101558"/>
                  </a:lnTo>
                  <a:lnTo>
                    <a:pt x="100109" y="103327"/>
                  </a:lnTo>
                  <a:lnTo>
                    <a:pt x="101864" y="104682"/>
                  </a:lnTo>
                  <a:lnTo>
                    <a:pt x="105846" y="107117"/>
                  </a:lnTo>
                  <a:lnTo>
                    <a:pt x="106788" y="107457"/>
                  </a:lnTo>
                  <a:lnTo>
                    <a:pt x="108772" y="108176"/>
                  </a:lnTo>
                  <a:lnTo>
                    <a:pt x="108811" y="109157"/>
                  </a:lnTo>
                  <a:lnTo>
                    <a:pt x="109664" y="110273"/>
                  </a:lnTo>
                  <a:lnTo>
                    <a:pt x="110566" y="111558"/>
                  </a:lnTo>
                  <a:lnTo>
                    <a:pt x="106488" y="109026"/>
                  </a:lnTo>
                  <a:lnTo>
                    <a:pt x="102676" y="106192"/>
                  </a:lnTo>
                  <a:lnTo>
                    <a:pt x="95229" y="101826"/>
                  </a:lnTo>
                  <a:lnTo>
                    <a:pt x="89946" y="100762"/>
                  </a:lnTo>
                  <a:lnTo>
                    <a:pt x="82721" y="97247"/>
                  </a:lnTo>
                  <a:lnTo>
                    <a:pt x="78016" y="96003"/>
                  </a:lnTo>
                  <a:lnTo>
                    <a:pt x="79808" y="95716"/>
                  </a:lnTo>
                  <a:close/>
                  <a:moveTo>
                    <a:pt x="66429" y="90251"/>
                  </a:moveTo>
                  <a:lnTo>
                    <a:pt x="69404" y="90667"/>
                  </a:lnTo>
                  <a:lnTo>
                    <a:pt x="70318" y="91709"/>
                  </a:lnTo>
                  <a:lnTo>
                    <a:pt x="78364" y="92543"/>
                  </a:lnTo>
                  <a:lnTo>
                    <a:pt x="81302" y="93029"/>
                  </a:lnTo>
                  <a:lnTo>
                    <a:pt x="79756" y="93307"/>
                  </a:lnTo>
                  <a:lnTo>
                    <a:pt x="69918" y="93100"/>
                  </a:lnTo>
                  <a:lnTo>
                    <a:pt x="67057" y="92543"/>
                  </a:lnTo>
                  <a:lnTo>
                    <a:pt x="63874" y="91108"/>
                  </a:lnTo>
                  <a:lnTo>
                    <a:pt x="63224" y="90667"/>
                  </a:lnTo>
                  <a:close/>
                  <a:moveTo>
                    <a:pt x="64827" y="86010"/>
                  </a:moveTo>
                  <a:lnTo>
                    <a:pt x="68202" y="86149"/>
                  </a:lnTo>
                  <a:lnTo>
                    <a:pt x="73350" y="86984"/>
                  </a:lnTo>
                  <a:lnTo>
                    <a:pt x="74609" y="87957"/>
                  </a:lnTo>
                  <a:lnTo>
                    <a:pt x="74218" y="88406"/>
                  </a:lnTo>
                  <a:lnTo>
                    <a:pt x="72263" y="89139"/>
                  </a:lnTo>
                  <a:lnTo>
                    <a:pt x="68774" y="89209"/>
                  </a:lnTo>
                  <a:lnTo>
                    <a:pt x="65742" y="88722"/>
                  </a:lnTo>
                  <a:lnTo>
                    <a:pt x="64256" y="87887"/>
                  </a:lnTo>
                  <a:lnTo>
                    <a:pt x="64367" y="87184"/>
                  </a:lnTo>
                  <a:close/>
                  <a:moveTo>
                    <a:pt x="38758" y="69183"/>
                  </a:moveTo>
                  <a:lnTo>
                    <a:pt x="41000" y="70181"/>
                  </a:lnTo>
                  <a:lnTo>
                    <a:pt x="42455" y="72191"/>
                  </a:lnTo>
                  <a:lnTo>
                    <a:pt x="41063" y="71778"/>
                  </a:lnTo>
                  <a:lnTo>
                    <a:pt x="39611" y="70534"/>
                  </a:lnTo>
                  <a:close/>
                  <a:moveTo>
                    <a:pt x="34243" y="65203"/>
                  </a:moveTo>
                  <a:lnTo>
                    <a:pt x="37897" y="67787"/>
                  </a:lnTo>
                  <a:lnTo>
                    <a:pt x="38242" y="68741"/>
                  </a:lnTo>
                  <a:lnTo>
                    <a:pt x="35483" y="66947"/>
                  </a:lnTo>
                  <a:lnTo>
                    <a:pt x="34437" y="65741"/>
                  </a:lnTo>
                  <a:close/>
                  <a:moveTo>
                    <a:pt x="29804" y="64924"/>
                  </a:moveTo>
                  <a:lnTo>
                    <a:pt x="31738" y="66300"/>
                  </a:lnTo>
                  <a:lnTo>
                    <a:pt x="36962" y="71573"/>
                  </a:lnTo>
                  <a:lnTo>
                    <a:pt x="37277" y="71969"/>
                  </a:lnTo>
                  <a:lnTo>
                    <a:pt x="37247" y="72239"/>
                  </a:lnTo>
                  <a:lnTo>
                    <a:pt x="36100" y="71858"/>
                  </a:lnTo>
                  <a:lnTo>
                    <a:pt x="35791" y="71981"/>
                  </a:lnTo>
                  <a:lnTo>
                    <a:pt x="30384" y="66074"/>
                  </a:lnTo>
                  <a:close/>
                  <a:moveTo>
                    <a:pt x="27080" y="50537"/>
                  </a:moveTo>
                  <a:lnTo>
                    <a:pt x="28449" y="51863"/>
                  </a:lnTo>
                  <a:lnTo>
                    <a:pt x="29590" y="52692"/>
                  </a:lnTo>
                  <a:lnTo>
                    <a:pt x="30533" y="52894"/>
                  </a:lnTo>
                  <a:lnTo>
                    <a:pt x="32930" y="54978"/>
                  </a:lnTo>
                  <a:lnTo>
                    <a:pt x="35286" y="57656"/>
                  </a:lnTo>
                  <a:lnTo>
                    <a:pt x="38093" y="59980"/>
                  </a:lnTo>
                  <a:lnTo>
                    <a:pt x="37510" y="60052"/>
                  </a:lnTo>
                  <a:lnTo>
                    <a:pt x="36955" y="60373"/>
                  </a:lnTo>
                  <a:lnTo>
                    <a:pt x="36383" y="61094"/>
                  </a:lnTo>
                  <a:lnTo>
                    <a:pt x="34954" y="59765"/>
                  </a:lnTo>
                  <a:lnTo>
                    <a:pt x="33641" y="58817"/>
                  </a:lnTo>
                  <a:lnTo>
                    <a:pt x="32701" y="57695"/>
                  </a:lnTo>
                  <a:lnTo>
                    <a:pt x="30859" y="56295"/>
                  </a:lnTo>
                  <a:lnTo>
                    <a:pt x="30237" y="54693"/>
                  </a:lnTo>
                  <a:lnTo>
                    <a:pt x="27491" y="51425"/>
                  </a:lnTo>
                  <a:close/>
                  <a:moveTo>
                    <a:pt x="25944" y="46425"/>
                  </a:moveTo>
                  <a:lnTo>
                    <a:pt x="27353" y="46516"/>
                  </a:lnTo>
                  <a:lnTo>
                    <a:pt x="27564" y="47155"/>
                  </a:lnTo>
                  <a:lnTo>
                    <a:pt x="29061" y="48859"/>
                  </a:lnTo>
                  <a:lnTo>
                    <a:pt x="29618" y="50061"/>
                  </a:lnTo>
                  <a:lnTo>
                    <a:pt x="27536" y="48976"/>
                  </a:lnTo>
                  <a:lnTo>
                    <a:pt x="25672" y="48561"/>
                  </a:lnTo>
                  <a:lnTo>
                    <a:pt x="25277" y="47744"/>
                  </a:lnTo>
                  <a:lnTo>
                    <a:pt x="25545" y="47074"/>
                  </a:lnTo>
                  <a:close/>
                  <a:moveTo>
                    <a:pt x="18596" y="37698"/>
                  </a:moveTo>
                  <a:lnTo>
                    <a:pt x="18838" y="40065"/>
                  </a:lnTo>
                  <a:lnTo>
                    <a:pt x="19382" y="41424"/>
                  </a:lnTo>
                  <a:lnTo>
                    <a:pt x="21010" y="43092"/>
                  </a:lnTo>
                  <a:lnTo>
                    <a:pt x="20682" y="45851"/>
                  </a:lnTo>
                  <a:lnTo>
                    <a:pt x="21015" y="49774"/>
                  </a:lnTo>
                  <a:lnTo>
                    <a:pt x="21345" y="50646"/>
                  </a:lnTo>
                  <a:lnTo>
                    <a:pt x="21468" y="51553"/>
                  </a:lnTo>
                  <a:lnTo>
                    <a:pt x="21297" y="52610"/>
                  </a:lnTo>
                  <a:lnTo>
                    <a:pt x="19952" y="51274"/>
                  </a:lnTo>
                  <a:lnTo>
                    <a:pt x="19274" y="48876"/>
                  </a:lnTo>
                  <a:lnTo>
                    <a:pt x="17583" y="44999"/>
                  </a:lnTo>
                  <a:lnTo>
                    <a:pt x="17365" y="43906"/>
                  </a:lnTo>
                  <a:lnTo>
                    <a:pt x="18242" y="42826"/>
                  </a:lnTo>
                  <a:lnTo>
                    <a:pt x="18195" y="41732"/>
                  </a:lnTo>
                  <a:lnTo>
                    <a:pt x="16996" y="38322"/>
                  </a:lnTo>
                  <a:lnTo>
                    <a:pt x="18000" y="37765"/>
                  </a:lnTo>
                  <a:close/>
                  <a:moveTo>
                    <a:pt x="23304" y="36128"/>
                  </a:moveTo>
                  <a:lnTo>
                    <a:pt x="24606" y="37408"/>
                  </a:lnTo>
                  <a:lnTo>
                    <a:pt x="26180" y="39816"/>
                  </a:lnTo>
                  <a:lnTo>
                    <a:pt x="27020" y="40488"/>
                  </a:lnTo>
                  <a:lnTo>
                    <a:pt x="28592" y="42905"/>
                  </a:lnTo>
                  <a:lnTo>
                    <a:pt x="25867" y="43491"/>
                  </a:lnTo>
                  <a:lnTo>
                    <a:pt x="24569" y="42443"/>
                  </a:lnTo>
                  <a:lnTo>
                    <a:pt x="24230" y="41583"/>
                  </a:lnTo>
                  <a:lnTo>
                    <a:pt x="21991" y="41310"/>
                  </a:lnTo>
                  <a:lnTo>
                    <a:pt x="20635" y="40112"/>
                  </a:lnTo>
                  <a:lnTo>
                    <a:pt x="20358" y="39581"/>
                  </a:lnTo>
                  <a:lnTo>
                    <a:pt x="22276" y="38262"/>
                  </a:lnTo>
                  <a:close/>
                  <a:moveTo>
                    <a:pt x="62002" y="0"/>
                  </a:moveTo>
                  <a:lnTo>
                    <a:pt x="64356" y="284"/>
                  </a:lnTo>
                  <a:lnTo>
                    <a:pt x="66314" y="964"/>
                  </a:lnTo>
                  <a:lnTo>
                    <a:pt x="67502" y="1378"/>
                  </a:lnTo>
                  <a:lnTo>
                    <a:pt x="71441" y="3281"/>
                  </a:lnTo>
                  <a:lnTo>
                    <a:pt x="74170" y="5419"/>
                  </a:lnTo>
                  <a:lnTo>
                    <a:pt x="75684" y="7791"/>
                  </a:lnTo>
                  <a:lnTo>
                    <a:pt x="77735" y="9628"/>
                  </a:lnTo>
                  <a:lnTo>
                    <a:pt x="80320" y="10927"/>
                  </a:lnTo>
                  <a:lnTo>
                    <a:pt x="82367" y="12689"/>
                  </a:lnTo>
                  <a:lnTo>
                    <a:pt x="83881" y="14912"/>
                  </a:lnTo>
                  <a:lnTo>
                    <a:pt x="85997" y="16156"/>
                  </a:lnTo>
                  <a:lnTo>
                    <a:pt x="88714" y="16426"/>
                  </a:lnTo>
                  <a:lnTo>
                    <a:pt x="90435" y="17186"/>
                  </a:lnTo>
                  <a:lnTo>
                    <a:pt x="91156" y="18438"/>
                  </a:lnTo>
                  <a:lnTo>
                    <a:pt x="92633" y="19572"/>
                  </a:lnTo>
                  <a:lnTo>
                    <a:pt x="94859" y="20586"/>
                  </a:lnTo>
                  <a:lnTo>
                    <a:pt x="98325" y="21142"/>
                  </a:lnTo>
                  <a:lnTo>
                    <a:pt x="104961" y="21274"/>
                  </a:lnTo>
                  <a:lnTo>
                    <a:pt x="105550" y="21302"/>
                  </a:lnTo>
                  <a:lnTo>
                    <a:pt x="107047" y="21617"/>
                  </a:lnTo>
                  <a:lnTo>
                    <a:pt x="108794" y="21223"/>
                  </a:lnTo>
                  <a:lnTo>
                    <a:pt x="110923" y="20429"/>
                  </a:lnTo>
                  <a:lnTo>
                    <a:pt x="111609" y="19956"/>
                  </a:lnTo>
                  <a:lnTo>
                    <a:pt x="113851" y="17359"/>
                  </a:lnTo>
                  <a:lnTo>
                    <a:pt x="115084" y="17583"/>
                  </a:lnTo>
                  <a:lnTo>
                    <a:pt x="117544" y="17266"/>
                  </a:lnTo>
                  <a:lnTo>
                    <a:pt x="119031" y="16690"/>
                  </a:lnTo>
                  <a:lnTo>
                    <a:pt x="119144" y="16690"/>
                  </a:lnTo>
                  <a:lnTo>
                    <a:pt x="119049" y="17355"/>
                  </a:lnTo>
                  <a:lnTo>
                    <a:pt x="118882" y="18516"/>
                  </a:lnTo>
                  <a:lnTo>
                    <a:pt x="117677" y="19338"/>
                  </a:lnTo>
                  <a:lnTo>
                    <a:pt x="118904" y="21229"/>
                  </a:lnTo>
                  <a:lnTo>
                    <a:pt x="120070" y="24293"/>
                  </a:lnTo>
                  <a:lnTo>
                    <a:pt x="119420" y="25806"/>
                  </a:lnTo>
                  <a:lnTo>
                    <a:pt x="120212" y="26983"/>
                  </a:lnTo>
                  <a:lnTo>
                    <a:pt x="122454" y="27828"/>
                  </a:lnTo>
                  <a:lnTo>
                    <a:pt x="122657" y="28165"/>
                  </a:lnTo>
                  <a:lnTo>
                    <a:pt x="121972" y="28517"/>
                  </a:lnTo>
                  <a:lnTo>
                    <a:pt x="121405" y="29516"/>
                  </a:lnTo>
                  <a:lnTo>
                    <a:pt x="121340" y="31336"/>
                  </a:lnTo>
                  <a:lnTo>
                    <a:pt x="123294" y="33054"/>
                  </a:lnTo>
                  <a:lnTo>
                    <a:pt x="127269" y="34670"/>
                  </a:lnTo>
                  <a:lnTo>
                    <a:pt x="128539" y="34941"/>
                  </a:lnTo>
                  <a:lnTo>
                    <a:pt x="129025" y="35562"/>
                  </a:lnTo>
                  <a:lnTo>
                    <a:pt x="129690" y="35968"/>
                  </a:lnTo>
                  <a:lnTo>
                    <a:pt x="130081" y="36464"/>
                  </a:lnTo>
                  <a:lnTo>
                    <a:pt x="130102" y="37105"/>
                  </a:lnTo>
                  <a:lnTo>
                    <a:pt x="129818" y="37545"/>
                  </a:lnTo>
                  <a:lnTo>
                    <a:pt x="127937" y="37702"/>
                  </a:lnTo>
                  <a:lnTo>
                    <a:pt x="125790" y="37688"/>
                  </a:lnTo>
                  <a:lnTo>
                    <a:pt x="124264" y="36909"/>
                  </a:lnTo>
                  <a:lnTo>
                    <a:pt x="124128" y="37477"/>
                  </a:lnTo>
                  <a:lnTo>
                    <a:pt x="124104" y="38128"/>
                  </a:lnTo>
                  <a:lnTo>
                    <a:pt x="122627" y="38525"/>
                  </a:lnTo>
                  <a:lnTo>
                    <a:pt x="123447" y="42995"/>
                  </a:lnTo>
                  <a:lnTo>
                    <a:pt x="123121" y="44279"/>
                  </a:lnTo>
                  <a:lnTo>
                    <a:pt x="122575" y="44710"/>
                  </a:lnTo>
                  <a:lnTo>
                    <a:pt x="122067" y="44531"/>
                  </a:lnTo>
                  <a:lnTo>
                    <a:pt x="121448" y="44481"/>
                  </a:lnTo>
                  <a:lnTo>
                    <a:pt x="121137" y="44900"/>
                  </a:lnTo>
                  <a:lnTo>
                    <a:pt x="121394" y="45851"/>
                  </a:lnTo>
                  <a:lnTo>
                    <a:pt x="119938" y="45960"/>
                  </a:lnTo>
                  <a:lnTo>
                    <a:pt x="117619" y="45467"/>
                  </a:lnTo>
                  <a:lnTo>
                    <a:pt x="116557" y="44603"/>
                  </a:lnTo>
                  <a:lnTo>
                    <a:pt x="116375" y="43720"/>
                  </a:lnTo>
                  <a:lnTo>
                    <a:pt x="116358" y="42900"/>
                  </a:lnTo>
                  <a:lnTo>
                    <a:pt x="115622" y="41553"/>
                  </a:lnTo>
                  <a:lnTo>
                    <a:pt x="113776" y="40161"/>
                  </a:lnTo>
                  <a:lnTo>
                    <a:pt x="109921" y="39931"/>
                  </a:lnTo>
                  <a:lnTo>
                    <a:pt x="108498" y="39489"/>
                  </a:lnTo>
                  <a:lnTo>
                    <a:pt x="107032" y="38981"/>
                  </a:lnTo>
                  <a:lnTo>
                    <a:pt x="105425" y="38605"/>
                  </a:lnTo>
                  <a:lnTo>
                    <a:pt x="103944" y="38643"/>
                  </a:lnTo>
                  <a:lnTo>
                    <a:pt x="102158" y="39013"/>
                  </a:lnTo>
                  <a:lnTo>
                    <a:pt x="99042" y="38400"/>
                  </a:lnTo>
                  <a:lnTo>
                    <a:pt x="97988" y="39218"/>
                  </a:lnTo>
                  <a:lnTo>
                    <a:pt x="96347" y="40166"/>
                  </a:lnTo>
                  <a:lnTo>
                    <a:pt x="94984" y="40142"/>
                  </a:lnTo>
                  <a:lnTo>
                    <a:pt x="92272" y="37945"/>
                  </a:lnTo>
                  <a:lnTo>
                    <a:pt x="91463" y="37806"/>
                  </a:lnTo>
                  <a:lnTo>
                    <a:pt x="89091" y="38926"/>
                  </a:lnTo>
                  <a:lnTo>
                    <a:pt x="88126" y="38986"/>
                  </a:lnTo>
                  <a:lnTo>
                    <a:pt x="87386" y="38632"/>
                  </a:lnTo>
                  <a:lnTo>
                    <a:pt x="84179" y="37793"/>
                  </a:lnTo>
                  <a:lnTo>
                    <a:pt x="82732" y="37612"/>
                  </a:lnTo>
                  <a:lnTo>
                    <a:pt x="81670" y="38009"/>
                  </a:lnTo>
                  <a:lnTo>
                    <a:pt x="79785" y="37579"/>
                  </a:lnTo>
                  <a:lnTo>
                    <a:pt x="75213" y="34708"/>
                  </a:lnTo>
                  <a:lnTo>
                    <a:pt x="72387" y="36891"/>
                  </a:lnTo>
                  <a:lnTo>
                    <a:pt x="66634" y="36348"/>
                  </a:lnTo>
                  <a:lnTo>
                    <a:pt x="64928" y="37846"/>
                  </a:lnTo>
                  <a:lnTo>
                    <a:pt x="62972" y="40683"/>
                  </a:lnTo>
                  <a:lnTo>
                    <a:pt x="61387" y="42037"/>
                  </a:lnTo>
                  <a:lnTo>
                    <a:pt x="60009" y="41551"/>
                  </a:lnTo>
                  <a:lnTo>
                    <a:pt x="58379" y="40303"/>
                  </a:lnTo>
                  <a:lnTo>
                    <a:pt x="55526" y="37091"/>
                  </a:lnTo>
                  <a:lnTo>
                    <a:pt x="54086" y="36511"/>
                  </a:lnTo>
                  <a:lnTo>
                    <a:pt x="52429" y="36375"/>
                  </a:lnTo>
                  <a:lnTo>
                    <a:pt x="50983" y="36730"/>
                  </a:lnTo>
                  <a:lnTo>
                    <a:pt x="50214" y="37382"/>
                  </a:lnTo>
                  <a:lnTo>
                    <a:pt x="49626" y="42073"/>
                  </a:lnTo>
                  <a:lnTo>
                    <a:pt x="49106" y="46200"/>
                  </a:lnTo>
                  <a:lnTo>
                    <a:pt x="49076" y="48671"/>
                  </a:lnTo>
                  <a:lnTo>
                    <a:pt x="52248" y="50957"/>
                  </a:lnTo>
                  <a:lnTo>
                    <a:pt x="55984" y="54887"/>
                  </a:lnTo>
                  <a:lnTo>
                    <a:pt x="57187" y="55338"/>
                  </a:lnTo>
                  <a:lnTo>
                    <a:pt x="57781" y="56624"/>
                  </a:lnTo>
                  <a:lnTo>
                    <a:pt x="58655" y="59931"/>
                  </a:lnTo>
                  <a:lnTo>
                    <a:pt x="59637" y="63645"/>
                  </a:lnTo>
                  <a:lnTo>
                    <a:pt x="61536" y="66102"/>
                  </a:lnTo>
                  <a:lnTo>
                    <a:pt x="63248" y="67859"/>
                  </a:lnTo>
                  <a:lnTo>
                    <a:pt x="65338" y="69403"/>
                  </a:lnTo>
                  <a:lnTo>
                    <a:pt x="67957" y="71822"/>
                  </a:lnTo>
                  <a:lnTo>
                    <a:pt x="70106" y="74474"/>
                  </a:lnTo>
                  <a:lnTo>
                    <a:pt x="70676" y="75452"/>
                  </a:lnTo>
                  <a:lnTo>
                    <a:pt x="74842" y="78954"/>
                  </a:lnTo>
                  <a:lnTo>
                    <a:pt x="78882" y="82524"/>
                  </a:lnTo>
                  <a:lnTo>
                    <a:pt x="82497" y="83772"/>
                  </a:lnTo>
                  <a:lnTo>
                    <a:pt x="83067" y="84431"/>
                  </a:lnTo>
                  <a:lnTo>
                    <a:pt x="83099" y="87172"/>
                  </a:lnTo>
                  <a:lnTo>
                    <a:pt x="83492" y="88200"/>
                  </a:lnTo>
                  <a:lnTo>
                    <a:pt x="85906" y="91066"/>
                  </a:lnTo>
                  <a:lnTo>
                    <a:pt x="90828" y="95255"/>
                  </a:lnTo>
                  <a:lnTo>
                    <a:pt x="91396" y="96225"/>
                  </a:lnTo>
                  <a:lnTo>
                    <a:pt x="91558" y="96935"/>
                  </a:lnTo>
                  <a:lnTo>
                    <a:pt x="91240" y="97480"/>
                  </a:lnTo>
                  <a:lnTo>
                    <a:pt x="89951" y="98053"/>
                  </a:lnTo>
                  <a:lnTo>
                    <a:pt x="88893" y="97413"/>
                  </a:lnTo>
                  <a:lnTo>
                    <a:pt x="84306" y="93321"/>
                  </a:lnTo>
                  <a:lnTo>
                    <a:pt x="79873" y="90738"/>
                  </a:lnTo>
                  <a:lnTo>
                    <a:pt x="74870" y="85865"/>
                  </a:lnTo>
                  <a:lnTo>
                    <a:pt x="68173" y="83938"/>
                  </a:lnTo>
                  <a:lnTo>
                    <a:pt x="63611" y="81802"/>
                  </a:lnTo>
                  <a:lnTo>
                    <a:pt x="60847" y="82129"/>
                  </a:lnTo>
                  <a:lnTo>
                    <a:pt x="57798" y="82801"/>
                  </a:lnTo>
                  <a:lnTo>
                    <a:pt x="55917" y="82822"/>
                  </a:lnTo>
                  <a:lnTo>
                    <a:pt x="54580" y="82438"/>
                  </a:lnTo>
                  <a:lnTo>
                    <a:pt x="53630" y="81113"/>
                  </a:lnTo>
                  <a:lnTo>
                    <a:pt x="53775" y="80088"/>
                  </a:lnTo>
                  <a:lnTo>
                    <a:pt x="53606" y="78749"/>
                  </a:lnTo>
                  <a:lnTo>
                    <a:pt x="50933" y="76610"/>
                  </a:lnTo>
                  <a:lnTo>
                    <a:pt x="47286" y="74575"/>
                  </a:lnTo>
                  <a:lnTo>
                    <a:pt x="43831" y="71940"/>
                  </a:lnTo>
                  <a:lnTo>
                    <a:pt x="36897" y="64811"/>
                  </a:lnTo>
                  <a:lnTo>
                    <a:pt x="35506" y="62516"/>
                  </a:lnTo>
                  <a:lnTo>
                    <a:pt x="36871" y="62079"/>
                  </a:lnTo>
                  <a:lnTo>
                    <a:pt x="37903" y="62118"/>
                  </a:lnTo>
                  <a:lnTo>
                    <a:pt x="39074" y="61647"/>
                  </a:lnTo>
                  <a:lnTo>
                    <a:pt x="40963" y="61635"/>
                  </a:lnTo>
                  <a:lnTo>
                    <a:pt x="43202" y="62104"/>
                  </a:lnTo>
                  <a:lnTo>
                    <a:pt x="41220" y="60576"/>
                  </a:lnTo>
                  <a:lnTo>
                    <a:pt x="38754" y="59076"/>
                  </a:lnTo>
                  <a:lnTo>
                    <a:pt x="32375" y="53109"/>
                  </a:lnTo>
                  <a:lnTo>
                    <a:pt x="30471" y="50286"/>
                  </a:lnTo>
                  <a:lnTo>
                    <a:pt x="30250" y="47241"/>
                  </a:lnTo>
                  <a:lnTo>
                    <a:pt x="30721" y="43060"/>
                  </a:lnTo>
                  <a:lnTo>
                    <a:pt x="29572" y="40063"/>
                  </a:lnTo>
                  <a:lnTo>
                    <a:pt x="24651" y="36179"/>
                  </a:lnTo>
                  <a:lnTo>
                    <a:pt x="22848" y="34128"/>
                  </a:lnTo>
                  <a:lnTo>
                    <a:pt x="19214" y="32910"/>
                  </a:lnTo>
                  <a:lnTo>
                    <a:pt x="17590" y="33030"/>
                  </a:lnTo>
                  <a:lnTo>
                    <a:pt x="16614" y="34545"/>
                  </a:lnTo>
                  <a:lnTo>
                    <a:pt x="15901" y="37910"/>
                  </a:lnTo>
                  <a:lnTo>
                    <a:pt x="12679" y="42343"/>
                  </a:lnTo>
                  <a:lnTo>
                    <a:pt x="11604" y="44267"/>
                  </a:lnTo>
                  <a:lnTo>
                    <a:pt x="9920" y="46766"/>
                  </a:lnTo>
                  <a:lnTo>
                    <a:pt x="8460" y="46938"/>
                  </a:lnTo>
                  <a:lnTo>
                    <a:pt x="7596" y="46718"/>
                  </a:lnTo>
                  <a:lnTo>
                    <a:pt x="4981" y="42510"/>
                  </a:lnTo>
                  <a:lnTo>
                    <a:pt x="2478" y="39319"/>
                  </a:lnTo>
                  <a:lnTo>
                    <a:pt x="2129" y="37807"/>
                  </a:lnTo>
                  <a:lnTo>
                    <a:pt x="1904" y="35946"/>
                  </a:lnTo>
                  <a:lnTo>
                    <a:pt x="0" y="29077"/>
                  </a:lnTo>
                  <a:lnTo>
                    <a:pt x="1343" y="28113"/>
                  </a:lnTo>
                  <a:lnTo>
                    <a:pt x="2168" y="29216"/>
                  </a:lnTo>
                  <a:lnTo>
                    <a:pt x="7994" y="30544"/>
                  </a:lnTo>
                  <a:lnTo>
                    <a:pt x="9252" y="29955"/>
                  </a:lnTo>
                  <a:lnTo>
                    <a:pt x="10015" y="29055"/>
                  </a:lnTo>
                  <a:lnTo>
                    <a:pt x="10019" y="28485"/>
                  </a:lnTo>
                  <a:lnTo>
                    <a:pt x="10516" y="28318"/>
                  </a:lnTo>
                  <a:lnTo>
                    <a:pt x="12567" y="29186"/>
                  </a:lnTo>
                  <a:lnTo>
                    <a:pt x="14241" y="28985"/>
                  </a:lnTo>
                  <a:lnTo>
                    <a:pt x="16933" y="28945"/>
                  </a:lnTo>
                  <a:lnTo>
                    <a:pt x="18855" y="29087"/>
                  </a:lnTo>
                  <a:lnTo>
                    <a:pt x="20125" y="28419"/>
                  </a:lnTo>
                  <a:lnTo>
                    <a:pt x="21846" y="25960"/>
                  </a:lnTo>
                  <a:lnTo>
                    <a:pt x="22483" y="24583"/>
                  </a:lnTo>
                  <a:lnTo>
                    <a:pt x="23254" y="24254"/>
                  </a:lnTo>
                  <a:lnTo>
                    <a:pt x="23761" y="24418"/>
                  </a:lnTo>
                  <a:lnTo>
                    <a:pt x="24133" y="25550"/>
                  </a:lnTo>
                  <a:lnTo>
                    <a:pt x="25038" y="26613"/>
                  </a:lnTo>
                  <a:lnTo>
                    <a:pt x="26897" y="28344"/>
                  </a:lnTo>
                  <a:lnTo>
                    <a:pt x="28212" y="29175"/>
                  </a:lnTo>
                  <a:lnTo>
                    <a:pt x="29406" y="29474"/>
                  </a:lnTo>
                  <a:lnTo>
                    <a:pt x="30576" y="28778"/>
                  </a:lnTo>
                  <a:lnTo>
                    <a:pt x="31784" y="28580"/>
                  </a:lnTo>
                  <a:lnTo>
                    <a:pt x="35230" y="29929"/>
                  </a:lnTo>
                  <a:lnTo>
                    <a:pt x="38141" y="30186"/>
                  </a:lnTo>
                  <a:lnTo>
                    <a:pt x="40294" y="29482"/>
                  </a:lnTo>
                  <a:lnTo>
                    <a:pt x="40011" y="28514"/>
                  </a:lnTo>
                  <a:lnTo>
                    <a:pt x="39227" y="27435"/>
                  </a:lnTo>
                  <a:lnTo>
                    <a:pt x="39058" y="26387"/>
                  </a:lnTo>
                  <a:lnTo>
                    <a:pt x="39203" y="25481"/>
                  </a:lnTo>
                  <a:lnTo>
                    <a:pt x="40680" y="24577"/>
                  </a:lnTo>
                  <a:lnTo>
                    <a:pt x="40609" y="24180"/>
                  </a:lnTo>
                  <a:lnTo>
                    <a:pt x="38823" y="22589"/>
                  </a:lnTo>
                  <a:lnTo>
                    <a:pt x="38914" y="22179"/>
                  </a:lnTo>
                  <a:lnTo>
                    <a:pt x="42829" y="20389"/>
                  </a:lnTo>
                  <a:lnTo>
                    <a:pt x="46603" y="19384"/>
                  </a:lnTo>
                  <a:lnTo>
                    <a:pt x="47208" y="18609"/>
                  </a:lnTo>
                  <a:lnTo>
                    <a:pt x="47560" y="17443"/>
                  </a:lnTo>
                  <a:lnTo>
                    <a:pt x="47726" y="15256"/>
                  </a:lnTo>
                  <a:lnTo>
                    <a:pt x="47519" y="13466"/>
                  </a:lnTo>
                  <a:lnTo>
                    <a:pt x="45986" y="11787"/>
                  </a:lnTo>
                  <a:lnTo>
                    <a:pt x="45891" y="10937"/>
                  </a:lnTo>
                  <a:lnTo>
                    <a:pt x="46254" y="10054"/>
                  </a:lnTo>
                  <a:lnTo>
                    <a:pt x="46849" y="9256"/>
                  </a:lnTo>
                  <a:lnTo>
                    <a:pt x="48359" y="8910"/>
                  </a:lnTo>
                  <a:lnTo>
                    <a:pt x="50130" y="8336"/>
                  </a:lnTo>
                  <a:lnTo>
                    <a:pt x="51529" y="7675"/>
                  </a:lnTo>
                  <a:lnTo>
                    <a:pt x="53425" y="7127"/>
                  </a:lnTo>
                  <a:lnTo>
                    <a:pt x="54915" y="6359"/>
                  </a:lnTo>
                  <a:lnTo>
                    <a:pt x="56370" y="4531"/>
                  </a:lnTo>
                  <a:lnTo>
                    <a:pt x="57253" y="4229"/>
                  </a:lnTo>
                  <a:lnTo>
                    <a:pt x="59929" y="4489"/>
                  </a:lnTo>
                  <a:lnTo>
                    <a:pt x="60501" y="4038"/>
                  </a:lnTo>
                  <a:lnTo>
                    <a:pt x="60134" y="1410"/>
                  </a:lnTo>
                  <a:lnTo>
                    <a:pt x="60613" y="742"/>
                  </a:lnTo>
                  <a:lnTo>
                    <a:pt x="61559" y="368"/>
                  </a:lnTo>
                  <a:close/>
                </a:path>
              </a:pathLst>
            </a:custGeom>
            <a:grpFill/>
            <a:ln w="3175"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23" name="ee4p_HU_1_92573">
              <a:extLst>
                <a:ext uri="{FF2B5EF4-FFF2-40B4-BE49-F238E27FC236}">
                  <a16:creationId xmlns:a16="http://schemas.microsoft.com/office/drawing/2014/main" id="{7260ABDD-1D0D-4B68-9AC2-ABB8F7B4D1DA}"/>
                </a:ext>
              </a:extLst>
            </p:cNvPr>
            <p:cNvSpPr>
              <a:spLocks noChangeAspect="1"/>
            </p:cNvSpPr>
            <p:nvPr>
              <p:custDataLst>
                <p:tags r:id="rId17"/>
              </p:custDataLst>
            </p:nvPr>
          </p:nvSpPr>
          <p:spPr>
            <a:xfrm>
              <a:off x="5182390" y="4695755"/>
              <a:ext cx="594635" cy="310395"/>
            </a:xfrm>
            <a:custGeom>
              <a:avLst/>
              <a:gdLst/>
              <a:ahLst/>
              <a:cxnLst/>
              <a:rect l="0" t="0" r="0" b="0"/>
              <a:pathLst>
                <a:path w="150000" h="78299">
                  <a:moveTo>
                    <a:pt x="133530" y="4202"/>
                  </a:moveTo>
                  <a:lnTo>
                    <a:pt x="135637" y="3973"/>
                  </a:lnTo>
                  <a:lnTo>
                    <a:pt x="135726" y="4008"/>
                  </a:lnTo>
                  <a:lnTo>
                    <a:pt x="136225" y="4144"/>
                  </a:lnTo>
                  <a:lnTo>
                    <a:pt x="136572" y="5461"/>
                  </a:lnTo>
                  <a:lnTo>
                    <a:pt x="136632" y="5543"/>
                  </a:lnTo>
                  <a:lnTo>
                    <a:pt x="137140" y="6413"/>
                  </a:lnTo>
                  <a:lnTo>
                    <a:pt x="137617" y="7564"/>
                  </a:lnTo>
                  <a:lnTo>
                    <a:pt x="138358" y="8429"/>
                  </a:lnTo>
                  <a:lnTo>
                    <a:pt x="139986" y="8790"/>
                  </a:lnTo>
                  <a:lnTo>
                    <a:pt x="142115" y="9863"/>
                  </a:lnTo>
                  <a:lnTo>
                    <a:pt x="143493" y="11880"/>
                  </a:lnTo>
                  <a:lnTo>
                    <a:pt x="145570" y="12717"/>
                  </a:lnTo>
                  <a:lnTo>
                    <a:pt x="145720" y="12739"/>
                  </a:lnTo>
                  <a:lnTo>
                    <a:pt x="146128" y="12643"/>
                  </a:lnTo>
                  <a:lnTo>
                    <a:pt x="147622" y="12569"/>
                  </a:lnTo>
                  <a:lnTo>
                    <a:pt x="147911" y="12976"/>
                  </a:lnTo>
                  <a:lnTo>
                    <a:pt x="149105" y="13962"/>
                  </a:lnTo>
                  <a:lnTo>
                    <a:pt x="149570" y="14830"/>
                  </a:lnTo>
                  <a:lnTo>
                    <a:pt x="149332" y="15747"/>
                  </a:lnTo>
                  <a:lnTo>
                    <a:pt x="149544" y="16784"/>
                  </a:lnTo>
                  <a:lnTo>
                    <a:pt x="149999" y="17152"/>
                  </a:lnTo>
                  <a:lnTo>
                    <a:pt x="149449" y="17848"/>
                  </a:lnTo>
                  <a:lnTo>
                    <a:pt x="145579" y="21328"/>
                  </a:lnTo>
                  <a:lnTo>
                    <a:pt x="144067" y="22249"/>
                  </a:lnTo>
                  <a:lnTo>
                    <a:pt x="143061" y="22439"/>
                  </a:lnTo>
                  <a:lnTo>
                    <a:pt x="141481" y="22073"/>
                  </a:lnTo>
                  <a:lnTo>
                    <a:pt x="139846" y="22352"/>
                  </a:lnTo>
                  <a:lnTo>
                    <a:pt x="138386" y="23096"/>
                  </a:lnTo>
                  <a:lnTo>
                    <a:pt x="137041" y="23332"/>
                  </a:lnTo>
                  <a:lnTo>
                    <a:pt x="136024" y="24216"/>
                  </a:lnTo>
                  <a:lnTo>
                    <a:pt x="134707" y="26109"/>
                  </a:lnTo>
                  <a:lnTo>
                    <a:pt x="133089" y="27711"/>
                  </a:lnTo>
                  <a:lnTo>
                    <a:pt x="131454" y="28705"/>
                  </a:lnTo>
                  <a:lnTo>
                    <a:pt x="130608" y="29592"/>
                  </a:lnTo>
                  <a:lnTo>
                    <a:pt x="130511" y="32658"/>
                  </a:lnTo>
                  <a:lnTo>
                    <a:pt x="129604" y="33539"/>
                  </a:lnTo>
                  <a:lnTo>
                    <a:pt x="128386" y="34427"/>
                  </a:lnTo>
                  <a:lnTo>
                    <a:pt x="127725" y="35211"/>
                  </a:lnTo>
                  <a:lnTo>
                    <a:pt x="125870" y="39867"/>
                  </a:lnTo>
                  <a:lnTo>
                    <a:pt x="124462" y="41357"/>
                  </a:lnTo>
                  <a:lnTo>
                    <a:pt x="123128" y="42500"/>
                  </a:lnTo>
                  <a:lnTo>
                    <a:pt x="122908" y="43543"/>
                  </a:lnTo>
                  <a:lnTo>
                    <a:pt x="122934" y="44736"/>
                  </a:lnTo>
                  <a:lnTo>
                    <a:pt x="121420" y="47118"/>
                  </a:lnTo>
                  <a:lnTo>
                    <a:pt x="119435" y="49587"/>
                  </a:lnTo>
                  <a:lnTo>
                    <a:pt x="119051" y="50600"/>
                  </a:lnTo>
                  <a:lnTo>
                    <a:pt x="119494" y="51965"/>
                  </a:lnTo>
                  <a:lnTo>
                    <a:pt x="117591" y="53535"/>
                  </a:lnTo>
                  <a:lnTo>
                    <a:pt x="116492" y="54288"/>
                  </a:lnTo>
                  <a:lnTo>
                    <a:pt x="115583" y="54648"/>
                  </a:lnTo>
                  <a:lnTo>
                    <a:pt x="115015" y="55630"/>
                  </a:lnTo>
                  <a:lnTo>
                    <a:pt x="114080" y="58021"/>
                  </a:lnTo>
                  <a:lnTo>
                    <a:pt x="114324" y="59093"/>
                  </a:lnTo>
                  <a:lnTo>
                    <a:pt x="114352" y="60076"/>
                  </a:lnTo>
                  <a:lnTo>
                    <a:pt x="112743" y="60652"/>
                  </a:lnTo>
                  <a:lnTo>
                    <a:pt x="112270" y="61729"/>
                  </a:lnTo>
                  <a:lnTo>
                    <a:pt x="111862" y="63069"/>
                  </a:lnTo>
                  <a:lnTo>
                    <a:pt x="111193" y="63676"/>
                  </a:lnTo>
                  <a:lnTo>
                    <a:pt x="109383" y="64789"/>
                  </a:lnTo>
                  <a:lnTo>
                    <a:pt x="104898" y="64305"/>
                  </a:lnTo>
                  <a:lnTo>
                    <a:pt x="103201" y="64678"/>
                  </a:lnTo>
                  <a:lnTo>
                    <a:pt x="102696" y="65474"/>
                  </a:lnTo>
                  <a:lnTo>
                    <a:pt x="102592" y="66112"/>
                  </a:lnTo>
                  <a:lnTo>
                    <a:pt x="102033" y="66710"/>
                  </a:lnTo>
                  <a:lnTo>
                    <a:pt x="101007" y="67461"/>
                  </a:lnTo>
                  <a:lnTo>
                    <a:pt x="99960" y="67797"/>
                  </a:lnTo>
                  <a:lnTo>
                    <a:pt x="97626" y="66872"/>
                  </a:lnTo>
                  <a:lnTo>
                    <a:pt x="92603" y="67811"/>
                  </a:lnTo>
                  <a:lnTo>
                    <a:pt x="91737" y="68486"/>
                  </a:lnTo>
                  <a:lnTo>
                    <a:pt x="91037" y="68004"/>
                  </a:lnTo>
                  <a:lnTo>
                    <a:pt x="89960" y="67565"/>
                  </a:lnTo>
                  <a:lnTo>
                    <a:pt x="84933" y="67023"/>
                  </a:lnTo>
                  <a:lnTo>
                    <a:pt x="82950" y="67454"/>
                  </a:lnTo>
                  <a:lnTo>
                    <a:pt x="80299" y="67288"/>
                  </a:lnTo>
                  <a:lnTo>
                    <a:pt x="77843" y="66810"/>
                  </a:lnTo>
                  <a:lnTo>
                    <a:pt x="76014" y="67198"/>
                  </a:lnTo>
                  <a:lnTo>
                    <a:pt x="74395" y="69073"/>
                  </a:lnTo>
                  <a:lnTo>
                    <a:pt x="73594" y="69706"/>
                  </a:lnTo>
                  <a:lnTo>
                    <a:pt x="72965" y="70111"/>
                  </a:lnTo>
                  <a:lnTo>
                    <a:pt x="71581" y="70699"/>
                  </a:lnTo>
                  <a:lnTo>
                    <a:pt x="70428" y="71407"/>
                  </a:lnTo>
                  <a:lnTo>
                    <a:pt x="68886" y="71916"/>
                  </a:lnTo>
                  <a:lnTo>
                    <a:pt x="67513" y="71845"/>
                  </a:lnTo>
                  <a:lnTo>
                    <a:pt x="66208" y="71040"/>
                  </a:lnTo>
                  <a:lnTo>
                    <a:pt x="65742" y="71223"/>
                  </a:lnTo>
                  <a:lnTo>
                    <a:pt x="65332" y="71965"/>
                  </a:lnTo>
                  <a:lnTo>
                    <a:pt x="64626" y="72599"/>
                  </a:lnTo>
                  <a:lnTo>
                    <a:pt x="62682" y="73380"/>
                  </a:lnTo>
                  <a:lnTo>
                    <a:pt x="62186" y="73371"/>
                  </a:lnTo>
                  <a:lnTo>
                    <a:pt x="62073" y="73371"/>
                  </a:lnTo>
                  <a:lnTo>
                    <a:pt x="60586" y="73947"/>
                  </a:lnTo>
                  <a:lnTo>
                    <a:pt x="58126" y="74264"/>
                  </a:lnTo>
                  <a:lnTo>
                    <a:pt x="56893" y="74040"/>
                  </a:lnTo>
                  <a:lnTo>
                    <a:pt x="54651" y="76637"/>
                  </a:lnTo>
                  <a:lnTo>
                    <a:pt x="53965" y="77110"/>
                  </a:lnTo>
                  <a:lnTo>
                    <a:pt x="51836" y="77904"/>
                  </a:lnTo>
                  <a:lnTo>
                    <a:pt x="50089" y="78298"/>
                  </a:lnTo>
                  <a:lnTo>
                    <a:pt x="48592" y="77983"/>
                  </a:lnTo>
                  <a:lnTo>
                    <a:pt x="48003" y="77955"/>
                  </a:lnTo>
                  <a:lnTo>
                    <a:pt x="41367" y="77823"/>
                  </a:lnTo>
                  <a:lnTo>
                    <a:pt x="37901" y="77267"/>
                  </a:lnTo>
                  <a:lnTo>
                    <a:pt x="35675" y="76253"/>
                  </a:lnTo>
                  <a:lnTo>
                    <a:pt x="34198" y="75119"/>
                  </a:lnTo>
                  <a:lnTo>
                    <a:pt x="33477" y="73867"/>
                  </a:lnTo>
                  <a:lnTo>
                    <a:pt x="31756" y="73107"/>
                  </a:lnTo>
                  <a:lnTo>
                    <a:pt x="29039" y="72837"/>
                  </a:lnTo>
                  <a:lnTo>
                    <a:pt x="26923" y="71593"/>
                  </a:lnTo>
                  <a:lnTo>
                    <a:pt x="25409" y="69370"/>
                  </a:lnTo>
                  <a:lnTo>
                    <a:pt x="23362" y="67608"/>
                  </a:lnTo>
                  <a:lnTo>
                    <a:pt x="20777" y="66309"/>
                  </a:lnTo>
                  <a:lnTo>
                    <a:pt x="18726" y="64472"/>
                  </a:lnTo>
                  <a:lnTo>
                    <a:pt x="17212" y="62100"/>
                  </a:lnTo>
                  <a:lnTo>
                    <a:pt x="14483" y="59962"/>
                  </a:lnTo>
                  <a:lnTo>
                    <a:pt x="10544" y="58059"/>
                  </a:lnTo>
                  <a:lnTo>
                    <a:pt x="9356" y="57645"/>
                  </a:lnTo>
                  <a:lnTo>
                    <a:pt x="9123" y="57030"/>
                  </a:lnTo>
                  <a:lnTo>
                    <a:pt x="7195" y="54664"/>
                  </a:lnTo>
                  <a:lnTo>
                    <a:pt x="6372" y="53790"/>
                  </a:lnTo>
                  <a:lnTo>
                    <a:pt x="6445" y="52618"/>
                  </a:lnTo>
                  <a:lnTo>
                    <a:pt x="6061" y="51951"/>
                  </a:lnTo>
                  <a:lnTo>
                    <a:pt x="5359" y="51483"/>
                  </a:lnTo>
                  <a:lnTo>
                    <a:pt x="4984" y="49788"/>
                  </a:lnTo>
                  <a:lnTo>
                    <a:pt x="4763" y="48522"/>
                  </a:lnTo>
                  <a:lnTo>
                    <a:pt x="4213" y="47706"/>
                  </a:lnTo>
                  <a:lnTo>
                    <a:pt x="0" y="47538"/>
                  </a:lnTo>
                  <a:lnTo>
                    <a:pt x="3526" y="44509"/>
                  </a:lnTo>
                  <a:lnTo>
                    <a:pt x="5279" y="43664"/>
                  </a:lnTo>
                  <a:lnTo>
                    <a:pt x="7316" y="43810"/>
                  </a:lnTo>
                  <a:lnTo>
                    <a:pt x="7968" y="43536"/>
                  </a:lnTo>
                  <a:lnTo>
                    <a:pt x="8141" y="43098"/>
                  </a:lnTo>
                  <a:lnTo>
                    <a:pt x="8488" y="42110"/>
                  </a:lnTo>
                  <a:lnTo>
                    <a:pt x="8661" y="41177"/>
                  </a:lnTo>
                  <a:lnTo>
                    <a:pt x="8836" y="40300"/>
                  </a:lnTo>
                  <a:lnTo>
                    <a:pt x="8618" y="39804"/>
                  </a:lnTo>
                  <a:lnTo>
                    <a:pt x="7635" y="39650"/>
                  </a:lnTo>
                  <a:lnTo>
                    <a:pt x="7160" y="37482"/>
                  </a:lnTo>
                  <a:lnTo>
                    <a:pt x="7666" y="36662"/>
                  </a:lnTo>
                  <a:lnTo>
                    <a:pt x="8171" y="36091"/>
                  </a:lnTo>
                  <a:lnTo>
                    <a:pt x="7547" y="33450"/>
                  </a:lnTo>
                  <a:lnTo>
                    <a:pt x="7735" y="32551"/>
                  </a:lnTo>
                  <a:lnTo>
                    <a:pt x="9324" y="32410"/>
                  </a:lnTo>
                  <a:lnTo>
                    <a:pt x="10643" y="31846"/>
                  </a:lnTo>
                  <a:lnTo>
                    <a:pt x="11719" y="31204"/>
                  </a:lnTo>
                  <a:lnTo>
                    <a:pt x="12019" y="30389"/>
                  </a:lnTo>
                  <a:lnTo>
                    <a:pt x="12902" y="28722"/>
                  </a:lnTo>
                  <a:lnTo>
                    <a:pt x="12088" y="26676"/>
                  </a:lnTo>
                  <a:lnTo>
                    <a:pt x="7497" y="25343"/>
                  </a:lnTo>
                  <a:lnTo>
                    <a:pt x="7257" y="24833"/>
                  </a:lnTo>
                  <a:lnTo>
                    <a:pt x="8326" y="24253"/>
                  </a:lnTo>
                  <a:lnTo>
                    <a:pt x="9464" y="23427"/>
                  </a:lnTo>
                  <a:lnTo>
                    <a:pt x="10125" y="22783"/>
                  </a:lnTo>
                  <a:lnTo>
                    <a:pt x="11008" y="22693"/>
                  </a:lnTo>
                  <a:lnTo>
                    <a:pt x="12259" y="23017"/>
                  </a:lnTo>
                  <a:lnTo>
                    <a:pt x="14472" y="24501"/>
                  </a:lnTo>
                  <a:lnTo>
                    <a:pt x="15320" y="24715"/>
                  </a:lnTo>
                  <a:lnTo>
                    <a:pt x="16141" y="24284"/>
                  </a:lnTo>
                  <a:lnTo>
                    <a:pt x="17018" y="24192"/>
                  </a:lnTo>
                  <a:lnTo>
                    <a:pt x="19466" y="24246"/>
                  </a:lnTo>
                  <a:lnTo>
                    <a:pt x="21527" y="23902"/>
                  </a:lnTo>
                  <a:lnTo>
                    <a:pt x="21062" y="22321"/>
                  </a:lnTo>
                  <a:lnTo>
                    <a:pt x="21069" y="21173"/>
                  </a:lnTo>
                  <a:lnTo>
                    <a:pt x="20719" y="20256"/>
                  </a:lnTo>
                  <a:lnTo>
                    <a:pt x="20937" y="19246"/>
                  </a:lnTo>
                  <a:lnTo>
                    <a:pt x="21773" y="18459"/>
                  </a:lnTo>
                  <a:lnTo>
                    <a:pt x="22023" y="16690"/>
                  </a:lnTo>
                  <a:lnTo>
                    <a:pt x="23312" y="15496"/>
                  </a:lnTo>
                  <a:lnTo>
                    <a:pt x="23915" y="15324"/>
                  </a:lnTo>
                  <a:lnTo>
                    <a:pt x="26185" y="15542"/>
                  </a:lnTo>
                  <a:lnTo>
                    <a:pt x="26722" y="15852"/>
                  </a:lnTo>
                  <a:lnTo>
                    <a:pt x="27070" y="15920"/>
                  </a:lnTo>
                  <a:lnTo>
                    <a:pt x="30682" y="18834"/>
                  </a:lnTo>
                  <a:lnTo>
                    <a:pt x="34101" y="21022"/>
                  </a:lnTo>
                  <a:lnTo>
                    <a:pt x="36901" y="22141"/>
                  </a:lnTo>
                  <a:lnTo>
                    <a:pt x="41015" y="22233"/>
                  </a:lnTo>
                  <a:lnTo>
                    <a:pt x="45386" y="22330"/>
                  </a:lnTo>
                  <a:lnTo>
                    <a:pt x="52697" y="21949"/>
                  </a:lnTo>
                  <a:lnTo>
                    <a:pt x="58180" y="21663"/>
                  </a:lnTo>
                  <a:lnTo>
                    <a:pt x="58543" y="21118"/>
                  </a:lnTo>
                  <a:lnTo>
                    <a:pt x="59370" y="19812"/>
                  </a:lnTo>
                  <a:lnTo>
                    <a:pt x="58713" y="18691"/>
                  </a:lnTo>
                  <a:lnTo>
                    <a:pt x="58752" y="17372"/>
                  </a:lnTo>
                  <a:lnTo>
                    <a:pt x="59676" y="15656"/>
                  </a:lnTo>
                  <a:lnTo>
                    <a:pt x="62380" y="14230"/>
                  </a:lnTo>
                  <a:lnTo>
                    <a:pt x="70141" y="13602"/>
                  </a:lnTo>
                  <a:lnTo>
                    <a:pt x="74604" y="12539"/>
                  </a:lnTo>
                  <a:lnTo>
                    <a:pt x="75278" y="11086"/>
                  </a:lnTo>
                  <a:lnTo>
                    <a:pt x="76755" y="9652"/>
                  </a:lnTo>
                  <a:lnTo>
                    <a:pt x="78107" y="9362"/>
                  </a:lnTo>
                  <a:lnTo>
                    <a:pt x="79960" y="10020"/>
                  </a:lnTo>
                  <a:lnTo>
                    <a:pt x="82190" y="11286"/>
                  </a:lnTo>
                  <a:lnTo>
                    <a:pt x="84149" y="11955"/>
                  </a:lnTo>
                  <a:lnTo>
                    <a:pt x="85293" y="11524"/>
                  </a:lnTo>
                  <a:lnTo>
                    <a:pt x="89234" y="9392"/>
                  </a:lnTo>
                  <a:lnTo>
                    <a:pt x="93771" y="7311"/>
                  </a:lnTo>
                  <a:lnTo>
                    <a:pt x="96893" y="1656"/>
                  </a:lnTo>
                  <a:lnTo>
                    <a:pt x="97226" y="754"/>
                  </a:lnTo>
                  <a:lnTo>
                    <a:pt x="100612" y="106"/>
                  </a:lnTo>
                  <a:lnTo>
                    <a:pt x="105553" y="222"/>
                  </a:lnTo>
                  <a:lnTo>
                    <a:pt x="108085" y="959"/>
                  </a:lnTo>
                  <a:lnTo>
                    <a:pt x="109990" y="1349"/>
                  </a:lnTo>
                  <a:lnTo>
                    <a:pt x="112845" y="1216"/>
                  </a:lnTo>
                  <a:lnTo>
                    <a:pt x="116958" y="0"/>
                  </a:lnTo>
                  <a:lnTo>
                    <a:pt x="118483" y="34"/>
                  </a:lnTo>
                  <a:lnTo>
                    <a:pt x="119662" y="897"/>
                  </a:lnTo>
                  <a:lnTo>
                    <a:pt x="120956" y="1639"/>
                  </a:lnTo>
                  <a:lnTo>
                    <a:pt x="121828" y="2548"/>
                  </a:lnTo>
                  <a:lnTo>
                    <a:pt x="122489" y="3828"/>
                  </a:lnTo>
                  <a:lnTo>
                    <a:pt x="122845" y="4311"/>
                  </a:lnTo>
                  <a:lnTo>
                    <a:pt x="123419" y="4966"/>
                  </a:lnTo>
                  <a:lnTo>
                    <a:pt x="124456" y="5867"/>
                  </a:lnTo>
                  <a:lnTo>
                    <a:pt x="125462" y="6107"/>
                  </a:lnTo>
                  <a:lnTo>
                    <a:pt x="133076" y="4541"/>
                  </a:lnTo>
                  <a:close/>
                </a:path>
              </a:pathLst>
            </a:custGeom>
            <a:grpFill/>
            <a:ln w="3175"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24" name="ee4p_IE_1_92573">
              <a:extLst>
                <a:ext uri="{FF2B5EF4-FFF2-40B4-BE49-F238E27FC236}">
                  <a16:creationId xmlns:a16="http://schemas.microsoft.com/office/drawing/2014/main" id="{C13D3865-50A7-44AB-8F65-F0DF1D0AE631}"/>
                </a:ext>
              </a:extLst>
            </p:cNvPr>
            <p:cNvSpPr>
              <a:spLocks noChangeAspect="1"/>
            </p:cNvSpPr>
            <p:nvPr>
              <p:custDataLst>
                <p:tags r:id="rId18"/>
              </p:custDataLst>
            </p:nvPr>
          </p:nvSpPr>
          <p:spPr>
            <a:xfrm>
              <a:off x="2860933" y="3896828"/>
              <a:ext cx="382433" cy="464655"/>
            </a:xfrm>
            <a:custGeom>
              <a:avLst/>
              <a:gdLst>
                <a:gd name="connsiteX0" fmla="*/ 4626 w 96471"/>
                <a:gd name="connsiteY0" fmla="*/ 41297 h 117212"/>
                <a:gd name="connsiteX1" fmla="*/ 5539 w 96471"/>
                <a:gd name="connsiteY1" fmla="*/ 41650 h 117212"/>
                <a:gd name="connsiteX2" fmla="*/ 8709 w 96471"/>
                <a:gd name="connsiteY2" fmla="*/ 41699 h 117212"/>
                <a:gd name="connsiteX3" fmla="*/ 9599 w 96471"/>
                <a:gd name="connsiteY3" fmla="*/ 42196 h 117212"/>
                <a:gd name="connsiteX4" fmla="*/ 9774 w 96471"/>
                <a:gd name="connsiteY4" fmla="*/ 44442 h 117212"/>
                <a:gd name="connsiteX5" fmla="*/ 9681 w 96471"/>
                <a:gd name="connsiteY5" fmla="*/ 45307 h 117212"/>
                <a:gd name="connsiteX6" fmla="*/ 8043 w 96471"/>
                <a:gd name="connsiteY6" fmla="*/ 44217 h 117212"/>
                <a:gd name="connsiteX7" fmla="*/ 7247 w 96471"/>
                <a:gd name="connsiteY7" fmla="*/ 43030 h 117212"/>
                <a:gd name="connsiteX8" fmla="*/ 2753 w 96471"/>
                <a:gd name="connsiteY8" fmla="*/ 42485 h 117212"/>
                <a:gd name="connsiteX9" fmla="*/ 68137 w 96471"/>
                <a:gd name="connsiteY9" fmla="*/ 0 h 117212"/>
                <a:gd name="connsiteX10" fmla="*/ 69511 w 96471"/>
                <a:gd name="connsiteY10" fmla="*/ 395 h 117212"/>
                <a:gd name="connsiteX11" fmla="*/ 71531 w 96471"/>
                <a:gd name="connsiteY11" fmla="*/ 1873 h 117212"/>
                <a:gd name="connsiteX12" fmla="*/ 73633 w 96471"/>
                <a:gd name="connsiteY12" fmla="*/ 3031 h 117212"/>
                <a:gd name="connsiteX13" fmla="*/ 75813 w 96471"/>
                <a:gd name="connsiteY13" fmla="*/ 3949 h 117212"/>
                <a:gd name="connsiteX14" fmla="*/ 73718 w 96471"/>
                <a:gd name="connsiteY14" fmla="*/ 5785 h 117212"/>
                <a:gd name="connsiteX15" fmla="*/ 71143 w 96471"/>
                <a:gd name="connsiteY15" fmla="*/ 7058 h 117212"/>
                <a:gd name="connsiteX16" fmla="*/ 70130 w 96471"/>
                <a:gd name="connsiteY16" fmla="*/ 8444 h 117212"/>
                <a:gd name="connsiteX17" fmla="*/ 66631 w 96471"/>
                <a:gd name="connsiteY17" fmla="*/ 10422 h 117212"/>
                <a:gd name="connsiteX18" fmla="*/ 66089 w 96471"/>
                <a:gd name="connsiteY18" fmla="*/ 11171 h 117212"/>
                <a:gd name="connsiteX19" fmla="*/ 65103 w 96471"/>
                <a:gd name="connsiteY19" fmla="*/ 14188 h 117212"/>
                <a:gd name="connsiteX20" fmla="*/ 64987 w 96471"/>
                <a:gd name="connsiteY20" fmla="*/ 15048 h 117212"/>
                <a:gd name="connsiteX21" fmla="*/ 63861 w 96471"/>
                <a:gd name="connsiteY21" fmla="*/ 16633 h 117212"/>
                <a:gd name="connsiteX22" fmla="*/ 62795 w 96471"/>
                <a:gd name="connsiteY22" fmla="*/ 18395 h 117212"/>
                <a:gd name="connsiteX23" fmla="*/ 61555 w 96471"/>
                <a:gd name="connsiteY23" fmla="*/ 19077 h 117212"/>
                <a:gd name="connsiteX24" fmla="*/ 59708 w 96471"/>
                <a:gd name="connsiteY24" fmla="*/ 19618 h 117212"/>
                <a:gd name="connsiteX25" fmla="*/ 58658 w 96471"/>
                <a:gd name="connsiteY25" fmla="*/ 20156 h 117212"/>
                <a:gd name="connsiteX26" fmla="*/ 57336 w 96471"/>
                <a:gd name="connsiteY26" fmla="*/ 19886 h 117212"/>
                <a:gd name="connsiteX27" fmla="*/ 55662 w 96471"/>
                <a:gd name="connsiteY27" fmla="*/ 19929 h 117212"/>
                <a:gd name="connsiteX28" fmla="*/ 54830 w 96471"/>
                <a:gd name="connsiteY28" fmla="*/ 20527 h 117212"/>
                <a:gd name="connsiteX29" fmla="*/ 54871 w 96471"/>
                <a:gd name="connsiteY29" fmla="*/ 20986 h 117212"/>
                <a:gd name="connsiteX30" fmla="*/ 55371 w 96471"/>
                <a:gd name="connsiteY30" fmla="*/ 21515 h 117212"/>
                <a:gd name="connsiteX31" fmla="*/ 56837 w 96471"/>
                <a:gd name="connsiteY31" fmla="*/ 22322 h 117212"/>
                <a:gd name="connsiteX32" fmla="*/ 58463 w 96471"/>
                <a:gd name="connsiteY32" fmla="*/ 23052 h 117212"/>
                <a:gd name="connsiteX33" fmla="*/ 58284 w 96471"/>
                <a:gd name="connsiteY33" fmla="*/ 23691 h 117212"/>
                <a:gd name="connsiteX34" fmla="*/ 57413 w 96471"/>
                <a:gd name="connsiteY34" fmla="*/ 24415 h 117212"/>
                <a:gd name="connsiteX35" fmla="*/ 51873 w 96471"/>
                <a:gd name="connsiteY35" fmla="*/ 26211 h 117212"/>
                <a:gd name="connsiteX36" fmla="*/ 50223 w 96471"/>
                <a:gd name="connsiteY36" fmla="*/ 27295 h 117212"/>
                <a:gd name="connsiteX37" fmla="*/ 49651 w 96471"/>
                <a:gd name="connsiteY37" fmla="*/ 28010 h 117212"/>
                <a:gd name="connsiteX38" fmla="*/ 50238 w 96471"/>
                <a:gd name="connsiteY38" fmla="*/ 29208 h 117212"/>
                <a:gd name="connsiteX39" fmla="*/ 54656 w 96471"/>
                <a:gd name="connsiteY39" fmla="*/ 32794 h 117212"/>
                <a:gd name="connsiteX40" fmla="*/ 55408 w 96471"/>
                <a:gd name="connsiteY40" fmla="*/ 33184 h 117212"/>
                <a:gd name="connsiteX41" fmla="*/ 56061 w 96471"/>
                <a:gd name="connsiteY41" fmla="*/ 35268 h 117212"/>
                <a:gd name="connsiteX42" fmla="*/ 59956 w 96471"/>
                <a:gd name="connsiteY42" fmla="*/ 36139 h 117212"/>
                <a:gd name="connsiteX43" fmla="*/ 61553 w 96471"/>
                <a:gd name="connsiteY43" fmla="*/ 37440 h 117212"/>
                <a:gd name="connsiteX44" fmla="*/ 62927 w 96471"/>
                <a:gd name="connsiteY44" fmla="*/ 37752 h 117212"/>
                <a:gd name="connsiteX45" fmla="*/ 65912 w 96471"/>
                <a:gd name="connsiteY45" fmla="*/ 37639 h 117212"/>
                <a:gd name="connsiteX46" fmla="*/ 67112 w 96471"/>
                <a:gd name="connsiteY46" fmla="*/ 38128 h 117212"/>
                <a:gd name="connsiteX47" fmla="*/ 67790 w 96471"/>
                <a:gd name="connsiteY47" fmla="*/ 37757 h 117212"/>
                <a:gd name="connsiteX48" fmla="*/ 68183 w 96471"/>
                <a:gd name="connsiteY48" fmla="*/ 37071 h 117212"/>
                <a:gd name="connsiteX49" fmla="*/ 70696 w 96471"/>
                <a:gd name="connsiteY49" fmla="*/ 35304 h 117212"/>
                <a:gd name="connsiteX50" fmla="*/ 71527 w 96471"/>
                <a:gd name="connsiteY50" fmla="*/ 34532 h 117212"/>
                <a:gd name="connsiteX51" fmla="*/ 71028 w 96471"/>
                <a:gd name="connsiteY51" fmla="*/ 33454 h 117212"/>
                <a:gd name="connsiteX52" fmla="*/ 70485 w 96471"/>
                <a:gd name="connsiteY52" fmla="*/ 32635 h 117212"/>
                <a:gd name="connsiteX53" fmla="*/ 72013 w 96471"/>
                <a:gd name="connsiteY53" fmla="*/ 31003 h 117212"/>
                <a:gd name="connsiteX54" fmla="*/ 73866 w 96471"/>
                <a:gd name="connsiteY54" fmla="*/ 29391 h 117212"/>
                <a:gd name="connsiteX55" fmla="*/ 74795 w 96471"/>
                <a:gd name="connsiteY55" fmla="*/ 29439 h 117212"/>
                <a:gd name="connsiteX56" fmla="*/ 76377 w 96471"/>
                <a:gd name="connsiteY56" fmla="*/ 30426 h 117212"/>
                <a:gd name="connsiteX57" fmla="*/ 77680 w 96471"/>
                <a:gd name="connsiteY57" fmla="*/ 31804 h 117212"/>
                <a:gd name="connsiteX58" fmla="*/ 77857 w 96471"/>
                <a:gd name="connsiteY58" fmla="*/ 32871 h 117212"/>
                <a:gd name="connsiteX59" fmla="*/ 78097 w 96471"/>
                <a:gd name="connsiteY59" fmla="*/ 33645 h 117212"/>
                <a:gd name="connsiteX60" fmla="*/ 79330 w 96471"/>
                <a:gd name="connsiteY60" fmla="*/ 35297 h 117212"/>
                <a:gd name="connsiteX61" fmla="*/ 80126 w 96471"/>
                <a:gd name="connsiteY61" fmla="*/ 35867 h 117212"/>
                <a:gd name="connsiteX62" fmla="*/ 82273 w 96471"/>
                <a:gd name="connsiteY62" fmla="*/ 36198 h 117212"/>
                <a:gd name="connsiteX63" fmla="*/ 82773 w 96471"/>
                <a:gd name="connsiteY63" fmla="*/ 36846 h 117212"/>
                <a:gd name="connsiteX64" fmla="*/ 82390 w 96471"/>
                <a:gd name="connsiteY64" fmla="*/ 39235 h 117212"/>
                <a:gd name="connsiteX65" fmla="*/ 82709 w 96471"/>
                <a:gd name="connsiteY65" fmla="*/ 40029 h 117212"/>
                <a:gd name="connsiteX66" fmla="*/ 84957 w 96471"/>
                <a:gd name="connsiteY66" fmla="*/ 40070 h 117212"/>
                <a:gd name="connsiteX67" fmla="*/ 87342 w 96471"/>
                <a:gd name="connsiteY67" fmla="*/ 39877 h 117212"/>
                <a:gd name="connsiteX68" fmla="*/ 88175 w 96471"/>
                <a:gd name="connsiteY68" fmla="*/ 39968 h 117212"/>
                <a:gd name="connsiteX69" fmla="*/ 89036 w 96471"/>
                <a:gd name="connsiteY69" fmla="*/ 39468 h 117212"/>
                <a:gd name="connsiteX70" fmla="*/ 90363 w 96471"/>
                <a:gd name="connsiteY70" fmla="*/ 38929 h 117212"/>
                <a:gd name="connsiteX71" fmla="*/ 92257 w 96471"/>
                <a:gd name="connsiteY71" fmla="*/ 39115 h 117212"/>
                <a:gd name="connsiteX72" fmla="*/ 93191 w 96471"/>
                <a:gd name="connsiteY72" fmla="*/ 40184 h 117212"/>
                <a:gd name="connsiteX73" fmla="*/ 93607 w 96471"/>
                <a:gd name="connsiteY73" fmla="*/ 41285 h 117212"/>
                <a:gd name="connsiteX74" fmla="*/ 91977 w 96471"/>
                <a:gd name="connsiteY74" fmla="*/ 41699 h 117212"/>
                <a:gd name="connsiteX75" fmla="*/ 90275 w 96471"/>
                <a:gd name="connsiteY75" fmla="*/ 41473 h 117212"/>
                <a:gd name="connsiteX76" fmla="*/ 89445 w 96471"/>
                <a:gd name="connsiteY76" fmla="*/ 42196 h 117212"/>
                <a:gd name="connsiteX77" fmla="*/ 89391 w 96471"/>
                <a:gd name="connsiteY77" fmla="*/ 43588 h 117212"/>
                <a:gd name="connsiteX78" fmla="*/ 89966 w 96471"/>
                <a:gd name="connsiteY78" fmla="*/ 45379 h 117212"/>
                <a:gd name="connsiteX79" fmla="*/ 91104 w 96471"/>
                <a:gd name="connsiteY79" fmla="*/ 46649 h 117212"/>
                <a:gd name="connsiteX80" fmla="*/ 92014 w 96471"/>
                <a:gd name="connsiteY80" fmla="*/ 49509 h 117212"/>
                <a:gd name="connsiteX81" fmla="*/ 92768 w 96471"/>
                <a:gd name="connsiteY81" fmla="*/ 52676 h 117212"/>
                <a:gd name="connsiteX82" fmla="*/ 93941 w 96471"/>
                <a:gd name="connsiteY82" fmla="*/ 54588 h 117212"/>
                <a:gd name="connsiteX83" fmla="*/ 94182 w 96471"/>
                <a:gd name="connsiteY83" fmla="*/ 56958 h 117212"/>
                <a:gd name="connsiteX84" fmla="*/ 94009 w 96471"/>
                <a:gd name="connsiteY84" fmla="*/ 58122 h 117212"/>
                <a:gd name="connsiteX85" fmla="*/ 94223 w 96471"/>
                <a:gd name="connsiteY85" fmla="*/ 60212 h 117212"/>
                <a:gd name="connsiteX86" fmla="*/ 93724 w 96471"/>
                <a:gd name="connsiteY86" fmla="*/ 60948 h 117212"/>
                <a:gd name="connsiteX87" fmla="*/ 94098 w 96471"/>
                <a:gd name="connsiteY87" fmla="*/ 62908 h 117212"/>
                <a:gd name="connsiteX88" fmla="*/ 95479 w 96471"/>
                <a:gd name="connsiteY88" fmla="*/ 66960 h 117212"/>
                <a:gd name="connsiteX89" fmla="*/ 96082 w 96471"/>
                <a:gd name="connsiteY89" fmla="*/ 69214 h 117212"/>
                <a:gd name="connsiteX90" fmla="*/ 96471 w 96471"/>
                <a:gd name="connsiteY90" fmla="*/ 74127 h 117212"/>
                <a:gd name="connsiteX91" fmla="*/ 95497 w 96471"/>
                <a:gd name="connsiteY91" fmla="*/ 75966 h 117212"/>
                <a:gd name="connsiteX92" fmla="*/ 94188 w 96471"/>
                <a:gd name="connsiteY92" fmla="*/ 77709 h 117212"/>
                <a:gd name="connsiteX93" fmla="*/ 93333 w 96471"/>
                <a:gd name="connsiteY93" fmla="*/ 79774 h 117212"/>
                <a:gd name="connsiteX94" fmla="*/ 92672 w 96471"/>
                <a:gd name="connsiteY94" fmla="*/ 82001 h 117212"/>
                <a:gd name="connsiteX95" fmla="*/ 92274 w 96471"/>
                <a:gd name="connsiteY95" fmla="*/ 85587 h 117212"/>
                <a:gd name="connsiteX96" fmla="*/ 89440 w 96471"/>
                <a:gd name="connsiteY96" fmla="*/ 89784 h 117212"/>
                <a:gd name="connsiteX97" fmla="*/ 88234 w 96471"/>
                <a:gd name="connsiteY97" fmla="*/ 90826 h 117212"/>
                <a:gd name="connsiteX98" fmla="*/ 86835 w 96471"/>
                <a:gd name="connsiteY98" fmla="*/ 91467 h 117212"/>
                <a:gd name="connsiteX99" fmla="*/ 89891 w 96471"/>
                <a:gd name="connsiteY99" fmla="*/ 94395 h 117212"/>
                <a:gd name="connsiteX100" fmla="*/ 87394 w 96471"/>
                <a:gd name="connsiteY100" fmla="*/ 95700 h 117212"/>
                <a:gd name="connsiteX101" fmla="*/ 84671 w 96471"/>
                <a:gd name="connsiteY101" fmla="*/ 96111 h 117212"/>
                <a:gd name="connsiteX102" fmla="*/ 81658 w 96471"/>
                <a:gd name="connsiteY102" fmla="*/ 95379 h 117212"/>
                <a:gd name="connsiteX103" fmla="*/ 79781 w 96471"/>
                <a:gd name="connsiteY103" fmla="*/ 95468 h 117212"/>
                <a:gd name="connsiteX104" fmla="*/ 78067 w 96471"/>
                <a:gd name="connsiteY104" fmla="*/ 96415 h 117212"/>
                <a:gd name="connsiteX105" fmla="*/ 77392 w 96471"/>
                <a:gd name="connsiteY105" fmla="*/ 96988 h 117212"/>
                <a:gd name="connsiteX106" fmla="*/ 76853 w 96471"/>
                <a:gd name="connsiteY106" fmla="*/ 96711 h 117212"/>
                <a:gd name="connsiteX107" fmla="*/ 75722 w 96471"/>
                <a:gd name="connsiteY107" fmla="*/ 94311 h 117212"/>
                <a:gd name="connsiteX108" fmla="*/ 74893 w 96471"/>
                <a:gd name="connsiteY108" fmla="*/ 96790 h 117212"/>
                <a:gd name="connsiteX109" fmla="*/ 73157 w 96471"/>
                <a:gd name="connsiteY109" fmla="*/ 97578 h 117212"/>
                <a:gd name="connsiteX110" fmla="*/ 70184 w 96471"/>
                <a:gd name="connsiteY110" fmla="*/ 97410 h 117212"/>
                <a:gd name="connsiteX111" fmla="*/ 65217 w 96471"/>
                <a:gd name="connsiteY111" fmla="*/ 98070 h 117212"/>
                <a:gd name="connsiteX112" fmla="*/ 63306 w 96471"/>
                <a:gd name="connsiteY112" fmla="*/ 98775 h 117212"/>
                <a:gd name="connsiteX113" fmla="*/ 62512 w 96471"/>
                <a:gd name="connsiteY113" fmla="*/ 99878 h 117212"/>
                <a:gd name="connsiteX114" fmla="*/ 61922 w 96471"/>
                <a:gd name="connsiteY114" fmla="*/ 101152 h 117212"/>
                <a:gd name="connsiteX115" fmla="*/ 61147 w 96471"/>
                <a:gd name="connsiteY115" fmla="*/ 101904 h 117212"/>
                <a:gd name="connsiteX116" fmla="*/ 60271 w 96471"/>
                <a:gd name="connsiteY116" fmla="*/ 102300 h 117212"/>
                <a:gd name="connsiteX117" fmla="*/ 56436 w 96471"/>
                <a:gd name="connsiteY117" fmla="*/ 103238 h 117212"/>
                <a:gd name="connsiteX118" fmla="*/ 55680 w 96471"/>
                <a:gd name="connsiteY118" fmla="*/ 103613 h 117212"/>
                <a:gd name="connsiteX119" fmla="*/ 53904 w 96471"/>
                <a:gd name="connsiteY119" fmla="*/ 105667 h 117212"/>
                <a:gd name="connsiteX120" fmla="*/ 51575 w 96471"/>
                <a:gd name="connsiteY120" fmla="*/ 106853 h 117212"/>
                <a:gd name="connsiteX121" fmla="*/ 49646 w 96471"/>
                <a:gd name="connsiteY121" fmla="*/ 107208 h 117212"/>
                <a:gd name="connsiteX122" fmla="*/ 47934 w 96471"/>
                <a:gd name="connsiteY122" fmla="*/ 106014 h 117212"/>
                <a:gd name="connsiteX123" fmla="*/ 47230 w 96471"/>
                <a:gd name="connsiteY123" fmla="*/ 105296 h 117212"/>
                <a:gd name="connsiteX124" fmla="*/ 46435 w 96471"/>
                <a:gd name="connsiteY124" fmla="*/ 104931 h 117212"/>
                <a:gd name="connsiteX125" fmla="*/ 43805 w 96471"/>
                <a:gd name="connsiteY125" fmla="*/ 104987 h 117212"/>
                <a:gd name="connsiteX126" fmla="*/ 44636 w 96471"/>
                <a:gd name="connsiteY126" fmla="*/ 105357 h 117212"/>
                <a:gd name="connsiteX127" fmla="*/ 45172 w 96471"/>
                <a:gd name="connsiteY127" fmla="*/ 106200 h 117212"/>
                <a:gd name="connsiteX128" fmla="*/ 45432 w 96471"/>
                <a:gd name="connsiteY128" fmla="*/ 107815 h 117212"/>
                <a:gd name="connsiteX129" fmla="*/ 45133 w 96471"/>
                <a:gd name="connsiteY129" fmla="*/ 109397 h 117212"/>
                <a:gd name="connsiteX130" fmla="*/ 43836 w 96471"/>
                <a:gd name="connsiteY130" fmla="*/ 110200 h 117212"/>
                <a:gd name="connsiteX131" fmla="*/ 42287 w 96471"/>
                <a:gd name="connsiteY131" fmla="*/ 110348 h 117212"/>
                <a:gd name="connsiteX132" fmla="*/ 39845 w 96471"/>
                <a:gd name="connsiteY132" fmla="*/ 111987 h 117212"/>
                <a:gd name="connsiteX133" fmla="*/ 36612 w 96471"/>
                <a:gd name="connsiteY133" fmla="*/ 112435 h 117212"/>
                <a:gd name="connsiteX134" fmla="*/ 34866 w 96471"/>
                <a:gd name="connsiteY134" fmla="*/ 113943 h 117212"/>
                <a:gd name="connsiteX135" fmla="*/ 24185 w 96471"/>
                <a:gd name="connsiteY135" fmla="*/ 116492 h 117212"/>
                <a:gd name="connsiteX136" fmla="*/ 23579 w 96471"/>
                <a:gd name="connsiteY136" fmla="*/ 116522 h 117212"/>
                <a:gd name="connsiteX137" fmla="*/ 22105 w 96471"/>
                <a:gd name="connsiteY137" fmla="*/ 115873 h 117212"/>
                <a:gd name="connsiteX138" fmla="*/ 20506 w 96471"/>
                <a:gd name="connsiteY138" fmla="*/ 115586 h 117212"/>
                <a:gd name="connsiteX139" fmla="*/ 18914 w 96471"/>
                <a:gd name="connsiteY139" fmla="*/ 115789 h 117212"/>
                <a:gd name="connsiteX140" fmla="*/ 14438 w 96471"/>
                <a:gd name="connsiteY140" fmla="*/ 117212 h 117212"/>
                <a:gd name="connsiteX141" fmla="*/ 12270 w 96471"/>
                <a:gd name="connsiteY141" fmla="*/ 116929 h 117212"/>
                <a:gd name="connsiteX142" fmla="*/ 15033 w 96471"/>
                <a:gd name="connsiteY142" fmla="*/ 113390 h 117212"/>
                <a:gd name="connsiteX143" fmla="*/ 18748 w 96471"/>
                <a:gd name="connsiteY143" fmla="*/ 111602 h 117212"/>
                <a:gd name="connsiteX144" fmla="*/ 19134 w 96471"/>
                <a:gd name="connsiteY144" fmla="*/ 111112 h 117212"/>
                <a:gd name="connsiteX145" fmla="*/ 17920 w 96471"/>
                <a:gd name="connsiteY145" fmla="*/ 110872 h 117212"/>
                <a:gd name="connsiteX146" fmla="*/ 10862 w 96471"/>
                <a:gd name="connsiteY146" fmla="*/ 112114 h 117212"/>
                <a:gd name="connsiteX147" fmla="*/ 8410 w 96471"/>
                <a:gd name="connsiteY147" fmla="*/ 113172 h 117212"/>
                <a:gd name="connsiteX148" fmla="*/ 5959 w 96471"/>
                <a:gd name="connsiteY148" fmla="*/ 113479 h 117212"/>
                <a:gd name="connsiteX149" fmla="*/ 7094 w 96471"/>
                <a:gd name="connsiteY149" fmla="*/ 111864 h 117212"/>
                <a:gd name="connsiteX150" fmla="*/ 10256 w 96471"/>
                <a:gd name="connsiteY150" fmla="*/ 109650 h 117212"/>
                <a:gd name="connsiteX151" fmla="*/ 11952 w 96471"/>
                <a:gd name="connsiteY151" fmla="*/ 108607 h 117212"/>
                <a:gd name="connsiteX152" fmla="*/ 12987 w 96471"/>
                <a:gd name="connsiteY152" fmla="*/ 108193 h 117212"/>
                <a:gd name="connsiteX153" fmla="*/ 14168 w 96471"/>
                <a:gd name="connsiteY153" fmla="*/ 106891 h 117212"/>
                <a:gd name="connsiteX154" fmla="*/ 17500 w 96471"/>
                <a:gd name="connsiteY154" fmla="*/ 105411 h 117212"/>
                <a:gd name="connsiteX155" fmla="*/ 6767 w 96471"/>
                <a:gd name="connsiteY155" fmla="*/ 108463 h 117212"/>
                <a:gd name="connsiteX156" fmla="*/ 3947 w 96471"/>
                <a:gd name="connsiteY156" fmla="*/ 108091 h 117212"/>
                <a:gd name="connsiteX157" fmla="*/ 3283 w 96471"/>
                <a:gd name="connsiteY157" fmla="*/ 107240 h 117212"/>
                <a:gd name="connsiteX158" fmla="*/ 1087 w 96471"/>
                <a:gd name="connsiteY158" fmla="*/ 107639 h 117212"/>
                <a:gd name="connsiteX159" fmla="*/ 255 w 96471"/>
                <a:gd name="connsiteY159" fmla="*/ 105579 h 117212"/>
                <a:gd name="connsiteX160" fmla="*/ 3508 w 96471"/>
                <a:gd name="connsiteY160" fmla="*/ 102454 h 117212"/>
                <a:gd name="connsiteX161" fmla="*/ 5404 w 96471"/>
                <a:gd name="connsiteY161" fmla="*/ 101109 h 117212"/>
                <a:gd name="connsiteX162" fmla="*/ 7655 w 96471"/>
                <a:gd name="connsiteY162" fmla="*/ 100382 h 117212"/>
                <a:gd name="connsiteX163" fmla="*/ 9822 w 96471"/>
                <a:gd name="connsiteY163" fmla="*/ 99339 h 117212"/>
                <a:gd name="connsiteX164" fmla="*/ 10626 w 96471"/>
                <a:gd name="connsiteY164" fmla="*/ 98063 h 117212"/>
                <a:gd name="connsiteX165" fmla="*/ 9606 w 96471"/>
                <a:gd name="connsiteY165" fmla="*/ 97656 h 117212"/>
                <a:gd name="connsiteX166" fmla="*/ 3112 w 96471"/>
                <a:gd name="connsiteY166" fmla="*/ 97980 h 117212"/>
                <a:gd name="connsiteX167" fmla="*/ 0 w 96471"/>
                <a:gd name="connsiteY167" fmla="*/ 97708 h 117212"/>
                <a:gd name="connsiteX168" fmla="*/ 168 w 96471"/>
                <a:gd name="connsiteY168" fmla="*/ 96696 h 117212"/>
                <a:gd name="connsiteX169" fmla="*/ 742 w 96471"/>
                <a:gd name="connsiteY169" fmla="*/ 95574 h 117212"/>
                <a:gd name="connsiteX170" fmla="*/ 3965 w 96471"/>
                <a:gd name="connsiteY170" fmla="*/ 93654 h 117212"/>
                <a:gd name="connsiteX171" fmla="*/ 5708 w 96471"/>
                <a:gd name="connsiteY171" fmla="*/ 93345 h 117212"/>
                <a:gd name="connsiteX172" fmla="*/ 7263 w 96471"/>
                <a:gd name="connsiteY172" fmla="*/ 93528 h 117212"/>
                <a:gd name="connsiteX173" fmla="*/ 8781 w 96471"/>
                <a:gd name="connsiteY173" fmla="*/ 94020 h 117212"/>
                <a:gd name="connsiteX174" fmla="*/ 10015 w 96471"/>
                <a:gd name="connsiteY174" fmla="*/ 94663 h 117212"/>
                <a:gd name="connsiteX175" fmla="*/ 13668 w 96471"/>
                <a:gd name="connsiteY175" fmla="*/ 94294 h 117212"/>
                <a:gd name="connsiteX176" fmla="*/ 12143 w 96471"/>
                <a:gd name="connsiteY176" fmla="*/ 93067 h 117212"/>
                <a:gd name="connsiteX177" fmla="*/ 11874 w 96471"/>
                <a:gd name="connsiteY177" fmla="*/ 90572 h 117212"/>
                <a:gd name="connsiteX178" fmla="*/ 10706 w 96471"/>
                <a:gd name="connsiteY178" fmla="*/ 89733 h 117212"/>
                <a:gd name="connsiteX179" fmla="*/ 12201 w 96471"/>
                <a:gd name="connsiteY179" fmla="*/ 88575 h 117212"/>
                <a:gd name="connsiteX180" fmla="*/ 13911 w 96471"/>
                <a:gd name="connsiteY180" fmla="*/ 87871 h 117212"/>
                <a:gd name="connsiteX181" fmla="*/ 16761 w 96471"/>
                <a:gd name="connsiteY181" fmla="*/ 85473 h 117212"/>
                <a:gd name="connsiteX182" fmla="*/ 17776 w 96471"/>
                <a:gd name="connsiteY182" fmla="*/ 85108 h 117212"/>
                <a:gd name="connsiteX183" fmla="*/ 23416 w 96471"/>
                <a:gd name="connsiteY183" fmla="*/ 84525 h 117212"/>
                <a:gd name="connsiteX184" fmla="*/ 29499 w 96471"/>
                <a:gd name="connsiteY184" fmla="*/ 83263 h 117212"/>
                <a:gd name="connsiteX185" fmla="*/ 35529 w 96471"/>
                <a:gd name="connsiteY185" fmla="*/ 81519 h 117212"/>
                <a:gd name="connsiteX186" fmla="*/ 32437 w 96471"/>
                <a:gd name="connsiteY186" fmla="*/ 80544 h 117212"/>
                <a:gd name="connsiteX187" fmla="*/ 30956 w 96471"/>
                <a:gd name="connsiteY187" fmla="*/ 79257 h 117212"/>
                <a:gd name="connsiteX188" fmla="*/ 28576 w 96471"/>
                <a:gd name="connsiteY188" fmla="*/ 81858 h 117212"/>
                <a:gd name="connsiteX189" fmla="*/ 26863 w 96471"/>
                <a:gd name="connsiteY189" fmla="*/ 82852 h 117212"/>
                <a:gd name="connsiteX190" fmla="*/ 22024 w 96471"/>
                <a:gd name="connsiteY190" fmla="*/ 83383 h 117212"/>
                <a:gd name="connsiteX191" fmla="*/ 20492 w 96471"/>
                <a:gd name="connsiteY191" fmla="*/ 83091 h 117212"/>
                <a:gd name="connsiteX192" fmla="*/ 18335 w 96471"/>
                <a:gd name="connsiteY192" fmla="*/ 82284 h 117212"/>
                <a:gd name="connsiteX193" fmla="*/ 17665 w 96471"/>
                <a:gd name="connsiteY193" fmla="*/ 82592 h 117212"/>
                <a:gd name="connsiteX194" fmla="*/ 17042 w 96471"/>
                <a:gd name="connsiteY194" fmla="*/ 83215 h 117212"/>
                <a:gd name="connsiteX195" fmla="*/ 13839 w 96471"/>
                <a:gd name="connsiteY195" fmla="*/ 84489 h 117212"/>
                <a:gd name="connsiteX196" fmla="*/ 10473 w 96471"/>
                <a:gd name="connsiteY196" fmla="*/ 84794 h 117212"/>
                <a:gd name="connsiteX197" fmla="*/ 14387 w 96471"/>
                <a:gd name="connsiteY197" fmla="*/ 82456 h 117212"/>
                <a:gd name="connsiteX198" fmla="*/ 19353 w 96471"/>
                <a:gd name="connsiteY198" fmla="*/ 78489 h 117212"/>
                <a:gd name="connsiteX199" fmla="*/ 20461 w 96471"/>
                <a:gd name="connsiteY199" fmla="*/ 77234 h 117212"/>
                <a:gd name="connsiteX200" fmla="*/ 22037 w 96471"/>
                <a:gd name="connsiteY200" fmla="*/ 75050 h 117212"/>
                <a:gd name="connsiteX201" fmla="*/ 21549 w 96471"/>
                <a:gd name="connsiteY201" fmla="*/ 74078 h 117212"/>
                <a:gd name="connsiteX202" fmla="*/ 20526 w 96471"/>
                <a:gd name="connsiteY202" fmla="*/ 73524 h 117212"/>
                <a:gd name="connsiteX203" fmla="*/ 24125 w 96471"/>
                <a:gd name="connsiteY203" fmla="*/ 69022 h 117212"/>
                <a:gd name="connsiteX204" fmla="*/ 25392 w 96471"/>
                <a:gd name="connsiteY204" fmla="*/ 68204 h 117212"/>
                <a:gd name="connsiteX205" fmla="*/ 27699 w 96471"/>
                <a:gd name="connsiteY205" fmla="*/ 68072 h 117212"/>
                <a:gd name="connsiteX206" fmla="*/ 29389 w 96471"/>
                <a:gd name="connsiteY206" fmla="*/ 67357 h 117212"/>
                <a:gd name="connsiteX207" fmla="*/ 30134 w 96471"/>
                <a:gd name="connsiteY207" fmla="*/ 67354 h 117212"/>
                <a:gd name="connsiteX208" fmla="*/ 30804 w 96471"/>
                <a:gd name="connsiteY208" fmla="*/ 67088 h 117212"/>
                <a:gd name="connsiteX209" fmla="*/ 32286 w 96471"/>
                <a:gd name="connsiteY209" fmla="*/ 65736 h 117212"/>
                <a:gd name="connsiteX210" fmla="*/ 29999 w 96471"/>
                <a:gd name="connsiteY210" fmla="*/ 64876 h 117212"/>
                <a:gd name="connsiteX211" fmla="*/ 27638 w 96471"/>
                <a:gd name="connsiteY211" fmla="*/ 64433 h 117212"/>
                <a:gd name="connsiteX212" fmla="*/ 20332 w 96471"/>
                <a:gd name="connsiteY212" fmla="*/ 64902 h 117212"/>
                <a:gd name="connsiteX213" fmla="*/ 19371 w 96471"/>
                <a:gd name="connsiteY213" fmla="*/ 64801 h 117212"/>
                <a:gd name="connsiteX214" fmla="*/ 18465 w 96471"/>
                <a:gd name="connsiteY214" fmla="*/ 64386 h 117212"/>
                <a:gd name="connsiteX215" fmla="*/ 17877 w 96471"/>
                <a:gd name="connsiteY215" fmla="*/ 63787 h 117212"/>
                <a:gd name="connsiteX216" fmla="*/ 17435 w 96471"/>
                <a:gd name="connsiteY216" fmla="*/ 62252 h 117212"/>
                <a:gd name="connsiteX217" fmla="*/ 16899 w 96471"/>
                <a:gd name="connsiteY217" fmla="*/ 61909 h 117212"/>
                <a:gd name="connsiteX218" fmla="*/ 15250 w 96471"/>
                <a:gd name="connsiteY218" fmla="*/ 61909 h 117212"/>
                <a:gd name="connsiteX219" fmla="*/ 13625 w 96471"/>
                <a:gd name="connsiteY219" fmla="*/ 62378 h 117212"/>
                <a:gd name="connsiteX220" fmla="*/ 12490 w 96471"/>
                <a:gd name="connsiteY220" fmla="*/ 62333 h 117212"/>
                <a:gd name="connsiteX221" fmla="*/ 11376 w 96471"/>
                <a:gd name="connsiteY221" fmla="*/ 61660 h 117212"/>
                <a:gd name="connsiteX222" fmla="*/ 13153 w 96471"/>
                <a:gd name="connsiteY222" fmla="*/ 60088 h 117212"/>
                <a:gd name="connsiteX223" fmla="*/ 10862 w 96471"/>
                <a:gd name="connsiteY223" fmla="*/ 59718 h 117212"/>
                <a:gd name="connsiteX224" fmla="*/ 8542 w 96471"/>
                <a:gd name="connsiteY224" fmla="*/ 60027 h 117212"/>
                <a:gd name="connsiteX225" fmla="*/ 6611 w 96471"/>
                <a:gd name="connsiteY225" fmla="*/ 59551 h 117212"/>
                <a:gd name="connsiteX226" fmla="*/ 6551 w 96471"/>
                <a:gd name="connsiteY226" fmla="*/ 58564 h 117212"/>
                <a:gd name="connsiteX227" fmla="*/ 7426 w 96471"/>
                <a:gd name="connsiteY227" fmla="*/ 57579 h 117212"/>
                <a:gd name="connsiteX228" fmla="*/ 6279 w 96471"/>
                <a:gd name="connsiteY228" fmla="*/ 56644 h 117212"/>
                <a:gd name="connsiteX229" fmla="*/ 6042 w 96471"/>
                <a:gd name="connsiteY229" fmla="*/ 55462 h 117212"/>
                <a:gd name="connsiteX230" fmla="*/ 7264 w 96471"/>
                <a:gd name="connsiteY230" fmla="*/ 54881 h 117212"/>
                <a:gd name="connsiteX231" fmla="*/ 8599 w 96471"/>
                <a:gd name="connsiteY231" fmla="*/ 55074 h 117212"/>
                <a:gd name="connsiteX232" fmla="*/ 11320 w 96471"/>
                <a:gd name="connsiteY232" fmla="*/ 54199 h 117212"/>
                <a:gd name="connsiteX233" fmla="*/ 14806 w 96471"/>
                <a:gd name="connsiteY233" fmla="*/ 53774 h 117212"/>
                <a:gd name="connsiteX234" fmla="*/ 11816 w 96471"/>
                <a:gd name="connsiteY234" fmla="*/ 52911 h 117212"/>
                <a:gd name="connsiteX235" fmla="*/ 10625 w 96471"/>
                <a:gd name="connsiteY235" fmla="*/ 52171 h 117212"/>
                <a:gd name="connsiteX236" fmla="*/ 10568 w 96471"/>
                <a:gd name="connsiteY236" fmla="*/ 51038 h 117212"/>
                <a:gd name="connsiteX237" fmla="*/ 10805 w 96471"/>
                <a:gd name="connsiteY237" fmla="*/ 50068 h 117212"/>
                <a:gd name="connsiteX238" fmla="*/ 14266 w 96471"/>
                <a:gd name="connsiteY238" fmla="*/ 48427 h 117212"/>
                <a:gd name="connsiteX239" fmla="*/ 17955 w 96471"/>
                <a:gd name="connsiteY239" fmla="*/ 47703 h 117212"/>
                <a:gd name="connsiteX240" fmla="*/ 17683 w 96471"/>
                <a:gd name="connsiteY240" fmla="*/ 46621 h 117212"/>
                <a:gd name="connsiteX241" fmla="*/ 17941 w 96471"/>
                <a:gd name="connsiteY241" fmla="*/ 45450 h 117212"/>
                <a:gd name="connsiteX242" fmla="*/ 14212 w 96471"/>
                <a:gd name="connsiteY242" fmla="*/ 45112 h 117212"/>
                <a:gd name="connsiteX243" fmla="*/ 10529 w 96471"/>
                <a:gd name="connsiteY243" fmla="*/ 45938 h 117212"/>
                <a:gd name="connsiteX244" fmla="*/ 10923 w 96471"/>
                <a:gd name="connsiteY244" fmla="*/ 43700 h 117212"/>
                <a:gd name="connsiteX245" fmla="*/ 11805 w 96471"/>
                <a:gd name="connsiteY245" fmla="*/ 41678 h 117212"/>
                <a:gd name="connsiteX246" fmla="*/ 11979 w 96471"/>
                <a:gd name="connsiteY246" fmla="*/ 40343 h 117212"/>
                <a:gd name="connsiteX247" fmla="*/ 11803 w 96471"/>
                <a:gd name="connsiteY247" fmla="*/ 38914 h 117212"/>
                <a:gd name="connsiteX248" fmla="*/ 10078 w 96471"/>
                <a:gd name="connsiteY248" fmla="*/ 39525 h 117212"/>
                <a:gd name="connsiteX249" fmla="*/ 9876 w 96471"/>
                <a:gd name="connsiteY249" fmla="*/ 37509 h 117212"/>
                <a:gd name="connsiteX250" fmla="*/ 9135 w 96471"/>
                <a:gd name="connsiteY250" fmla="*/ 36125 h 117212"/>
                <a:gd name="connsiteX251" fmla="*/ 6580 w 96471"/>
                <a:gd name="connsiteY251" fmla="*/ 37078 h 117212"/>
                <a:gd name="connsiteX252" fmla="*/ 6646 w 96471"/>
                <a:gd name="connsiteY252" fmla="*/ 35252 h 117212"/>
                <a:gd name="connsiteX253" fmla="*/ 7382 w 96471"/>
                <a:gd name="connsiteY253" fmla="*/ 33975 h 117212"/>
                <a:gd name="connsiteX254" fmla="*/ 8718 w 96471"/>
                <a:gd name="connsiteY254" fmla="*/ 33420 h 117212"/>
                <a:gd name="connsiteX255" fmla="*/ 10045 w 96471"/>
                <a:gd name="connsiteY255" fmla="*/ 33661 h 117212"/>
                <a:gd name="connsiteX256" fmla="*/ 12508 w 96471"/>
                <a:gd name="connsiteY256" fmla="*/ 33637 h 117212"/>
                <a:gd name="connsiteX257" fmla="*/ 14883 w 96471"/>
                <a:gd name="connsiteY257" fmla="*/ 32677 h 117212"/>
                <a:gd name="connsiteX258" fmla="*/ 18307 w 96471"/>
                <a:gd name="connsiteY258" fmla="*/ 32430 h 117212"/>
                <a:gd name="connsiteX259" fmla="*/ 23764 w 96471"/>
                <a:gd name="connsiteY259" fmla="*/ 32732 h 117212"/>
                <a:gd name="connsiteX260" fmla="*/ 27515 w 96471"/>
                <a:gd name="connsiteY260" fmla="*/ 35441 h 117212"/>
                <a:gd name="connsiteX261" fmla="*/ 28483 w 96471"/>
                <a:gd name="connsiteY261" fmla="*/ 34957 h 117212"/>
                <a:gd name="connsiteX262" fmla="*/ 29983 w 96471"/>
                <a:gd name="connsiteY262" fmla="*/ 33245 h 117212"/>
                <a:gd name="connsiteX263" fmla="*/ 30687 w 96471"/>
                <a:gd name="connsiteY263" fmla="*/ 33056 h 117212"/>
                <a:gd name="connsiteX264" fmla="*/ 36340 w 96471"/>
                <a:gd name="connsiteY264" fmla="*/ 33802 h 117212"/>
                <a:gd name="connsiteX265" fmla="*/ 39851 w 96471"/>
                <a:gd name="connsiteY265" fmla="*/ 34787 h 117212"/>
                <a:gd name="connsiteX266" fmla="*/ 40790 w 96471"/>
                <a:gd name="connsiteY266" fmla="*/ 34480 h 117212"/>
                <a:gd name="connsiteX267" fmla="*/ 40283 w 96471"/>
                <a:gd name="connsiteY267" fmla="*/ 32580 h 117212"/>
                <a:gd name="connsiteX268" fmla="*/ 39074 w 96471"/>
                <a:gd name="connsiteY268" fmla="*/ 31262 h 117212"/>
                <a:gd name="connsiteX269" fmla="*/ 40593 w 96471"/>
                <a:gd name="connsiteY269" fmla="*/ 29534 h 117212"/>
                <a:gd name="connsiteX270" fmla="*/ 42438 w 96471"/>
                <a:gd name="connsiteY270" fmla="*/ 28363 h 117212"/>
                <a:gd name="connsiteX271" fmla="*/ 43671 w 96471"/>
                <a:gd name="connsiteY271" fmla="*/ 27779 h 117212"/>
                <a:gd name="connsiteX272" fmla="*/ 46518 w 96471"/>
                <a:gd name="connsiteY272" fmla="*/ 27053 h 117212"/>
                <a:gd name="connsiteX273" fmla="*/ 47759 w 96471"/>
                <a:gd name="connsiteY273" fmla="*/ 26369 h 117212"/>
                <a:gd name="connsiteX274" fmla="*/ 48586 w 96471"/>
                <a:gd name="connsiteY274" fmla="*/ 24143 h 117212"/>
                <a:gd name="connsiteX275" fmla="*/ 49902 w 96471"/>
                <a:gd name="connsiteY275" fmla="*/ 22287 h 117212"/>
                <a:gd name="connsiteX276" fmla="*/ 42758 w 96471"/>
                <a:gd name="connsiteY276" fmla="*/ 23252 h 117212"/>
                <a:gd name="connsiteX277" fmla="*/ 35961 w 96471"/>
                <a:gd name="connsiteY277" fmla="*/ 21052 h 117212"/>
                <a:gd name="connsiteX278" fmla="*/ 37039 w 96471"/>
                <a:gd name="connsiteY278" fmla="*/ 19495 h 117212"/>
                <a:gd name="connsiteX279" fmla="*/ 38474 w 96471"/>
                <a:gd name="connsiteY279" fmla="*/ 18612 h 117212"/>
                <a:gd name="connsiteX280" fmla="*/ 40950 w 96471"/>
                <a:gd name="connsiteY280" fmla="*/ 17935 h 117212"/>
                <a:gd name="connsiteX281" fmla="*/ 41185 w 96471"/>
                <a:gd name="connsiteY281" fmla="*/ 17122 h 117212"/>
                <a:gd name="connsiteX282" fmla="*/ 42438 w 96471"/>
                <a:gd name="connsiteY282" fmla="*/ 16446 h 117212"/>
                <a:gd name="connsiteX283" fmla="*/ 44510 w 96471"/>
                <a:gd name="connsiteY283" fmla="*/ 14669 h 117212"/>
                <a:gd name="connsiteX284" fmla="*/ 43749 w 96471"/>
                <a:gd name="connsiteY284" fmla="*/ 12346 h 117212"/>
                <a:gd name="connsiteX285" fmla="*/ 44157 w 96471"/>
                <a:gd name="connsiteY285" fmla="*/ 10646 h 117212"/>
                <a:gd name="connsiteX286" fmla="*/ 45649 w 96471"/>
                <a:gd name="connsiteY286" fmla="*/ 9537 h 117212"/>
                <a:gd name="connsiteX287" fmla="*/ 46116 w 96471"/>
                <a:gd name="connsiteY287" fmla="*/ 7945 h 117212"/>
                <a:gd name="connsiteX288" fmla="*/ 46781 w 96471"/>
                <a:gd name="connsiteY288" fmla="*/ 6772 h 117212"/>
                <a:gd name="connsiteX289" fmla="*/ 49808 w 96471"/>
                <a:gd name="connsiteY289" fmla="*/ 6352 h 117212"/>
                <a:gd name="connsiteX290" fmla="*/ 52718 w 96471"/>
                <a:gd name="connsiteY290" fmla="*/ 5261 h 117212"/>
                <a:gd name="connsiteX291" fmla="*/ 53769 w 96471"/>
                <a:gd name="connsiteY291" fmla="*/ 5367 h 117212"/>
                <a:gd name="connsiteX292" fmla="*/ 57205 w 96471"/>
                <a:gd name="connsiteY292" fmla="*/ 5115 h 117212"/>
                <a:gd name="connsiteX293" fmla="*/ 58369 w 96471"/>
                <a:gd name="connsiteY293" fmla="*/ 5555 h 117212"/>
                <a:gd name="connsiteX294" fmla="*/ 58104 w 96471"/>
                <a:gd name="connsiteY294" fmla="*/ 3626 h 117212"/>
                <a:gd name="connsiteX295" fmla="*/ 60214 w 96471"/>
                <a:gd name="connsiteY295" fmla="*/ 3375 h 117212"/>
                <a:gd name="connsiteX296" fmla="*/ 61039 w 96471"/>
                <a:gd name="connsiteY296" fmla="*/ 3760 h 117212"/>
                <a:gd name="connsiteX297" fmla="*/ 61402 w 96471"/>
                <a:gd name="connsiteY297" fmla="*/ 5127 h 117212"/>
                <a:gd name="connsiteX298" fmla="*/ 62361 w 96471"/>
                <a:gd name="connsiteY298" fmla="*/ 5999 h 117212"/>
                <a:gd name="connsiteX299" fmla="*/ 62657 w 96471"/>
                <a:gd name="connsiteY299" fmla="*/ 7513 h 117212"/>
                <a:gd name="connsiteX300" fmla="*/ 62014 w 96471"/>
                <a:gd name="connsiteY300" fmla="*/ 8682 h 117212"/>
                <a:gd name="connsiteX301" fmla="*/ 60940 w 96471"/>
                <a:gd name="connsiteY301" fmla="*/ 9582 h 117212"/>
                <a:gd name="connsiteX302" fmla="*/ 61922 w 96471"/>
                <a:gd name="connsiteY302" fmla="*/ 10503 h 117212"/>
                <a:gd name="connsiteX303" fmla="*/ 60399 w 96471"/>
                <a:gd name="connsiteY303" fmla="*/ 12166 h 117212"/>
                <a:gd name="connsiteX304" fmla="*/ 62043 w 96471"/>
                <a:gd name="connsiteY304" fmla="*/ 11458 h 117212"/>
                <a:gd name="connsiteX305" fmla="*/ 64386 w 96471"/>
                <a:gd name="connsiteY305" fmla="*/ 9829 h 117212"/>
                <a:gd name="connsiteX306" fmla="*/ 64265 w 96471"/>
                <a:gd name="connsiteY306" fmla="*/ 8496 h 117212"/>
                <a:gd name="connsiteX307" fmla="*/ 63866 w 96471"/>
                <a:gd name="connsiteY307" fmla="*/ 6820 h 117212"/>
                <a:gd name="connsiteX308" fmla="*/ 63214 w 96471"/>
                <a:gd name="connsiteY308" fmla="*/ 5307 h 117212"/>
                <a:gd name="connsiteX309" fmla="*/ 63514 w 96471"/>
                <a:gd name="connsiteY309" fmla="*/ 3639 h 117212"/>
                <a:gd name="connsiteX310" fmla="*/ 64831 w 96471"/>
                <a:gd name="connsiteY310" fmla="*/ 2595 h 117212"/>
                <a:gd name="connsiteX311" fmla="*/ 68293 w 96471"/>
                <a:gd name="connsiteY311" fmla="*/ 2070 h 117212"/>
                <a:gd name="connsiteX312" fmla="*/ 66873 w 96471"/>
                <a:gd name="connsiteY312" fmla="*/ 174 h 117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Lst>
              <a:rect l="l" t="t" r="r" b="b"/>
              <a:pathLst>
                <a:path w="96471" h="117212">
                  <a:moveTo>
                    <a:pt x="4626" y="41297"/>
                  </a:moveTo>
                  <a:lnTo>
                    <a:pt x="5539" y="41650"/>
                  </a:lnTo>
                  <a:lnTo>
                    <a:pt x="8709" y="41699"/>
                  </a:lnTo>
                  <a:lnTo>
                    <a:pt x="9599" y="42196"/>
                  </a:lnTo>
                  <a:lnTo>
                    <a:pt x="9774" y="44442"/>
                  </a:lnTo>
                  <a:lnTo>
                    <a:pt x="9681" y="45307"/>
                  </a:lnTo>
                  <a:lnTo>
                    <a:pt x="8043" y="44217"/>
                  </a:lnTo>
                  <a:lnTo>
                    <a:pt x="7247" y="43030"/>
                  </a:lnTo>
                  <a:lnTo>
                    <a:pt x="2753" y="42485"/>
                  </a:lnTo>
                  <a:close/>
                  <a:moveTo>
                    <a:pt x="68137" y="0"/>
                  </a:moveTo>
                  <a:lnTo>
                    <a:pt x="69511" y="395"/>
                  </a:lnTo>
                  <a:lnTo>
                    <a:pt x="71531" y="1873"/>
                  </a:lnTo>
                  <a:lnTo>
                    <a:pt x="73633" y="3031"/>
                  </a:lnTo>
                  <a:lnTo>
                    <a:pt x="75813" y="3949"/>
                  </a:lnTo>
                  <a:lnTo>
                    <a:pt x="73718" y="5785"/>
                  </a:lnTo>
                  <a:lnTo>
                    <a:pt x="71143" y="7058"/>
                  </a:lnTo>
                  <a:lnTo>
                    <a:pt x="70130" y="8444"/>
                  </a:lnTo>
                  <a:lnTo>
                    <a:pt x="66631" y="10422"/>
                  </a:lnTo>
                  <a:lnTo>
                    <a:pt x="66089" y="11171"/>
                  </a:lnTo>
                  <a:lnTo>
                    <a:pt x="65103" y="14188"/>
                  </a:lnTo>
                  <a:lnTo>
                    <a:pt x="64987" y="15048"/>
                  </a:lnTo>
                  <a:lnTo>
                    <a:pt x="63861" y="16633"/>
                  </a:lnTo>
                  <a:lnTo>
                    <a:pt x="62795" y="18395"/>
                  </a:lnTo>
                  <a:lnTo>
                    <a:pt x="61555" y="19077"/>
                  </a:lnTo>
                  <a:lnTo>
                    <a:pt x="59708" y="19618"/>
                  </a:lnTo>
                  <a:lnTo>
                    <a:pt x="58658" y="20156"/>
                  </a:lnTo>
                  <a:lnTo>
                    <a:pt x="57336" y="19886"/>
                  </a:lnTo>
                  <a:lnTo>
                    <a:pt x="55662" y="19929"/>
                  </a:lnTo>
                  <a:lnTo>
                    <a:pt x="54830" y="20527"/>
                  </a:lnTo>
                  <a:lnTo>
                    <a:pt x="54871" y="20986"/>
                  </a:lnTo>
                  <a:lnTo>
                    <a:pt x="55371" y="21515"/>
                  </a:lnTo>
                  <a:lnTo>
                    <a:pt x="56837" y="22322"/>
                  </a:lnTo>
                  <a:lnTo>
                    <a:pt x="58463" y="23052"/>
                  </a:lnTo>
                  <a:lnTo>
                    <a:pt x="58284" y="23691"/>
                  </a:lnTo>
                  <a:lnTo>
                    <a:pt x="57413" y="24415"/>
                  </a:lnTo>
                  <a:lnTo>
                    <a:pt x="51873" y="26211"/>
                  </a:lnTo>
                  <a:lnTo>
                    <a:pt x="50223" y="27295"/>
                  </a:lnTo>
                  <a:lnTo>
                    <a:pt x="49651" y="28010"/>
                  </a:lnTo>
                  <a:lnTo>
                    <a:pt x="50238" y="29208"/>
                  </a:lnTo>
                  <a:lnTo>
                    <a:pt x="54656" y="32794"/>
                  </a:lnTo>
                  <a:lnTo>
                    <a:pt x="55408" y="33184"/>
                  </a:lnTo>
                  <a:lnTo>
                    <a:pt x="56061" y="35268"/>
                  </a:lnTo>
                  <a:lnTo>
                    <a:pt x="59956" y="36139"/>
                  </a:lnTo>
                  <a:lnTo>
                    <a:pt x="61553" y="37440"/>
                  </a:lnTo>
                  <a:lnTo>
                    <a:pt x="62927" y="37752"/>
                  </a:lnTo>
                  <a:lnTo>
                    <a:pt x="65912" y="37639"/>
                  </a:lnTo>
                  <a:lnTo>
                    <a:pt x="67112" y="38128"/>
                  </a:lnTo>
                  <a:lnTo>
                    <a:pt x="67790" y="37757"/>
                  </a:lnTo>
                  <a:lnTo>
                    <a:pt x="68183" y="37071"/>
                  </a:lnTo>
                  <a:lnTo>
                    <a:pt x="70696" y="35304"/>
                  </a:lnTo>
                  <a:lnTo>
                    <a:pt x="71527" y="34532"/>
                  </a:lnTo>
                  <a:lnTo>
                    <a:pt x="71028" y="33454"/>
                  </a:lnTo>
                  <a:lnTo>
                    <a:pt x="70485" y="32635"/>
                  </a:lnTo>
                  <a:lnTo>
                    <a:pt x="72013" y="31003"/>
                  </a:lnTo>
                  <a:lnTo>
                    <a:pt x="73866" y="29391"/>
                  </a:lnTo>
                  <a:lnTo>
                    <a:pt x="74795" y="29439"/>
                  </a:lnTo>
                  <a:lnTo>
                    <a:pt x="76377" y="30426"/>
                  </a:lnTo>
                  <a:lnTo>
                    <a:pt x="77680" y="31804"/>
                  </a:lnTo>
                  <a:lnTo>
                    <a:pt x="77857" y="32871"/>
                  </a:lnTo>
                  <a:lnTo>
                    <a:pt x="78097" y="33645"/>
                  </a:lnTo>
                  <a:lnTo>
                    <a:pt x="79330" y="35297"/>
                  </a:lnTo>
                  <a:lnTo>
                    <a:pt x="80126" y="35867"/>
                  </a:lnTo>
                  <a:lnTo>
                    <a:pt x="82273" y="36198"/>
                  </a:lnTo>
                  <a:lnTo>
                    <a:pt x="82773" y="36846"/>
                  </a:lnTo>
                  <a:lnTo>
                    <a:pt x="82390" y="39235"/>
                  </a:lnTo>
                  <a:lnTo>
                    <a:pt x="82709" y="40029"/>
                  </a:lnTo>
                  <a:lnTo>
                    <a:pt x="84957" y="40070"/>
                  </a:lnTo>
                  <a:lnTo>
                    <a:pt x="87342" y="39877"/>
                  </a:lnTo>
                  <a:lnTo>
                    <a:pt x="88175" y="39968"/>
                  </a:lnTo>
                  <a:lnTo>
                    <a:pt x="89036" y="39468"/>
                  </a:lnTo>
                  <a:lnTo>
                    <a:pt x="90363" y="38929"/>
                  </a:lnTo>
                  <a:lnTo>
                    <a:pt x="92257" y="39115"/>
                  </a:lnTo>
                  <a:lnTo>
                    <a:pt x="93191" y="40184"/>
                  </a:lnTo>
                  <a:lnTo>
                    <a:pt x="93607" y="41285"/>
                  </a:lnTo>
                  <a:lnTo>
                    <a:pt x="91977" y="41699"/>
                  </a:lnTo>
                  <a:lnTo>
                    <a:pt x="90275" y="41473"/>
                  </a:lnTo>
                  <a:lnTo>
                    <a:pt x="89445" y="42196"/>
                  </a:lnTo>
                  <a:lnTo>
                    <a:pt x="89391" y="43588"/>
                  </a:lnTo>
                  <a:lnTo>
                    <a:pt x="89966" y="45379"/>
                  </a:lnTo>
                  <a:lnTo>
                    <a:pt x="91104" y="46649"/>
                  </a:lnTo>
                  <a:lnTo>
                    <a:pt x="92014" y="49509"/>
                  </a:lnTo>
                  <a:lnTo>
                    <a:pt x="92768" y="52676"/>
                  </a:lnTo>
                  <a:lnTo>
                    <a:pt x="93941" y="54588"/>
                  </a:lnTo>
                  <a:lnTo>
                    <a:pt x="94182" y="56958"/>
                  </a:lnTo>
                  <a:lnTo>
                    <a:pt x="94009" y="58122"/>
                  </a:lnTo>
                  <a:lnTo>
                    <a:pt x="94223" y="60212"/>
                  </a:lnTo>
                  <a:lnTo>
                    <a:pt x="93724" y="60948"/>
                  </a:lnTo>
                  <a:lnTo>
                    <a:pt x="94098" y="62908"/>
                  </a:lnTo>
                  <a:lnTo>
                    <a:pt x="95479" y="66960"/>
                  </a:lnTo>
                  <a:lnTo>
                    <a:pt x="96082" y="69214"/>
                  </a:lnTo>
                  <a:lnTo>
                    <a:pt x="96471" y="74127"/>
                  </a:lnTo>
                  <a:lnTo>
                    <a:pt x="95497" y="75966"/>
                  </a:lnTo>
                  <a:lnTo>
                    <a:pt x="94188" y="77709"/>
                  </a:lnTo>
                  <a:lnTo>
                    <a:pt x="93333" y="79774"/>
                  </a:lnTo>
                  <a:lnTo>
                    <a:pt x="92672" y="82001"/>
                  </a:lnTo>
                  <a:lnTo>
                    <a:pt x="92274" y="85587"/>
                  </a:lnTo>
                  <a:lnTo>
                    <a:pt x="89440" y="89784"/>
                  </a:lnTo>
                  <a:lnTo>
                    <a:pt x="88234" y="90826"/>
                  </a:lnTo>
                  <a:lnTo>
                    <a:pt x="86835" y="91467"/>
                  </a:lnTo>
                  <a:lnTo>
                    <a:pt x="89891" y="94395"/>
                  </a:lnTo>
                  <a:lnTo>
                    <a:pt x="87394" y="95700"/>
                  </a:lnTo>
                  <a:lnTo>
                    <a:pt x="84671" y="96111"/>
                  </a:lnTo>
                  <a:lnTo>
                    <a:pt x="81658" y="95379"/>
                  </a:lnTo>
                  <a:lnTo>
                    <a:pt x="79781" y="95468"/>
                  </a:lnTo>
                  <a:lnTo>
                    <a:pt x="78067" y="96415"/>
                  </a:lnTo>
                  <a:lnTo>
                    <a:pt x="77392" y="96988"/>
                  </a:lnTo>
                  <a:lnTo>
                    <a:pt x="76853" y="96711"/>
                  </a:lnTo>
                  <a:lnTo>
                    <a:pt x="75722" y="94311"/>
                  </a:lnTo>
                  <a:lnTo>
                    <a:pt x="74893" y="96790"/>
                  </a:lnTo>
                  <a:lnTo>
                    <a:pt x="73157" y="97578"/>
                  </a:lnTo>
                  <a:lnTo>
                    <a:pt x="70184" y="97410"/>
                  </a:lnTo>
                  <a:lnTo>
                    <a:pt x="65217" y="98070"/>
                  </a:lnTo>
                  <a:lnTo>
                    <a:pt x="63306" y="98775"/>
                  </a:lnTo>
                  <a:lnTo>
                    <a:pt x="62512" y="99878"/>
                  </a:lnTo>
                  <a:lnTo>
                    <a:pt x="61922" y="101152"/>
                  </a:lnTo>
                  <a:lnTo>
                    <a:pt x="61147" y="101904"/>
                  </a:lnTo>
                  <a:lnTo>
                    <a:pt x="60271" y="102300"/>
                  </a:lnTo>
                  <a:lnTo>
                    <a:pt x="56436" y="103238"/>
                  </a:lnTo>
                  <a:lnTo>
                    <a:pt x="55680" y="103613"/>
                  </a:lnTo>
                  <a:lnTo>
                    <a:pt x="53904" y="105667"/>
                  </a:lnTo>
                  <a:lnTo>
                    <a:pt x="51575" y="106853"/>
                  </a:lnTo>
                  <a:lnTo>
                    <a:pt x="49646" y="107208"/>
                  </a:lnTo>
                  <a:lnTo>
                    <a:pt x="47934" y="106014"/>
                  </a:lnTo>
                  <a:lnTo>
                    <a:pt x="47230" y="105296"/>
                  </a:lnTo>
                  <a:lnTo>
                    <a:pt x="46435" y="104931"/>
                  </a:lnTo>
                  <a:lnTo>
                    <a:pt x="43805" y="104987"/>
                  </a:lnTo>
                  <a:lnTo>
                    <a:pt x="44636" y="105357"/>
                  </a:lnTo>
                  <a:lnTo>
                    <a:pt x="45172" y="106200"/>
                  </a:lnTo>
                  <a:lnTo>
                    <a:pt x="45432" y="107815"/>
                  </a:lnTo>
                  <a:lnTo>
                    <a:pt x="45133" y="109397"/>
                  </a:lnTo>
                  <a:lnTo>
                    <a:pt x="43836" y="110200"/>
                  </a:lnTo>
                  <a:lnTo>
                    <a:pt x="42287" y="110348"/>
                  </a:lnTo>
                  <a:lnTo>
                    <a:pt x="39845" y="111987"/>
                  </a:lnTo>
                  <a:lnTo>
                    <a:pt x="36612" y="112435"/>
                  </a:lnTo>
                  <a:lnTo>
                    <a:pt x="34866" y="113943"/>
                  </a:lnTo>
                  <a:lnTo>
                    <a:pt x="24185" y="116492"/>
                  </a:lnTo>
                  <a:lnTo>
                    <a:pt x="23579" y="116522"/>
                  </a:lnTo>
                  <a:lnTo>
                    <a:pt x="22105" y="115873"/>
                  </a:lnTo>
                  <a:lnTo>
                    <a:pt x="20506" y="115586"/>
                  </a:lnTo>
                  <a:lnTo>
                    <a:pt x="18914" y="115789"/>
                  </a:lnTo>
                  <a:lnTo>
                    <a:pt x="14438" y="117212"/>
                  </a:lnTo>
                  <a:lnTo>
                    <a:pt x="12270" y="116929"/>
                  </a:lnTo>
                  <a:lnTo>
                    <a:pt x="15033" y="113390"/>
                  </a:lnTo>
                  <a:lnTo>
                    <a:pt x="18748" y="111602"/>
                  </a:lnTo>
                  <a:lnTo>
                    <a:pt x="19134" y="111112"/>
                  </a:lnTo>
                  <a:lnTo>
                    <a:pt x="17920" y="110872"/>
                  </a:lnTo>
                  <a:lnTo>
                    <a:pt x="10862" y="112114"/>
                  </a:lnTo>
                  <a:lnTo>
                    <a:pt x="8410" y="113172"/>
                  </a:lnTo>
                  <a:lnTo>
                    <a:pt x="5959" y="113479"/>
                  </a:lnTo>
                  <a:lnTo>
                    <a:pt x="7094" y="111864"/>
                  </a:lnTo>
                  <a:lnTo>
                    <a:pt x="10256" y="109650"/>
                  </a:lnTo>
                  <a:lnTo>
                    <a:pt x="11952" y="108607"/>
                  </a:lnTo>
                  <a:lnTo>
                    <a:pt x="12987" y="108193"/>
                  </a:lnTo>
                  <a:lnTo>
                    <a:pt x="14168" y="106891"/>
                  </a:lnTo>
                  <a:lnTo>
                    <a:pt x="17500" y="105411"/>
                  </a:lnTo>
                  <a:lnTo>
                    <a:pt x="6767" y="108463"/>
                  </a:lnTo>
                  <a:lnTo>
                    <a:pt x="3947" y="108091"/>
                  </a:lnTo>
                  <a:lnTo>
                    <a:pt x="3283" y="107240"/>
                  </a:lnTo>
                  <a:lnTo>
                    <a:pt x="1087" y="107639"/>
                  </a:lnTo>
                  <a:lnTo>
                    <a:pt x="255" y="105579"/>
                  </a:lnTo>
                  <a:lnTo>
                    <a:pt x="3508" y="102454"/>
                  </a:lnTo>
                  <a:lnTo>
                    <a:pt x="5404" y="101109"/>
                  </a:lnTo>
                  <a:lnTo>
                    <a:pt x="7655" y="100382"/>
                  </a:lnTo>
                  <a:lnTo>
                    <a:pt x="9822" y="99339"/>
                  </a:lnTo>
                  <a:lnTo>
                    <a:pt x="10626" y="98063"/>
                  </a:lnTo>
                  <a:lnTo>
                    <a:pt x="9606" y="97656"/>
                  </a:lnTo>
                  <a:lnTo>
                    <a:pt x="3112" y="97980"/>
                  </a:lnTo>
                  <a:lnTo>
                    <a:pt x="0" y="97708"/>
                  </a:lnTo>
                  <a:lnTo>
                    <a:pt x="168" y="96696"/>
                  </a:lnTo>
                  <a:lnTo>
                    <a:pt x="742" y="95574"/>
                  </a:lnTo>
                  <a:lnTo>
                    <a:pt x="3965" y="93654"/>
                  </a:lnTo>
                  <a:lnTo>
                    <a:pt x="5708" y="93345"/>
                  </a:lnTo>
                  <a:lnTo>
                    <a:pt x="7263" y="93528"/>
                  </a:lnTo>
                  <a:lnTo>
                    <a:pt x="8781" y="94020"/>
                  </a:lnTo>
                  <a:lnTo>
                    <a:pt x="10015" y="94663"/>
                  </a:lnTo>
                  <a:lnTo>
                    <a:pt x="13668" y="94294"/>
                  </a:lnTo>
                  <a:lnTo>
                    <a:pt x="12143" y="93067"/>
                  </a:lnTo>
                  <a:lnTo>
                    <a:pt x="11874" y="90572"/>
                  </a:lnTo>
                  <a:lnTo>
                    <a:pt x="10706" y="89733"/>
                  </a:lnTo>
                  <a:lnTo>
                    <a:pt x="12201" y="88575"/>
                  </a:lnTo>
                  <a:lnTo>
                    <a:pt x="13911" y="87871"/>
                  </a:lnTo>
                  <a:lnTo>
                    <a:pt x="16761" y="85473"/>
                  </a:lnTo>
                  <a:lnTo>
                    <a:pt x="17776" y="85108"/>
                  </a:lnTo>
                  <a:lnTo>
                    <a:pt x="23416" y="84525"/>
                  </a:lnTo>
                  <a:lnTo>
                    <a:pt x="29499" y="83263"/>
                  </a:lnTo>
                  <a:lnTo>
                    <a:pt x="35529" y="81519"/>
                  </a:lnTo>
                  <a:lnTo>
                    <a:pt x="32437" y="80544"/>
                  </a:lnTo>
                  <a:lnTo>
                    <a:pt x="30956" y="79257"/>
                  </a:lnTo>
                  <a:lnTo>
                    <a:pt x="28576" y="81858"/>
                  </a:lnTo>
                  <a:lnTo>
                    <a:pt x="26863" y="82852"/>
                  </a:lnTo>
                  <a:lnTo>
                    <a:pt x="22024" y="83383"/>
                  </a:lnTo>
                  <a:lnTo>
                    <a:pt x="20492" y="83091"/>
                  </a:lnTo>
                  <a:lnTo>
                    <a:pt x="18335" y="82284"/>
                  </a:lnTo>
                  <a:lnTo>
                    <a:pt x="17665" y="82592"/>
                  </a:lnTo>
                  <a:lnTo>
                    <a:pt x="17042" y="83215"/>
                  </a:lnTo>
                  <a:lnTo>
                    <a:pt x="13839" y="84489"/>
                  </a:lnTo>
                  <a:lnTo>
                    <a:pt x="10473" y="84794"/>
                  </a:lnTo>
                  <a:lnTo>
                    <a:pt x="14387" y="82456"/>
                  </a:lnTo>
                  <a:lnTo>
                    <a:pt x="19353" y="78489"/>
                  </a:lnTo>
                  <a:lnTo>
                    <a:pt x="20461" y="77234"/>
                  </a:lnTo>
                  <a:lnTo>
                    <a:pt x="22037" y="75050"/>
                  </a:lnTo>
                  <a:lnTo>
                    <a:pt x="21549" y="74078"/>
                  </a:lnTo>
                  <a:lnTo>
                    <a:pt x="20526" y="73524"/>
                  </a:lnTo>
                  <a:lnTo>
                    <a:pt x="24125" y="69022"/>
                  </a:lnTo>
                  <a:lnTo>
                    <a:pt x="25392" y="68204"/>
                  </a:lnTo>
                  <a:lnTo>
                    <a:pt x="27699" y="68072"/>
                  </a:lnTo>
                  <a:lnTo>
                    <a:pt x="29389" y="67357"/>
                  </a:lnTo>
                  <a:lnTo>
                    <a:pt x="30134" y="67354"/>
                  </a:lnTo>
                  <a:lnTo>
                    <a:pt x="30804" y="67088"/>
                  </a:lnTo>
                  <a:lnTo>
                    <a:pt x="32286" y="65736"/>
                  </a:lnTo>
                  <a:lnTo>
                    <a:pt x="29999" y="64876"/>
                  </a:lnTo>
                  <a:lnTo>
                    <a:pt x="27638" y="64433"/>
                  </a:lnTo>
                  <a:lnTo>
                    <a:pt x="20332" y="64902"/>
                  </a:lnTo>
                  <a:lnTo>
                    <a:pt x="19371" y="64801"/>
                  </a:lnTo>
                  <a:lnTo>
                    <a:pt x="18465" y="64386"/>
                  </a:lnTo>
                  <a:lnTo>
                    <a:pt x="17877" y="63787"/>
                  </a:lnTo>
                  <a:lnTo>
                    <a:pt x="17435" y="62252"/>
                  </a:lnTo>
                  <a:lnTo>
                    <a:pt x="16899" y="61909"/>
                  </a:lnTo>
                  <a:lnTo>
                    <a:pt x="15250" y="61909"/>
                  </a:lnTo>
                  <a:lnTo>
                    <a:pt x="13625" y="62378"/>
                  </a:lnTo>
                  <a:lnTo>
                    <a:pt x="12490" y="62333"/>
                  </a:lnTo>
                  <a:lnTo>
                    <a:pt x="11376" y="61660"/>
                  </a:lnTo>
                  <a:lnTo>
                    <a:pt x="13153" y="60088"/>
                  </a:lnTo>
                  <a:lnTo>
                    <a:pt x="10862" y="59718"/>
                  </a:lnTo>
                  <a:lnTo>
                    <a:pt x="8542" y="60027"/>
                  </a:lnTo>
                  <a:lnTo>
                    <a:pt x="6611" y="59551"/>
                  </a:lnTo>
                  <a:lnTo>
                    <a:pt x="6551" y="58564"/>
                  </a:lnTo>
                  <a:lnTo>
                    <a:pt x="7426" y="57579"/>
                  </a:lnTo>
                  <a:lnTo>
                    <a:pt x="6279" y="56644"/>
                  </a:lnTo>
                  <a:lnTo>
                    <a:pt x="6042" y="55462"/>
                  </a:lnTo>
                  <a:lnTo>
                    <a:pt x="7264" y="54881"/>
                  </a:lnTo>
                  <a:lnTo>
                    <a:pt x="8599" y="55074"/>
                  </a:lnTo>
                  <a:lnTo>
                    <a:pt x="11320" y="54199"/>
                  </a:lnTo>
                  <a:lnTo>
                    <a:pt x="14806" y="53774"/>
                  </a:lnTo>
                  <a:lnTo>
                    <a:pt x="11816" y="52911"/>
                  </a:lnTo>
                  <a:lnTo>
                    <a:pt x="10625" y="52171"/>
                  </a:lnTo>
                  <a:lnTo>
                    <a:pt x="10568" y="51038"/>
                  </a:lnTo>
                  <a:lnTo>
                    <a:pt x="10805" y="50068"/>
                  </a:lnTo>
                  <a:lnTo>
                    <a:pt x="14266" y="48427"/>
                  </a:lnTo>
                  <a:lnTo>
                    <a:pt x="17955" y="47703"/>
                  </a:lnTo>
                  <a:lnTo>
                    <a:pt x="17683" y="46621"/>
                  </a:lnTo>
                  <a:lnTo>
                    <a:pt x="17941" y="45450"/>
                  </a:lnTo>
                  <a:lnTo>
                    <a:pt x="14212" y="45112"/>
                  </a:lnTo>
                  <a:lnTo>
                    <a:pt x="10529" y="45938"/>
                  </a:lnTo>
                  <a:lnTo>
                    <a:pt x="10923" y="43700"/>
                  </a:lnTo>
                  <a:lnTo>
                    <a:pt x="11805" y="41678"/>
                  </a:lnTo>
                  <a:lnTo>
                    <a:pt x="11979" y="40343"/>
                  </a:lnTo>
                  <a:lnTo>
                    <a:pt x="11803" y="38914"/>
                  </a:lnTo>
                  <a:lnTo>
                    <a:pt x="10078" y="39525"/>
                  </a:lnTo>
                  <a:lnTo>
                    <a:pt x="9876" y="37509"/>
                  </a:lnTo>
                  <a:lnTo>
                    <a:pt x="9135" y="36125"/>
                  </a:lnTo>
                  <a:lnTo>
                    <a:pt x="6580" y="37078"/>
                  </a:lnTo>
                  <a:lnTo>
                    <a:pt x="6646" y="35252"/>
                  </a:lnTo>
                  <a:lnTo>
                    <a:pt x="7382" y="33975"/>
                  </a:lnTo>
                  <a:lnTo>
                    <a:pt x="8718" y="33420"/>
                  </a:lnTo>
                  <a:lnTo>
                    <a:pt x="10045" y="33661"/>
                  </a:lnTo>
                  <a:lnTo>
                    <a:pt x="12508" y="33637"/>
                  </a:lnTo>
                  <a:lnTo>
                    <a:pt x="14883" y="32677"/>
                  </a:lnTo>
                  <a:lnTo>
                    <a:pt x="18307" y="32430"/>
                  </a:lnTo>
                  <a:lnTo>
                    <a:pt x="23764" y="32732"/>
                  </a:lnTo>
                  <a:lnTo>
                    <a:pt x="27515" y="35441"/>
                  </a:lnTo>
                  <a:lnTo>
                    <a:pt x="28483" y="34957"/>
                  </a:lnTo>
                  <a:lnTo>
                    <a:pt x="29983" y="33245"/>
                  </a:lnTo>
                  <a:lnTo>
                    <a:pt x="30687" y="33056"/>
                  </a:lnTo>
                  <a:lnTo>
                    <a:pt x="36340" y="33802"/>
                  </a:lnTo>
                  <a:lnTo>
                    <a:pt x="39851" y="34787"/>
                  </a:lnTo>
                  <a:lnTo>
                    <a:pt x="40790" y="34480"/>
                  </a:lnTo>
                  <a:lnTo>
                    <a:pt x="40283" y="32580"/>
                  </a:lnTo>
                  <a:lnTo>
                    <a:pt x="39074" y="31262"/>
                  </a:lnTo>
                  <a:lnTo>
                    <a:pt x="40593" y="29534"/>
                  </a:lnTo>
                  <a:lnTo>
                    <a:pt x="42438" y="28363"/>
                  </a:lnTo>
                  <a:lnTo>
                    <a:pt x="43671" y="27779"/>
                  </a:lnTo>
                  <a:lnTo>
                    <a:pt x="46518" y="27053"/>
                  </a:lnTo>
                  <a:lnTo>
                    <a:pt x="47759" y="26369"/>
                  </a:lnTo>
                  <a:lnTo>
                    <a:pt x="48586" y="24143"/>
                  </a:lnTo>
                  <a:lnTo>
                    <a:pt x="49902" y="22287"/>
                  </a:lnTo>
                  <a:lnTo>
                    <a:pt x="42758" y="23252"/>
                  </a:lnTo>
                  <a:lnTo>
                    <a:pt x="35961" y="21052"/>
                  </a:lnTo>
                  <a:lnTo>
                    <a:pt x="37039" y="19495"/>
                  </a:lnTo>
                  <a:lnTo>
                    <a:pt x="38474" y="18612"/>
                  </a:lnTo>
                  <a:lnTo>
                    <a:pt x="40950" y="17935"/>
                  </a:lnTo>
                  <a:lnTo>
                    <a:pt x="41185" y="17122"/>
                  </a:lnTo>
                  <a:lnTo>
                    <a:pt x="42438" y="16446"/>
                  </a:lnTo>
                  <a:lnTo>
                    <a:pt x="44510" y="14669"/>
                  </a:lnTo>
                  <a:lnTo>
                    <a:pt x="43749" y="12346"/>
                  </a:lnTo>
                  <a:lnTo>
                    <a:pt x="44157" y="10646"/>
                  </a:lnTo>
                  <a:lnTo>
                    <a:pt x="45649" y="9537"/>
                  </a:lnTo>
                  <a:lnTo>
                    <a:pt x="46116" y="7945"/>
                  </a:lnTo>
                  <a:lnTo>
                    <a:pt x="46781" y="6772"/>
                  </a:lnTo>
                  <a:lnTo>
                    <a:pt x="49808" y="6352"/>
                  </a:lnTo>
                  <a:lnTo>
                    <a:pt x="52718" y="5261"/>
                  </a:lnTo>
                  <a:lnTo>
                    <a:pt x="53769" y="5367"/>
                  </a:lnTo>
                  <a:lnTo>
                    <a:pt x="57205" y="5115"/>
                  </a:lnTo>
                  <a:lnTo>
                    <a:pt x="58369" y="5555"/>
                  </a:lnTo>
                  <a:lnTo>
                    <a:pt x="58104" y="3626"/>
                  </a:lnTo>
                  <a:lnTo>
                    <a:pt x="60214" y="3375"/>
                  </a:lnTo>
                  <a:lnTo>
                    <a:pt x="61039" y="3760"/>
                  </a:lnTo>
                  <a:lnTo>
                    <a:pt x="61402" y="5127"/>
                  </a:lnTo>
                  <a:lnTo>
                    <a:pt x="62361" y="5999"/>
                  </a:lnTo>
                  <a:lnTo>
                    <a:pt x="62657" y="7513"/>
                  </a:lnTo>
                  <a:lnTo>
                    <a:pt x="62014" y="8682"/>
                  </a:lnTo>
                  <a:lnTo>
                    <a:pt x="60940" y="9582"/>
                  </a:lnTo>
                  <a:lnTo>
                    <a:pt x="61922" y="10503"/>
                  </a:lnTo>
                  <a:lnTo>
                    <a:pt x="60399" y="12166"/>
                  </a:lnTo>
                  <a:lnTo>
                    <a:pt x="62043" y="11458"/>
                  </a:lnTo>
                  <a:lnTo>
                    <a:pt x="64386" y="9829"/>
                  </a:lnTo>
                  <a:lnTo>
                    <a:pt x="64265" y="8496"/>
                  </a:lnTo>
                  <a:lnTo>
                    <a:pt x="63866" y="6820"/>
                  </a:lnTo>
                  <a:lnTo>
                    <a:pt x="63214" y="5307"/>
                  </a:lnTo>
                  <a:lnTo>
                    <a:pt x="63514" y="3639"/>
                  </a:lnTo>
                  <a:lnTo>
                    <a:pt x="64831" y="2595"/>
                  </a:lnTo>
                  <a:lnTo>
                    <a:pt x="68293" y="2070"/>
                  </a:lnTo>
                  <a:lnTo>
                    <a:pt x="66873" y="174"/>
                  </a:lnTo>
                  <a:close/>
                </a:path>
              </a:pathLst>
            </a:custGeom>
            <a:grpFill/>
            <a:ln w="3175"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25" name="ee4p_IT_1_92573">
              <a:extLst>
                <a:ext uri="{FF2B5EF4-FFF2-40B4-BE49-F238E27FC236}">
                  <a16:creationId xmlns:a16="http://schemas.microsoft.com/office/drawing/2014/main" id="{4CC3E708-29CB-4A45-B43F-6F7A876A83C5}"/>
                </a:ext>
              </a:extLst>
            </p:cNvPr>
            <p:cNvSpPr>
              <a:spLocks noChangeAspect="1"/>
            </p:cNvSpPr>
            <p:nvPr>
              <p:custDataLst>
                <p:tags r:id="rId19"/>
              </p:custDataLst>
            </p:nvPr>
          </p:nvSpPr>
          <p:spPr>
            <a:xfrm>
              <a:off x="4488825" y="5317667"/>
              <a:ext cx="653384" cy="636877"/>
            </a:xfrm>
            <a:custGeom>
              <a:avLst/>
              <a:gdLst>
                <a:gd name="connsiteX0" fmla="*/ 83300 w 164820"/>
                <a:gd name="connsiteY0" fmla="*/ 156716 h 160656"/>
                <a:gd name="connsiteX1" fmla="*/ 84985 w 164820"/>
                <a:gd name="connsiteY1" fmla="*/ 157277 h 160656"/>
                <a:gd name="connsiteX2" fmla="*/ 85512 w 164820"/>
                <a:gd name="connsiteY2" fmla="*/ 158410 h 160656"/>
                <a:gd name="connsiteX3" fmla="*/ 85583 w 164820"/>
                <a:gd name="connsiteY3" fmla="*/ 158900 h 160656"/>
                <a:gd name="connsiteX4" fmla="*/ 84523 w 164820"/>
                <a:gd name="connsiteY4" fmla="*/ 159180 h 160656"/>
                <a:gd name="connsiteX5" fmla="*/ 83137 w 164820"/>
                <a:gd name="connsiteY5" fmla="*/ 158308 h 160656"/>
                <a:gd name="connsiteX6" fmla="*/ 83044 w 164820"/>
                <a:gd name="connsiteY6" fmla="*/ 157083 h 160656"/>
                <a:gd name="connsiteX7" fmla="*/ 163353 w 164820"/>
                <a:gd name="connsiteY7" fmla="*/ 119599 h 160656"/>
                <a:gd name="connsiteX8" fmla="*/ 164820 w 164820"/>
                <a:gd name="connsiteY8" fmla="*/ 120327 h 160656"/>
                <a:gd name="connsiteX9" fmla="*/ 163535 w 164820"/>
                <a:gd name="connsiteY9" fmla="*/ 121541 h 160656"/>
                <a:gd name="connsiteX10" fmla="*/ 162038 w 164820"/>
                <a:gd name="connsiteY10" fmla="*/ 124459 h 160656"/>
                <a:gd name="connsiteX11" fmla="*/ 161304 w 164820"/>
                <a:gd name="connsiteY11" fmla="*/ 125580 h 160656"/>
                <a:gd name="connsiteX12" fmla="*/ 155970 w 164820"/>
                <a:gd name="connsiteY12" fmla="*/ 132706 h 160656"/>
                <a:gd name="connsiteX13" fmla="*/ 155359 w 164820"/>
                <a:gd name="connsiteY13" fmla="*/ 134350 h 160656"/>
                <a:gd name="connsiteX14" fmla="*/ 154984 w 164820"/>
                <a:gd name="connsiteY14" fmla="*/ 136135 h 160656"/>
                <a:gd name="connsiteX15" fmla="*/ 154431 w 164820"/>
                <a:gd name="connsiteY15" fmla="*/ 137699 h 160656"/>
                <a:gd name="connsiteX16" fmla="*/ 153683 w 164820"/>
                <a:gd name="connsiteY16" fmla="*/ 139172 h 160656"/>
                <a:gd name="connsiteX17" fmla="*/ 152986 w 164820"/>
                <a:gd name="connsiteY17" fmla="*/ 141044 h 160656"/>
                <a:gd name="connsiteX18" fmla="*/ 153122 w 164820"/>
                <a:gd name="connsiteY18" fmla="*/ 143164 h 160656"/>
                <a:gd name="connsiteX19" fmla="*/ 153373 w 164820"/>
                <a:gd name="connsiteY19" fmla="*/ 144204 h 160656"/>
                <a:gd name="connsiteX20" fmla="*/ 154014 w 164820"/>
                <a:gd name="connsiteY20" fmla="*/ 144885 h 160656"/>
                <a:gd name="connsiteX21" fmla="*/ 155068 w 164820"/>
                <a:gd name="connsiteY21" fmla="*/ 145526 h 160656"/>
                <a:gd name="connsiteX22" fmla="*/ 155877 w 164820"/>
                <a:gd name="connsiteY22" fmla="*/ 146508 h 160656"/>
                <a:gd name="connsiteX23" fmla="*/ 154636 w 164820"/>
                <a:gd name="connsiteY23" fmla="*/ 147403 h 160656"/>
                <a:gd name="connsiteX24" fmla="*/ 156005 w 164820"/>
                <a:gd name="connsiteY24" fmla="*/ 149197 h 160656"/>
                <a:gd name="connsiteX25" fmla="*/ 157169 w 164820"/>
                <a:gd name="connsiteY25" fmla="*/ 150262 h 160656"/>
                <a:gd name="connsiteX26" fmla="*/ 157324 w 164820"/>
                <a:gd name="connsiteY26" fmla="*/ 151324 h 160656"/>
                <a:gd name="connsiteX27" fmla="*/ 157298 w 164820"/>
                <a:gd name="connsiteY27" fmla="*/ 152389 h 160656"/>
                <a:gd name="connsiteX28" fmla="*/ 154880 w 164820"/>
                <a:gd name="connsiteY28" fmla="*/ 154385 h 160656"/>
                <a:gd name="connsiteX29" fmla="*/ 153934 w 164820"/>
                <a:gd name="connsiteY29" fmla="*/ 155483 h 160656"/>
                <a:gd name="connsiteX30" fmla="*/ 153347 w 164820"/>
                <a:gd name="connsiteY30" fmla="*/ 156812 h 160656"/>
                <a:gd name="connsiteX31" fmla="*/ 153092 w 164820"/>
                <a:gd name="connsiteY31" fmla="*/ 158184 h 160656"/>
                <a:gd name="connsiteX32" fmla="*/ 153357 w 164820"/>
                <a:gd name="connsiteY32" fmla="*/ 159422 h 160656"/>
                <a:gd name="connsiteX33" fmla="*/ 153275 w 164820"/>
                <a:gd name="connsiteY33" fmla="*/ 160656 h 160656"/>
                <a:gd name="connsiteX34" fmla="*/ 150840 w 164820"/>
                <a:gd name="connsiteY34" fmla="*/ 160502 h 160656"/>
                <a:gd name="connsiteX35" fmla="*/ 148346 w 164820"/>
                <a:gd name="connsiteY35" fmla="*/ 159750 h 160656"/>
                <a:gd name="connsiteX36" fmla="*/ 145832 w 164820"/>
                <a:gd name="connsiteY36" fmla="*/ 160083 h 160656"/>
                <a:gd name="connsiteX37" fmla="*/ 142258 w 164820"/>
                <a:gd name="connsiteY37" fmla="*/ 158657 h 160656"/>
                <a:gd name="connsiteX38" fmla="*/ 140956 w 164820"/>
                <a:gd name="connsiteY38" fmla="*/ 158399 h 160656"/>
                <a:gd name="connsiteX39" fmla="*/ 139771 w 164820"/>
                <a:gd name="connsiteY39" fmla="*/ 157843 h 160656"/>
                <a:gd name="connsiteX40" fmla="*/ 136795 w 164820"/>
                <a:gd name="connsiteY40" fmla="*/ 153418 h 160656"/>
                <a:gd name="connsiteX41" fmla="*/ 134402 w 164820"/>
                <a:gd name="connsiteY41" fmla="*/ 151546 h 160656"/>
                <a:gd name="connsiteX42" fmla="*/ 131835 w 164820"/>
                <a:gd name="connsiteY42" fmla="*/ 150090 h 160656"/>
                <a:gd name="connsiteX43" fmla="*/ 129211 w 164820"/>
                <a:gd name="connsiteY43" fmla="*/ 150001 h 160656"/>
                <a:gd name="connsiteX44" fmla="*/ 126583 w 164820"/>
                <a:gd name="connsiteY44" fmla="*/ 150167 h 160656"/>
                <a:gd name="connsiteX45" fmla="*/ 124264 w 164820"/>
                <a:gd name="connsiteY45" fmla="*/ 149269 h 160656"/>
                <a:gd name="connsiteX46" fmla="*/ 119544 w 164820"/>
                <a:gd name="connsiteY46" fmla="*/ 146257 h 160656"/>
                <a:gd name="connsiteX47" fmla="*/ 114542 w 164820"/>
                <a:gd name="connsiteY47" fmla="*/ 143846 h 160656"/>
                <a:gd name="connsiteX48" fmla="*/ 112420 w 164820"/>
                <a:gd name="connsiteY48" fmla="*/ 142274 h 160656"/>
                <a:gd name="connsiteX49" fmla="*/ 111450 w 164820"/>
                <a:gd name="connsiteY49" fmla="*/ 141217 h 160656"/>
                <a:gd name="connsiteX50" fmla="*/ 110319 w 164820"/>
                <a:gd name="connsiteY50" fmla="*/ 140515 h 160656"/>
                <a:gd name="connsiteX51" fmla="*/ 107453 w 164820"/>
                <a:gd name="connsiteY51" fmla="*/ 139819 h 160656"/>
                <a:gd name="connsiteX52" fmla="*/ 104884 w 164820"/>
                <a:gd name="connsiteY52" fmla="*/ 138186 h 160656"/>
                <a:gd name="connsiteX53" fmla="*/ 103713 w 164820"/>
                <a:gd name="connsiteY53" fmla="*/ 138066 h 160656"/>
                <a:gd name="connsiteX54" fmla="*/ 101195 w 164820"/>
                <a:gd name="connsiteY54" fmla="*/ 138265 h 160656"/>
                <a:gd name="connsiteX55" fmla="*/ 99906 w 164820"/>
                <a:gd name="connsiteY55" fmla="*/ 138152 h 160656"/>
                <a:gd name="connsiteX56" fmla="*/ 98606 w 164820"/>
                <a:gd name="connsiteY56" fmla="*/ 137577 h 160656"/>
                <a:gd name="connsiteX57" fmla="*/ 96097 w 164820"/>
                <a:gd name="connsiteY57" fmla="*/ 135655 h 160656"/>
                <a:gd name="connsiteX58" fmla="*/ 94497 w 164820"/>
                <a:gd name="connsiteY58" fmla="*/ 132988 h 160656"/>
                <a:gd name="connsiteX59" fmla="*/ 94080 w 164820"/>
                <a:gd name="connsiteY59" fmla="*/ 131811 h 160656"/>
                <a:gd name="connsiteX60" fmla="*/ 95214 w 164820"/>
                <a:gd name="connsiteY60" fmla="*/ 128764 h 160656"/>
                <a:gd name="connsiteX61" fmla="*/ 96559 w 164820"/>
                <a:gd name="connsiteY61" fmla="*/ 125837 h 160656"/>
                <a:gd name="connsiteX62" fmla="*/ 97753 w 164820"/>
                <a:gd name="connsiteY62" fmla="*/ 125015 h 160656"/>
                <a:gd name="connsiteX63" fmla="*/ 99140 w 164820"/>
                <a:gd name="connsiteY63" fmla="*/ 124426 h 160656"/>
                <a:gd name="connsiteX64" fmla="*/ 99980 w 164820"/>
                <a:gd name="connsiteY64" fmla="*/ 123559 h 160656"/>
                <a:gd name="connsiteX65" fmla="*/ 100688 w 164820"/>
                <a:gd name="connsiteY65" fmla="*/ 122497 h 160656"/>
                <a:gd name="connsiteX66" fmla="*/ 103260 w 164820"/>
                <a:gd name="connsiteY66" fmla="*/ 125560 h 160656"/>
                <a:gd name="connsiteX67" fmla="*/ 104411 w 164820"/>
                <a:gd name="connsiteY67" fmla="*/ 126300 h 160656"/>
                <a:gd name="connsiteX68" fmla="*/ 105577 w 164820"/>
                <a:gd name="connsiteY68" fmla="*/ 126135 h 160656"/>
                <a:gd name="connsiteX69" fmla="*/ 107645 w 164820"/>
                <a:gd name="connsiteY69" fmla="*/ 125038 h 160656"/>
                <a:gd name="connsiteX70" fmla="*/ 107818 w 164820"/>
                <a:gd name="connsiteY70" fmla="*/ 123836 h 160656"/>
                <a:gd name="connsiteX71" fmla="*/ 110098 w 164820"/>
                <a:gd name="connsiteY71" fmla="*/ 122311 h 160656"/>
                <a:gd name="connsiteX72" fmla="*/ 112999 w 164820"/>
                <a:gd name="connsiteY72" fmla="*/ 122282 h 160656"/>
                <a:gd name="connsiteX73" fmla="*/ 114337 w 164820"/>
                <a:gd name="connsiteY73" fmla="*/ 122562 h 160656"/>
                <a:gd name="connsiteX74" fmla="*/ 115041 w 164820"/>
                <a:gd name="connsiteY74" fmla="*/ 123941 h 160656"/>
                <a:gd name="connsiteX75" fmla="*/ 116147 w 164820"/>
                <a:gd name="connsiteY75" fmla="*/ 124366 h 160656"/>
                <a:gd name="connsiteX76" fmla="*/ 117425 w 164820"/>
                <a:gd name="connsiteY76" fmla="*/ 124549 h 160656"/>
                <a:gd name="connsiteX77" fmla="*/ 121632 w 164820"/>
                <a:gd name="connsiteY77" fmla="*/ 127175 h 160656"/>
                <a:gd name="connsiteX78" fmla="*/ 122811 w 164820"/>
                <a:gd name="connsiteY78" fmla="*/ 127603 h 160656"/>
                <a:gd name="connsiteX79" fmla="*/ 124005 w 164820"/>
                <a:gd name="connsiteY79" fmla="*/ 127676 h 160656"/>
                <a:gd name="connsiteX80" fmla="*/ 127272 w 164820"/>
                <a:gd name="connsiteY80" fmla="*/ 126574 h 160656"/>
                <a:gd name="connsiteX81" fmla="*/ 129779 w 164820"/>
                <a:gd name="connsiteY81" fmla="*/ 126155 h 160656"/>
                <a:gd name="connsiteX82" fmla="*/ 135035 w 164820"/>
                <a:gd name="connsiteY82" fmla="*/ 126762 h 160656"/>
                <a:gd name="connsiteX83" fmla="*/ 137877 w 164820"/>
                <a:gd name="connsiteY83" fmla="*/ 126102 h 160656"/>
                <a:gd name="connsiteX84" fmla="*/ 139861 w 164820"/>
                <a:gd name="connsiteY84" fmla="*/ 126027 h 160656"/>
                <a:gd name="connsiteX85" fmla="*/ 142753 w 164820"/>
                <a:gd name="connsiteY85" fmla="*/ 125012 h 160656"/>
                <a:gd name="connsiteX86" fmla="*/ 144975 w 164820"/>
                <a:gd name="connsiteY86" fmla="*/ 123326 h 160656"/>
                <a:gd name="connsiteX87" fmla="*/ 146134 w 164820"/>
                <a:gd name="connsiteY87" fmla="*/ 122910 h 160656"/>
                <a:gd name="connsiteX88" fmla="*/ 147378 w 164820"/>
                <a:gd name="connsiteY88" fmla="*/ 122790 h 160656"/>
                <a:gd name="connsiteX89" fmla="*/ 150386 w 164820"/>
                <a:gd name="connsiteY89" fmla="*/ 122895 h 160656"/>
                <a:gd name="connsiteX90" fmla="*/ 153411 w 164820"/>
                <a:gd name="connsiteY90" fmla="*/ 123276 h 160656"/>
                <a:gd name="connsiteX91" fmla="*/ 154679 w 164820"/>
                <a:gd name="connsiteY91" fmla="*/ 122882 h 160656"/>
                <a:gd name="connsiteX92" fmla="*/ 155739 w 164820"/>
                <a:gd name="connsiteY92" fmla="*/ 121779 h 160656"/>
                <a:gd name="connsiteX93" fmla="*/ 156968 w 164820"/>
                <a:gd name="connsiteY93" fmla="*/ 121282 h 160656"/>
                <a:gd name="connsiteX94" fmla="*/ 158320 w 164820"/>
                <a:gd name="connsiteY94" fmla="*/ 121617 h 160656"/>
                <a:gd name="connsiteX95" fmla="*/ 161813 w 164820"/>
                <a:gd name="connsiteY95" fmla="*/ 119728 h 160656"/>
                <a:gd name="connsiteX96" fmla="*/ 4111 w 164820"/>
                <a:gd name="connsiteY96" fmla="*/ 98453 h 160656"/>
                <a:gd name="connsiteX97" fmla="*/ 5744 w 164820"/>
                <a:gd name="connsiteY97" fmla="*/ 99107 h 160656"/>
                <a:gd name="connsiteX98" fmla="*/ 6590 w 164820"/>
                <a:gd name="connsiteY98" fmla="*/ 99705 h 160656"/>
                <a:gd name="connsiteX99" fmla="*/ 5321 w 164820"/>
                <a:gd name="connsiteY99" fmla="*/ 102261 h 160656"/>
                <a:gd name="connsiteX100" fmla="*/ 3982 w 164820"/>
                <a:gd name="connsiteY100" fmla="*/ 100451 h 160656"/>
                <a:gd name="connsiteX101" fmla="*/ 3930 w 164820"/>
                <a:gd name="connsiteY101" fmla="*/ 98896 h 160656"/>
                <a:gd name="connsiteX102" fmla="*/ 125825 w 164820"/>
                <a:gd name="connsiteY102" fmla="*/ 55558 h 160656"/>
                <a:gd name="connsiteX103" fmla="*/ 127836 w 164820"/>
                <a:gd name="connsiteY103" fmla="*/ 56147 h 160656"/>
                <a:gd name="connsiteX104" fmla="*/ 127808 w 164820"/>
                <a:gd name="connsiteY104" fmla="*/ 56704 h 160656"/>
                <a:gd name="connsiteX105" fmla="*/ 127309 w 164820"/>
                <a:gd name="connsiteY105" fmla="*/ 57033 h 160656"/>
                <a:gd name="connsiteX106" fmla="*/ 126322 w 164820"/>
                <a:gd name="connsiteY106" fmla="*/ 57260 h 160656"/>
                <a:gd name="connsiteX107" fmla="*/ 125747 w 164820"/>
                <a:gd name="connsiteY107" fmla="*/ 56951 h 160656"/>
                <a:gd name="connsiteX108" fmla="*/ 125434 w 164820"/>
                <a:gd name="connsiteY108" fmla="*/ 56549 h 160656"/>
                <a:gd name="connsiteX109" fmla="*/ 3081 w 164820"/>
                <a:gd name="connsiteY109" fmla="*/ 46092 h 160656"/>
                <a:gd name="connsiteX110" fmla="*/ 3602 w 164820"/>
                <a:gd name="connsiteY110" fmla="*/ 46625 h 160656"/>
                <a:gd name="connsiteX111" fmla="*/ 3053 w 164820"/>
                <a:gd name="connsiteY111" fmla="*/ 47648 h 160656"/>
                <a:gd name="connsiteX112" fmla="*/ 2326 w 164820"/>
                <a:gd name="connsiteY112" fmla="*/ 48251 h 160656"/>
                <a:gd name="connsiteX113" fmla="*/ 1589 w 164820"/>
                <a:gd name="connsiteY113" fmla="*/ 49454 h 160656"/>
                <a:gd name="connsiteX114" fmla="*/ 549 w 164820"/>
                <a:gd name="connsiteY114" fmla="*/ 49366 h 160656"/>
                <a:gd name="connsiteX115" fmla="*/ 955 w 164820"/>
                <a:gd name="connsiteY115" fmla="*/ 48476 h 160656"/>
                <a:gd name="connsiteX116" fmla="*/ 1913 w 164820"/>
                <a:gd name="connsiteY116" fmla="*/ 46691 h 160656"/>
                <a:gd name="connsiteX117" fmla="*/ 23164 w 164820"/>
                <a:gd name="connsiteY117" fmla="*/ 42529 h 160656"/>
                <a:gd name="connsiteX118" fmla="*/ 24371 w 164820"/>
                <a:gd name="connsiteY118" fmla="*/ 43990 h 160656"/>
                <a:gd name="connsiteX119" fmla="*/ 25869 w 164820"/>
                <a:gd name="connsiteY119" fmla="*/ 44142 h 160656"/>
                <a:gd name="connsiteX120" fmla="*/ 28178 w 164820"/>
                <a:gd name="connsiteY120" fmla="*/ 45347 h 160656"/>
                <a:gd name="connsiteX121" fmla="*/ 29174 w 164820"/>
                <a:gd name="connsiteY121" fmla="*/ 46500 h 160656"/>
                <a:gd name="connsiteX122" fmla="*/ 30026 w 164820"/>
                <a:gd name="connsiteY122" fmla="*/ 47888 h 160656"/>
                <a:gd name="connsiteX123" fmla="*/ 30842 w 164820"/>
                <a:gd name="connsiteY123" fmla="*/ 48496 h 160656"/>
                <a:gd name="connsiteX124" fmla="*/ 31719 w 164820"/>
                <a:gd name="connsiteY124" fmla="*/ 48845 h 160656"/>
                <a:gd name="connsiteX125" fmla="*/ 31849 w 164820"/>
                <a:gd name="connsiteY125" fmla="*/ 49171 h 160656"/>
                <a:gd name="connsiteX126" fmla="*/ 31154 w 164820"/>
                <a:gd name="connsiteY126" fmla="*/ 49497 h 160656"/>
                <a:gd name="connsiteX127" fmla="*/ 30357 w 164820"/>
                <a:gd name="connsiteY127" fmla="*/ 51084 h 160656"/>
                <a:gd name="connsiteX128" fmla="*/ 30806 w 164820"/>
                <a:gd name="connsiteY128" fmla="*/ 51541 h 160656"/>
                <a:gd name="connsiteX129" fmla="*/ 32088 w 164820"/>
                <a:gd name="connsiteY129" fmla="*/ 52401 h 160656"/>
                <a:gd name="connsiteX130" fmla="*/ 33194 w 164820"/>
                <a:gd name="connsiteY130" fmla="*/ 54080 h 160656"/>
                <a:gd name="connsiteX131" fmla="*/ 35677 w 164820"/>
                <a:gd name="connsiteY131" fmla="*/ 60951 h 160656"/>
                <a:gd name="connsiteX132" fmla="*/ 35919 w 164820"/>
                <a:gd name="connsiteY132" fmla="*/ 62435 h 160656"/>
                <a:gd name="connsiteX133" fmla="*/ 35423 w 164820"/>
                <a:gd name="connsiteY133" fmla="*/ 63955 h 160656"/>
                <a:gd name="connsiteX134" fmla="*/ 34790 w 164820"/>
                <a:gd name="connsiteY134" fmla="*/ 65033 h 160656"/>
                <a:gd name="connsiteX135" fmla="*/ 32330 w 164820"/>
                <a:gd name="connsiteY135" fmla="*/ 68482 h 160656"/>
                <a:gd name="connsiteX136" fmla="*/ 32695 w 164820"/>
                <a:gd name="connsiteY136" fmla="*/ 71334 h 160656"/>
                <a:gd name="connsiteX137" fmla="*/ 33609 w 164820"/>
                <a:gd name="connsiteY137" fmla="*/ 73095 h 160656"/>
                <a:gd name="connsiteX138" fmla="*/ 33740 w 164820"/>
                <a:gd name="connsiteY138" fmla="*/ 75044 h 160656"/>
                <a:gd name="connsiteX139" fmla="*/ 33283 w 164820"/>
                <a:gd name="connsiteY139" fmla="*/ 77460 h 160656"/>
                <a:gd name="connsiteX140" fmla="*/ 31756 w 164820"/>
                <a:gd name="connsiteY140" fmla="*/ 92276 h 160656"/>
                <a:gd name="connsiteX141" fmla="*/ 31018 w 164820"/>
                <a:gd name="connsiteY141" fmla="*/ 94889 h 160656"/>
                <a:gd name="connsiteX142" fmla="*/ 30551 w 164820"/>
                <a:gd name="connsiteY142" fmla="*/ 97156 h 160656"/>
                <a:gd name="connsiteX143" fmla="*/ 28867 w 164820"/>
                <a:gd name="connsiteY143" fmla="*/ 97841 h 160656"/>
                <a:gd name="connsiteX144" fmla="*/ 26694 w 164820"/>
                <a:gd name="connsiteY144" fmla="*/ 97117 h 160656"/>
                <a:gd name="connsiteX145" fmla="*/ 23954 w 164820"/>
                <a:gd name="connsiteY145" fmla="*/ 95841 h 160656"/>
                <a:gd name="connsiteX146" fmla="*/ 22689 w 164820"/>
                <a:gd name="connsiteY146" fmla="*/ 95918 h 160656"/>
                <a:gd name="connsiteX147" fmla="*/ 21415 w 164820"/>
                <a:gd name="connsiteY147" fmla="*/ 96354 h 160656"/>
                <a:gd name="connsiteX148" fmla="*/ 20363 w 164820"/>
                <a:gd name="connsiteY148" fmla="*/ 95984 h 160656"/>
                <a:gd name="connsiteX149" fmla="*/ 19359 w 164820"/>
                <a:gd name="connsiteY149" fmla="*/ 95262 h 160656"/>
                <a:gd name="connsiteX150" fmla="*/ 18614 w 164820"/>
                <a:gd name="connsiteY150" fmla="*/ 100332 h 160656"/>
                <a:gd name="connsiteX151" fmla="*/ 17375 w 164820"/>
                <a:gd name="connsiteY151" fmla="*/ 102389 h 160656"/>
                <a:gd name="connsiteX152" fmla="*/ 15489 w 164820"/>
                <a:gd name="connsiteY152" fmla="*/ 103702 h 160656"/>
                <a:gd name="connsiteX153" fmla="*/ 13716 w 164820"/>
                <a:gd name="connsiteY153" fmla="*/ 103785 h 160656"/>
                <a:gd name="connsiteX154" fmla="*/ 11890 w 164820"/>
                <a:gd name="connsiteY154" fmla="*/ 103345 h 160656"/>
                <a:gd name="connsiteX155" fmla="*/ 10341 w 164820"/>
                <a:gd name="connsiteY155" fmla="*/ 103349 h 160656"/>
                <a:gd name="connsiteX156" fmla="*/ 9167 w 164820"/>
                <a:gd name="connsiteY156" fmla="*/ 102373 h 160656"/>
                <a:gd name="connsiteX157" fmla="*/ 8236 w 164820"/>
                <a:gd name="connsiteY157" fmla="*/ 100667 h 160656"/>
                <a:gd name="connsiteX158" fmla="*/ 6752 w 164820"/>
                <a:gd name="connsiteY158" fmla="*/ 98593 h 160656"/>
                <a:gd name="connsiteX159" fmla="*/ 5247 w 164820"/>
                <a:gd name="connsiteY159" fmla="*/ 96128 h 160656"/>
                <a:gd name="connsiteX160" fmla="*/ 5083 w 164820"/>
                <a:gd name="connsiteY160" fmla="*/ 93898 h 160656"/>
                <a:gd name="connsiteX161" fmla="*/ 4826 w 164820"/>
                <a:gd name="connsiteY161" fmla="*/ 88975 h 160656"/>
                <a:gd name="connsiteX162" fmla="*/ 5258 w 164820"/>
                <a:gd name="connsiteY162" fmla="*/ 87899 h 160656"/>
                <a:gd name="connsiteX163" fmla="*/ 5887 w 164820"/>
                <a:gd name="connsiteY163" fmla="*/ 86867 h 160656"/>
                <a:gd name="connsiteX164" fmla="*/ 6195 w 164820"/>
                <a:gd name="connsiteY164" fmla="*/ 84661 h 160656"/>
                <a:gd name="connsiteX165" fmla="*/ 5977 w 164820"/>
                <a:gd name="connsiteY165" fmla="*/ 82737 h 160656"/>
                <a:gd name="connsiteX166" fmla="*/ 6418 w 164820"/>
                <a:gd name="connsiteY166" fmla="*/ 82050 h 160656"/>
                <a:gd name="connsiteX167" fmla="*/ 7295 w 164820"/>
                <a:gd name="connsiteY167" fmla="*/ 82737 h 160656"/>
                <a:gd name="connsiteX168" fmla="*/ 7953 w 164820"/>
                <a:gd name="connsiteY168" fmla="*/ 82479 h 160656"/>
                <a:gd name="connsiteX169" fmla="*/ 7912 w 164820"/>
                <a:gd name="connsiteY169" fmla="*/ 81488 h 160656"/>
                <a:gd name="connsiteX170" fmla="*/ 8113 w 164820"/>
                <a:gd name="connsiteY170" fmla="*/ 79678 h 160656"/>
                <a:gd name="connsiteX171" fmla="*/ 6966 w 164820"/>
                <a:gd name="connsiteY171" fmla="*/ 78161 h 160656"/>
                <a:gd name="connsiteX172" fmla="*/ 5018 w 164820"/>
                <a:gd name="connsiteY172" fmla="*/ 77646 h 160656"/>
                <a:gd name="connsiteX173" fmla="*/ 4830 w 164820"/>
                <a:gd name="connsiteY173" fmla="*/ 76058 h 160656"/>
                <a:gd name="connsiteX174" fmla="*/ 5036 w 164820"/>
                <a:gd name="connsiteY174" fmla="*/ 74507 h 160656"/>
                <a:gd name="connsiteX175" fmla="*/ 6064 w 164820"/>
                <a:gd name="connsiteY175" fmla="*/ 73465 h 160656"/>
                <a:gd name="connsiteX176" fmla="*/ 6411 w 164820"/>
                <a:gd name="connsiteY176" fmla="*/ 72079 h 160656"/>
                <a:gd name="connsiteX177" fmla="*/ 6422 w 164820"/>
                <a:gd name="connsiteY177" fmla="*/ 67848 h 160656"/>
                <a:gd name="connsiteX178" fmla="*/ 5049 w 164820"/>
                <a:gd name="connsiteY178" fmla="*/ 66288 h 160656"/>
                <a:gd name="connsiteX179" fmla="*/ 4522 w 164820"/>
                <a:gd name="connsiteY179" fmla="*/ 63924 h 160656"/>
                <a:gd name="connsiteX180" fmla="*/ 3812 w 164820"/>
                <a:gd name="connsiteY180" fmla="*/ 62409 h 160656"/>
                <a:gd name="connsiteX181" fmla="*/ 2535 w 164820"/>
                <a:gd name="connsiteY181" fmla="*/ 60887 h 160656"/>
                <a:gd name="connsiteX182" fmla="*/ 1093 w 164820"/>
                <a:gd name="connsiteY182" fmla="*/ 59647 h 160656"/>
                <a:gd name="connsiteX183" fmla="*/ 201 w 164820"/>
                <a:gd name="connsiteY183" fmla="*/ 58450 h 160656"/>
                <a:gd name="connsiteX184" fmla="*/ 0 w 164820"/>
                <a:gd name="connsiteY184" fmla="*/ 55316 h 160656"/>
                <a:gd name="connsiteX185" fmla="*/ 507 w 164820"/>
                <a:gd name="connsiteY185" fmla="*/ 52699 h 160656"/>
                <a:gd name="connsiteX186" fmla="*/ 959 w 164820"/>
                <a:gd name="connsiteY186" fmla="*/ 51578 h 160656"/>
                <a:gd name="connsiteX187" fmla="*/ 1423 w 164820"/>
                <a:gd name="connsiteY187" fmla="*/ 51744 h 160656"/>
                <a:gd name="connsiteX188" fmla="*/ 2859 w 164820"/>
                <a:gd name="connsiteY188" fmla="*/ 53045 h 160656"/>
                <a:gd name="connsiteX189" fmla="*/ 4034 w 164820"/>
                <a:gd name="connsiteY189" fmla="*/ 53339 h 160656"/>
                <a:gd name="connsiteX190" fmla="*/ 6359 w 164820"/>
                <a:gd name="connsiteY190" fmla="*/ 53654 h 160656"/>
                <a:gd name="connsiteX191" fmla="*/ 8646 w 164820"/>
                <a:gd name="connsiteY191" fmla="*/ 53238 h 160656"/>
                <a:gd name="connsiteX192" fmla="*/ 11456 w 164820"/>
                <a:gd name="connsiteY192" fmla="*/ 52053 h 160656"/>
                <a:gd name="connsiteX193" fmla="*/ 14159 w 164820"/>
                <a:gd name="connsiteY193" fmla="*/ 50617 h 160656"/>
                <a:gd name="connsiteX194" fmla="*/ 18072 w 164820"/>
                <a:gd name="connsiteY194" fmla="*/ 46395 h 160656"/>
                <a:gd name="connsiteX195" fmla="*/ 20484 w 164820"/>
                <a:gd name="connsiteY195" fmla="*/ 45537 h 160656"/>
                <a:gd name="connsiteX196" fmla="*/ 21719 w 164820"/>
                <a:gd name="connsiteY196" fmla="*/ 44425 h 160656"/>
                <a:gd name="connsiteX197" fmla="*/ 22140 w 164820"/>
                <a:gd name="connsiteY197" fmla="*/ 42922 h 160656"/>
                <a:gd name="connsiteX198" fmla="*/ 48962 w 164820"/>
                <a:gd name="connsiteY198" fmla="*/ 0 h 160656"/>
                <a:gd name="connsiteX199" fmla="*/ 49696 w 164820"/>
                <a:gd name="connsiteY199" fmla="*/ 1042 h 160656"/>
                <a:gd name="connsiteX200" fmla="*/ 49782 w 164820"/>
                <a:gd name="connsiteY200" fmla="*/ 1647 h 160656"/>
                <a:gd name="connsiteX201" fmla="*/ 49290 w 164820"/>
                <a:gd name="connsiteY201" fmla="*/ 2331 h 160656"/>
                <a:gd name="connsiteX202" fmla="*/ 49497 w 164820"/>
                <a:gd name="connsiteY202" fmla="*/ 3877 h 160656"/>
                <a:gd name="connsiteX203" fmla="*/ 47647 w 164820"/>
                <a:gd name="connsiteY203" fmla="*/ 2595 h 160656"/>
                <a:gd name="connsiteX204" fmla="*/ 44846 w 164820"/>
                <a:gd name="connsiteY204" fmla="*/ 3242 h 160656"/>
                <a:gd name="connsiteX205" fmla="*/ 43127 w 164820"/>
                <a:gd name="connsiteY205" fmla="*/ 3105 h 160656"/>
                <a:gd name="connsiteX206" fmla="*/ 42652 w 164820"/>
                <a:gd name="connsiteY206" fmla="*/ 1955 h 160656"/>
                <a:gd name="connsiteX207" fmla="*/ 43045 w 164820"/>
                <a:gd name="connsiteY207" fmla="*/ 1280 h 160656"/>
                <a:gd name="connsiteX208" fmla="*/ 45714 w 164820"/>
                <a:gd name="connsiteY208" fmla="*/ 1133 h 160656"/>
                <a:gd name="connsiteX209" fmla="*/ 46543 w 164820"/>
                <a:gd name="connsiteY209" fmla="*/ 804 h 160656"/>
                <a:gd name="connsiteX210" fmla="*/ 48163 w 164820"/>
                <a:gd name="connsiteY210" fmla="*/ 959 h 160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Lst>
              <a:rect l="l" t="t" r="r" b="b"/>
              <a:pathLst>
                <a:path w="164820" h="160656">
                  <a:moveTo>
                    <a:pt x="83300" y="156716"/>
                  </a:moveTo>
                  <a:lnTo>
                    <a:pt x="84985" y="157277"/>
                  </a:lnTo>
                  <a:lnTo>
                    <a:pt x="85512" y="158410"/>
                  </a:lnTo>
                  <a:lnTo>
                    <a:pt x="85583" y="158900"/>
                  </a:lnTo>
                  <a:lnTo>
                    <a:pt x="84523" y="159180"/>
                  </a:lnTo>
                  <a:lnTo>
                    <a:pt x="83137" y="158308"/>
                  </a:lnTo>
                  <a:lnTo>
                    <a:pt x="83044" y="157083"/>
                  </a:lnTo>
                  <a:close/>
                  <a:moveTo>
                    <a:pt x="163353" y="119599"/>
                  </a:moveTo>
                  <a:lnTo>
                    <a:pt x="164820" y="120327"/>
                  </a:lnTo>
                  <a:lnTo>
                    <a:pt x="163535" y="121541"/>
                  </a:lnTo>
                  <a:lnTo>
                    <a:pt x="162038" y="124459"/>
                  </a:lnTo>
                  <a:lnTo>
                    <a:pt x="161304" y="125580"/>
                  </a:lnTo>
                  <a:lnTo>
                    <a:pt x="155970" y="132706"/>
                  </a:lnTo>
                  <a:lnTo>
                    <a:pt x="155359" y="134350"/>
                  </a:lnTo>
                  <a:lnTo>
                    <a:pt x="154984" y="136135"/>
                  </a:lnTo>
                  <a:lnTo>
                    <a:pt x="154431" y="137699"/>
                  </a:lnTo>
                  <a:lnTo>
                    <a:pt x="153683" y="139172"/>
                  </a:lnTo>
                  <a:lnTo>
                    <a:pt x="152986" y="141044"/>
                  </a:lnTo>
                  <a:lnTo>
                    <a:pt x="153122" y="143164"/>
                  </a:lnTo>
                  <a:lnTo>
                    <a:pt x="153373" y="144204"/>
                  </a:lnTo>
                  <a:lnTo>
                    <a:pt x="154014" y="144885"/>
                  </a:lnTo>
                  <a:lnTo>
                    <a:pt x="155068" y="145526"/>
                  </a:lnTo>
                  <a:lnTo>
                    <a:pt x="155877" y="146508"/>
                  </a:lnTo>
                  <a:lnTo>
                    <a:pt x="154636" y="147403"/>
                  </a:lnTo>
                  <a:lnTo>
                    <a:pt x="156005" y="149197"/>
                  </a:lnTo>
                  <a:lnTo>
                    <a:pt x="157169" y="150262"/>
                  </a:lnTo>
                  <a:lnTo>
                    <a:pt x="157324" y="151324"/>
                  </a:lnTo>
                  <a:lnTo>
                    <a:pt x="157298" y="152389"/>
                  </a:lnTo>
                  <a:lnTo>
                    <a:pt x="154880" y="154385"/>
                  </a:lnTo>
                  <a:lnTo>
                    <a:pt x="153934" y="155483"/>
                  </a:lnTo>
                  <a:lnTo>
                    <a:pt x="153347" y="156812"/>
                  </a:lnTo>
                  <a:lnTo>
                    <a:pt x="153092" y="158184"/>
                  </a:lnTo>
                  <a:lnTo>
                    <a:pt x="153357" y="159422"/>
                  </a:lnTo>
                  <a:lnTo>
                    <a:pt x="153275" y="160656"/>
                  </a:lnTo>
                  <a:lnTo>
                    <a:pt x="150840" y="160502"/>
                  </a:lnTo>
                  <a:lnTo>
                    <a:pt x="148346" y="159750"/>
                  </a:lnTo>
                  <a:lnTo>
                    <a:pt x="145832" y="160083"/>
                  </a:lnTo>
                  <a:lnTo>
                    <a:pt x="142258" y="158657"/>
                  </a:lnTo>
                  <a:lnTo>
                    <a:pt x="140956" y="158399"/>
                  </a:lnTo>
                  <a:lnTo>
                    <a:pt x="139771" y="157843"/>
                  </a:lnTo>
                  <a:lnTo>
                    <a:pt x="136795" y="153418"/>
                  </a:lnTo>
                  <a:lnTo>
                    <a:pt x="134402" y="151546"/>
                  </a:lnTo>
                  <a:lnTo>
                    <a:pt x="131835" y="150090"/>
                  </a:lnTo>
                  <a:lnTo>
                    <a:pt x="129211" y="150001"/>
                  </a:lnTo>
                  <a:lnTo>
                    <a:pt x="126583" y="150167"/>
                  </a:lnTo>
                  <a:lnTo>
                    <a:pt x="124264" y="149269"/>
                  </a:lnTo>
                  <a:lnTo>
                    <a:pt x="119544" y="146257"/>
                  </a:lnTo>
                  <a:lnTo>
                    <a:pt x="114542" y="143846"/>
                  </a:lnTo>
                  <a:lnTo>
                    <a:pt x="112420" y="142274"/>
                  </a:lnTo>
                  <a:lnTo>
                    <a:pt x="111450" y="141217"/>
                  </a:lnTo>
                  <a:lnTo>
                    <a:pt x="110319" y="140515"/>
                  </a:lnTo>
                  <a:lnTo>
                    <a:pt x="107453" y="139819"/>
                  </a:lnTo>
                  <a:lnTo>
                    <a:pt x="104884" y="138186"/>
                  </a:lnTo>
                  <a:lnTo>
                    <a:pt x="103713" y="138066"/>
                  </a:lnTo>
                  <a:lnTo>
                    <a:pt x="101195" y="138265"/>
                  </a:lnTo>
                  <a:lnTo>
                    <a:pt x="99906" y="138152"/>
                  </a:lnTo>
                  <a:lnTo>
                    <a:pt x="98606" y="137577"/>
                  </a:lnTo>
                  <a:lnTo>
                    <a:pt x="96097" y="135655"/>
                  </a:lnTo>
                  <a:lnTo>
                    <a:pt x="94497" y="132988"/>
                  </a:lnTo>
                  <a:lnTo>
                    <a:pt x="94080" y="131811"/>
                  </a:lnTo>
                  <a:lnTo>
                    <a:pt x="95214" y="128764"/>
                  </a:lnTo>
                  <a:lnTo>
                    <a:pt x="96559" y="125837"/>
                  </a:lnTo>
                  <a:lnTo>
                    <a:pt x="97753" y="125015"/>
                  </a:lnTo>
                  <a:lnTo>
                    <a:pt x="99140" y="124426"/>
                  </a:lnTo>
                  <a:lnTo>
                    <a:pt x="99980" y="123559"/>
                  </a:lnTo>
                  <a:lnTo>
                    <a:pt x="100688" y="122497"/>
                  </a:lnTo>
                  <a:lnTo>
                    <a:pt x="103260" y="125560"/>
                  </a:lnTo>
                  <a:lnTo>
                    <a:pt x="104411" y="126300"/>
                  </a:lnTo>
                  <a:lnTo>
                    <a:pt x="105577" y="126135"/>
                  </a:lnTo>
                  <a:lnTo>
                    <a:pt x="107645" y="125038"/>
                  </a:lnTo>
                  <a:lnTo>
                    <a:pt x="107818" y="123836"/>
                  </a:lnTo>
                  <a:lnTo>
                    <a:pt x="110098" y="122311"/>
                  </a:lnTo>
                  <a:lnTo>
                    <a:pt x="112999" y="122282"/>
                  </a:lnTo>
                  <a:lnTo>
                    <a:pt x="114337" y="122562"/>
                  </a:lnTo>
                  <a:lnTo>
                    <a:pt x="115041" y="123941"/>
                  </a:lnTo>
                  <a:lnTo>
                    <a:pt x="116147" y="124366"/>
                  </a:lnTo>
                  <a:lnTo>
                    <a:pt x="117425" y="124549"/>
                  </a:lnTo>
                  <a:lnTo>
                    <a:pt x="121632" y="127175"/>
                  </a:lnTo>
                  <a:lnTo>
                    <a:pt x="122811" y="127603"/>
                  </a:lnTo>
                  <a:lnTo>
                    <a:pt x="124005" y="127676"/>
                  </a:lnTo>
                  <a:lnTo>
                    <a:pt x="127272" y="126574"/>
                  </a:lnTo>
                  <a:lnTo>
                    <a:pt x="129779" y="126155"/>
                  </a:lnTo>
                  <a:lnTo>
                    <a:pt x="135035" y="126762"/>
                  </a:lnTo>
                  <a:lnTo>
                    <a:pt x="137877" y="126102"/>
                  </a:lnTo>
                  <a:lnTo>
                    <a:pt x="139861" y="126027"/>
                  </a:lnTo>
                  <a:lnTo>
                    <a:pt x="142753" y="125012"/>
                  </a:lnTo>
                  <a:lnTo>
                    <a:pt x="144975" y="123326"/>
                  </a:lnTo>
                  <a:lnTo>
                    <a:pt x="146134" y="122910"/>
                  </a:lnTo>
                  <a:lnTo>
                    <a:pt x="147378" y="122790"/>
                  </a:lnTo>
                  <a:lnTo>
                    <a:pt x="150386" y="122895"/>
                  </a:lnTo>
                  <a:lnTo>
                    <a:pt x="153411" y="123276"/>
                  </a:lnTo>
                  <a:lnTo>
                    <a:pt x="154679" y="122882"/>
                  </a:lnTo>
                  <a:lnTo>
                    <a:pt x="155739" y="121779"/>
                  </a:lnTo>
                  <a:lnTo>
                    <a:pt x="156968" y="121282"/>
                  </a:lnTo>
                  <a:lnTo>
                    <a:pt x="158320" y="121617"/>
                  </a:lnTo>
                  <a:lnTo>
                    <a:pt x="161813" y="119728"/>
                  </a:lnTo>
                  <a:close/>
                  <a:moveTo>
                    <a:pt x="4111" y="98453"/>
                  </a:moveTo>
                  <a:lnTo>
                    <a:pt x="5744" y="99107"/>
                  </a:lnTo>
                  <a:lnTo>
                    <a:pt x="6590" y="99705"/>
                  </a:lnTo>
                  <a:lnTo>
                    <a:pt x="5321" y="102261"/>
                  </a:lnTo>
                  <a:lnTo>
                    <a:pt x="3982" y="100451"/>
                  </a:lnTo>
                  <a:lnTo>
                    <a:pt x="3930" y="98896"/>
                  </a:lnTo>
                  <a:close/>
                  <a:moveTo>
                    <a:pt x="125825" y="55558"/>
                  </a:moveTo>
                  <a:lnTo>
                    <a:pt x="127836" y="56147"/>
                  </a:lnTo>
                  <a:lnTo>
                    <a:pt x="127808" y="56704"/>
                  </a:lnTo>
                  <a:lnTo>
                    <a:pt x="127309" y="57033"/>
                  </a:lnTo>
                  <a:lnTo>
                    <a:pt x="126322" y="57260"/>
                  </a:lnTo>
                  <a:lnTo>
                    <a:pt x="125747" y="56951"/>
                  </a:lnTo>
                  <a:lnTo>
                    <a:pt x="125434" y="56549"/>
                  </a:lnTo>
                  <a:close/>
                  <a:moveTo>
                    <a:pt x="3081" y="46092"/>
                  </a:moveTo>
                  <a:lnTo>
                    <a:pt x="3602" y="46625"/>
                  </a:lnTo>
                  <a:lnTo>
                    <a:pt x="3053" y="47648"/>
                  </a:lnTo>
                  <a:lnTo>
                    <a:pt x="2326" y="48251"/>
                  </a:lnTo>
                  <a:lnTo>
                    <a:pt x="1589" y="49454"/>
                  </a:lnTo>
                  <a:lnTo>
                    <a:pt x="549" y="49366"/>
                  </a:lnTo>
                  <a:lnTo>
                    <a:pt x="955" y="48476"/>
                  </a:lnTo>
                  <a:lnTo>
                    <a:pt x="1913" y="46691"/>
                  </a:lnTo>
                  <a:close/>
                  <a:moveTo>
                    <a:pt x="23164" y="42529"/>
                  </a:moveTo>
                  <a:lnTo>
                    <a:pt x="24371" y="43990"/>
                  </a:lnTo>
                  <a:lnTo>
                    <a:pt x="25869" y="44142"/>
                  </a:lnTo>
                  <a:lnTo>
                    <a:pt x="28178" y="45347"/>
                  </a:lnTo>
                  <a:lnTo>
                    <a:pt x="29174" y="46500"/>
                  </a:lnTo>
                  <a:lnTo>
                    <a:pt x="30026" y="47888"/>
                  </a:lnTo>
                  <a:lnTo>
                    <a:pt x="30842" y="48496"/>
                  </a:lnTo>
                  <a:lnTo>
                    <a:pt x="31719" y="48845"/>
                  </a:lnTo>
                  <a:lnTo>
                    <a:pt x="31849" y="49171"/>
                  </a:lnTo>
                  <a:lnTo>
                    <a:pt x="31154" y="49497"/>
                  </a:lnTo>
                  <a:lnTo>
                    <a:pt x="30357" y="51084"/>
                  </a:lnTo>
                  <a:lnTo>
                    <a:pt x="30806" y="51541"/>
                  </a:lnTo>
                  <a:lnTo>
                    <a:pt x="32088" y="52401"/>
                  </a:lnTo>
                  <a:lnTo>
                    <a:pt x="33194" y="54080"/>
                  </a:lnTo>
                  <a:lnTo>
                    <a:pt x="35677" y="60951"/>
                  </a:lnTo>
                  <a:lnTo>
                    <a:pt x="35919" y="62435"/>
                  </a:lnTo>
                  <a:lnTo>
                    <a:pt x="35423" y="63955"/>
                  </a:lnTo>
                  <a:lnTo>
                    <a:pt x="34790" y="65033"/>
                  </a:lnTo>
                  <a:lnTo>
                    <a:pt x="32330" y="68482"/>
                  </a:lnTo>
                  <a:lnTo>
                    <a:pt x="32695" y="71334"/>
                  </a:lnTo>
                  <a:lnTo>
                    <a:pt x="33609" y="73095"/>
                  </a:lnTo>
                  <a:lnTo>
                    <a:pt x="33740" y="75044"/>
                  </a:lnTo>
                  <a:lnTo>
                    <a:pt x="33283" y="77460"/>
                  </a:lnTo>
                  <a:lnTo>
                    <a:pt x="31756" y="92276"/>
                  </a:lnTo>
                  <a:lnTo>
                    <a:pt x="31018" y="94889"/>
                  </a:lnTo>
                  <a:lnTo>
                    <a:pt x="30551" y="97156"/>
                  </a:lnTo>
                  <a:lnTo>
                    <a:pt x="28867" y="97841"/>
                  </a:lnTo>
                  <a:lnTo>
                    <a:pt x="26694" y="97117"/>
                  </a:lnTo>
                  <a:lnTo>
                    <a:pt x="23954" y="95841"/>
                  </a:lnTo>
                  <a:lnTo>
                    <a:pt x="22689" y="95918"/>
                  </a:lnTo>
                  <a:lnTo>
                    <a:pt x="21415" y="96354"/>
                  </a:lnTo>
                  <a:lnTo>
                    <a:pt x="20363" y="95984"/>
                  </a:lnTo>
                  <a:lnTo>
                    <a:pt x="19359" y="95262"/>
                  </a:lnTo>
                  <a:lnTo>
                    <a:pt x="18614" y="100332"/>
                  </a:lnTo>
                  <a:lnTo>
                    <a:pt x="17375" y="102389"/>
                  </a:lnTo>
                  <a:lnTo>
                    <a:pt x="15489" y="103702"/>
                  </a:lnTo>
                  <a:lnTo>
                    <a:pt x="13716" y="103785"/>
                  </a:lnTo>
                  <a:lnTo>
                    <a:pt x="11890" y="103345"/>
                  </a:lnTo>
                  <a:lnTo>
                    <a:pt x="10341" y="103349"/>
                  </a:lnTo>
                  <a:lnTo>
                    <a:pt x="9167" y="102373"/>
                  </a:lnTo>
                  <a:lnTo>
                    <a:pt x="8236" y="100667"/>
                  </a:lnTo>
                  <a:lnTo>
                    <a:pt x="6752" y="98593"/>
                  </a:lnTo>
                  <a:lnTo>
                    <a:pt x="5247" y="96128"/>
                  </a:lnTo>
                  <a:lnTo>
                    <a:pt x="5083" y="93898"/>
                  </a:lnTo>
                  <a:lnTo>
                    <a:pt x="4826" y="88975"/>
                  </a:lnTo>
                  <a:lnTo>
                    <a:pt x="5258" y="87899"/>
                  </a:lnTo>
                  <a:lnTo>
                    <a:pt x="5887" y="86867"/>
                  </a:lnTo>
                  <a:lnTo>
                    <a:pt x="6195" y="84661"/>
                  </a:lnTo>
                  <a:lnTo>
                    <a:pt x="5977" y="82737"/>
                  </a:lnTo>
                  <a:lnTo>
                    <a:pt x="6418" y="82050"/>
                  </a:lnTo>
                  <a:lnTo>
                    <a:pt x="7295" y="82737"/>
                  </a:lnTo>
                  <a:lnTo>
                    <a:pt x="7953" y="82479"/>
                  </a:lnTo>
                  <a:lnTo>
                    <a:pt x="7912" y="81488"/>
                  </a:lnTo>
                  <a:lnTo>
                    <a:pt x="8113" y="79678"/>
                  </a:lnTo>
                  <a:lnTo>
                    <a:pt x="6966" y="78161"/>
                  </a:lnTo>
                  <a:lnTo>
                    <a:pt x="5018" y="77646"/>
                  </a:lnTo>
                  <a:lnTo>
                    <a:pt x="4830" y="76058"/>
                  </a:lnTo>
                  <a:lnTo>
                    <a:pt x="5036" y="74507"/>
                  </a:lnTo>
                  <a:lnTo>
                    <a:pt x="6064" y="73465"/>
                  </a:lnTo>
                  <a:lnTo>
                    <a:pt x="6411" y="72079"/>
                  </a:lnTo>
                  <a:lnTo>
                    <a:pt x="6422" y="67848"/>
                  </a:lnTo>
                  <a:lnTo>
                    <a:pt x="5049" y="66288"/>
                  </a:lnTo>
                  <a:lnTo>
                    <a:pt x="4522" y="63924"/>
                  </a:lnTo>
                  <a:lnTo>
                    <a:pt x="3812" y="62409"/>
                  </a:lnTo>
                  <a:lnTo>
                    <a:pt x="2535" y="60887"/>
                  </a:lnTo>
                  <a:lnTo>
                    <a:pt x="1093" y="59647"/>
                  </a:lnTo>
                  <a:lnTo>
                    <a:pt x="201" y="58450"/>
                  </a:lnTo>
                  <a:lnTo>
                    <a:pt x="0" y="55316"/>
                  </a:lnTo>
                  <a:lnTo>
                    <a:pt x="507" y="52699"/>
                  </a:lnTo>
                  <a:lnTo>
                    <a:pt x="959" y="51578"/>
                  </a:lnTo>
                  <a:lnTo>
                    <a:pt x="1423" y="51744"/>
                  </a:lnTo>
                  <a:lnTo>
                    <a:pt x="2859" y="53045"/>
                  </a:lnTo>
                  <a:lnTo>
                    <a:pt x="4034" y="53339"/>
                  </a:lnTo>
                  <a:lnTo>
                    <a:pt x="6359" y="53654"/>
                  </a:lnTo>
                  <a:lnTo>
                    <a:pt x="8646" y="53238"/>
                  </a:lnTo>
                  <a:lnTo>
                    <a:pt x="11456" y="52053"/>
                  </a:lnTo>
                  <a:lnTo>
                    <a:pt x="14159" y="50617"/>
                  </a:lnTo>
                  <a:lnTo>
                    <a:pt x="18072" y="46395"/>
                  </a:lnTo>
                  <a:lnTo>
                    <a:pt x="20484" y="45537"/>
                  </a:lnTo>
                  <a:lnTo>
                    <a:pt x="21719" y="44425"/>
                  </a:lnTo>
                  <a:lnTo>
                    <a:pt x="22140" y="42922"/>
                  </a:lnTo>
                  <a:close/>
                  <a:moveTo>
                    <a:pt x="48962" y="0"/>
                  </a:moveTo>
                  <a:lnTo>
                    <a:pt x="49696" y="1042"/>
                  </a:lnTo>
                  <a:lnTo>
                    <a:pt x="49782" y="1647"/>
                  </a:lnTo>
                  <a:lnTo>
                    <a:pt x="49290" y="2331"/>
                  </a:lnTo>
                  <a:lnTo>
                    <a:pt x="49497" y="3877"/>
                  </a:lnTo>
                  <a:lnTo>
                    <a:pt x="47647" y="2595"/>
                  </a:lnTo>
                  <a:lnTo>
                    <a:pt x="44846" y="3242"/>
                  </a:lnTo>
                  <a:lnTo>
                    <a:pt x="43127" y="3105"/>
                  </a:lnTo>
                  <a:lnTo>
                    <a:pt x="42652" y="1955"/>
                  </a:lnTo>
                  <a:lnTo>
                    <a:pt x="43045" y="1280"/>
                  </a:lnTo>
                  <a:lnTo>
                    <a:pt x="45714" y="1133"/>
                  </a:lnTo>
                  <a:lnTo>
                    <a:pt x="46543" y="804"/>
                  </a:lnTo>
                  <a:lnTo>
                    <a:pt x="48163" y="959"/>
                  </a:lnTo>
                  <a:close/>
                </a:path>
              </a:pathLst>
            </a:custGeom>
            <a:grpFill/>
            <a:ln w="3175"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26" name="ee4p_LT_1_92573">
              <a:extLst>
                <a:ext uri="{FF2B5EF4-FFF2-40B4-BE49-F238E27FC236}">
                  <a16:creationId xmlns:a16="http://schemas.microsoft.com/office/drawing/2014/main" id="{6A9DDB67-0DD0-4F6A-9FA7-783DBC41D230}"/>
                </a:ext>
              </a:extLst>
            </p:cNvPr>
            <p:cNvSpPr>
              <a:spLocks noChangeAspect="1"/>
            </p:cNvSpPr>
            <p:nvPr>
              <p:custDataLst>
                <p:tags r:id="rId20"/>
              </p:custDataLst>
            </p:nvPr>
          </p:nvSpPr>
          <p:spPr>
            <a:xfrm>
              <a:off x="5603733" y="3767884"/>
              <a:ext cx="515065" cy="307545"/>
            </a:xfrm>
            <a:custGeom>
              <a:avLst/>
              <a:gdLst>
                <a:gd name="connsiteX0" fmla="*/ 4755 w 129928"/>
                <a:gd name="connsiteY0" fmla="*/ 24770 h 77580"/>
                <a:gd name="connsiteX1" fmla="*/ 4774 w 129928"/>
                <a:gd name="connsiteY1" fmla="*/ 26268 h 77580"/>
                <a:gd name="connsiteX2" fmla="*/ 4513 w 129928"/>
                <a:gd name="connsiteY2" fmla="*/ 28758 h 77580"/>
                <a:gd name="connsiteX3" fmla="*/ 2917 w 129928"/>
                <a:gd name="connsiteY3" fmla="*/ 33001 h 77580"/>
                <a:gd name="connsiteX4" fmla="*/ 1283 w 129928"/>
                <a:gd name="connsiteY4" fmla="*/ 35210 h 77580"/>
                <a:gd name="connsiteX5" fmla="*/ 0 w 129928"/>
                <a:gd name="connsiteY5" fmla="*/ 34971 h 77580"/>
                <a:gd name="connsiteX6" fmla="*/ 2526 w 129928"/>
                <a:gd name="connsiteY6" fmla="*/ 31410 h 77580"/>
                <a:gd name="connsiteX7" fmla="*/ 3489 w 129928"/>
                <a:gd name="connsiteY7" fmla="*/ 29096 h 77580"/>
                <a:gd name="connsiteX8" fmla="*/ 4159 w 129928"/>
                <a:gd name="connsiteY8" fmla="*/ 25805 h 77580"/>
                <a:gd name="connsiteX9" fmla="*/ 87148 w 129928"/>
                <a:gd name="connsiteY9" fmla="*/ 0 h 77580"/>
                <a:gd name="connsiteX10" fmla="*/ 88519 w 129928"/>
                <a:gd name="connsiteY10" fmla="*/ 407 h 77580"/>
                <a:gd name="connsiteX11" fmla="*/ 89422 w 129928"/>
                <a:gd name="connsiteY11" fmla="*/ 2681 h 77580"/>
                <a:gd name="connsiteX12" fmla="*/ 92210 w 129928"/>
                <a:gd name="connsiteY12" fmla="*/ 6597 h 77580"/>
                <a:gd name="connsiteX13" fmla="*/ 95240 w 129928"/>
                <a:gd name="connsiteY13" fmla="*/ 7284 h 77580"/>
                <a:gd name="connsiteX14" fmla="*/ 103616 w 129928"/>
                <a:gd name="connsiteY14" fmla="*/ 8790 h 77580"/>
                <a:gd name="connsiteX15" fmla="*/ 105328 w 129928"/>
                <a:gd name="connsiteY15" fmla="*/ 9581 h 77580"/>
                <a:gd name="connsiteX16" fmla="*/ 110042 w 129928"/>
                <a:gd name="connsiteY16" fmla="*/ 13027 h 77580"/>
                <a:gd name="connsiteX17" fmla="*/ 112869 w 129928"/>
                <a:gd name="connsiteY17" fmla="*/ 14715 h 77580"/>
                <a:gd name="connsiteX18" fmla="*/ 114667 w 129928"/>
                <a:gd name="connsiteY18" fmla="*/ 16062 h 77580"/>
                <a:gd name="connsiteX19" fmla="*/ 117410 w 129928"/>
                <a:gd name="connsiteY19" fmla="*/ 18698 h 77580"/>
                <a:gd name="connsiteX20" fmla="*/ 118995 w 129928"/>
                <a:gd name="connsiteY20" fmla="*/ 20614 h 77580"/>
                <a:gd name="connsiteX21" fmla="*/ 121645 w 129928"/>
                <a:gd name="connsiteY21" fmla="*/ 22062 h 77580"/>
                <a:gd name="connsiteX22" fmla="*/ 124780 w 129928"/>
                <a:gd name="connsiteY22" fmla="*/ 23036 h 77580"/>
                <a:gd name="connsiteX23" fmla="*/ 125900 w 129928"/>
                <a:gd name="connsiteY23" fmla="*/ 23187 h 77580"/>
                <a:gd name="connsiteX24" fmla="*/ 125840 w 129928"/>
                <a:gd name="connsiteY24" fmla="*/ 24579 h 77580"/>
                <a:gd name="connsiteX25" fmla="*/ 125305 w 129928"/>
                <a:gd name="connsiteY25" fmla="*/ 26939 h 77580"/>
                <a:gd name="connsiteX26" fmla="*/ 124257 w 129928"/>
                <a:gd name="connsiteY26" fmla="*/ 29982 h 77580"/>
                <a:gd name="connsiteX27" fmla="*/ 123158 w 129928"/>
                <a:gd name="connsiteY27" fmla="*/ 32338 h 77580"/>
                <a:gd name="connsiteX28" fmla="*/ 122895 w 129928"/>
                <a:gd name="connsiteY28" fmla="*/ 33248 h 77580"/>
                <a:gd name="connsiteX29" fmla="*/ 123728 w 129928"/>
                <a:gd name="connsiteY29" fmla="*/ 34003 h 77580"/>
                <a:gd name="connsiteX30" fmla="*/ 127840 w 129928"/>
                <a:gd name="connsiteY30" fmla="*/ 34360 h 77580"/>
                <a:gd name="connsiteX31" fmla="*/ 129584 w 129928"/>
                <a:gd name="connsiteY31" fmla="*/ 34765 h 77580"/>
                <a:gd name="connsiteX32" fmla="*/ 129928 w 129928"/>
                <a:gd name="connsiteY32" fmla="*/ 35390 h 77580"/>
                <a:gd name="connsiteX33" fmla="*/ 129015 w 129928"/>
                <a:gd name="connsiteY33" fmla="*/ 36202 h 77580"/>
                <a:gd name="connsiteX34" fmla="*/ 127702 w 129928"/>
                <a:gd name="connsiteY34" fmla="*/ 36876 h 77580"/>
                <a:gd name="connsiteX35" fmla="*/ 127114 w 129928"/>
                <a:gd name="connsiteY35" fmla="*/ 37514 h 77580"/>
                <a:gd name="connsiteX36" fmla="*/ 126069 w 129928"/>
                <a:gd name="connsiteY36" fmla="*/ 39795 h 77580"/>
                <a:gd name="connsiteX37" fmla="*/ 119228 w 129928"/>
                <a:gd name="connsiteY37" fmla="*/ 39505 h 77580"/>
                <a:gd name="connsiteX38" fmla="*/ 118321 w 129928"/>
                <a:gd name="connsiteY38" fmla="*/ 39969 h 77580"/>
                <a:gd name="connsiteX39" fmla="*/ 117889 w 129928"/>
                <a:gd name="connsiteY39" fmla="*/ 41028 h 77580"/>
                <a:gd name="connsiteX40" fmla="*/ 117548 w 129928"/>
                <a:gd name="connsiteY40" fmla="*/ 42251 h 77580"/>
                <a:gd name="connsiteX41" fmla="*/ 116650 w 129928"/>
                <a:gd name="connsiteY41" fmla="*/ 43699 h 77580"/>
                <a:gd name="connsiteX42" fmla="*/ 114832 w 129928"/>
                <a:gd name="connsiteY42" fmla="*/ 44959 h 77580"/>
                <a:gd name="connsiteX43" fmla="*/ 111990 w 129928"/>
                <a:gd name="connsiteY43" fmla="*/ 45424 h 77580"/>
                <a:gd name="connsiteX44" fmla="*/ 109664 w 129928"/>
                <a:gd name="connsiteY44" fmla="*/ 46280 h 77580"/>
                <a:gd name="connsiteX45" fmla="*/ 107930 w 129928"/>
                <a:gd name="connsiteY45" fmla="*/ 48920 h 77580"/>
                <a:gd name="connsiteX46" fmla="*/ 106639 w 129928"/>
                <a:gd name="connsiteY46" fmla="*/ 52456 h 77580"/>
                <a:gd name="connsiteX47" fmla="*/ 106671 w 129928"/>
                <a:gd name="connsiteY47" fmla="*/ 54961 h 77580"/>
                <a:gd name="connsiteX48" fmla="*/ 106842 w 129928"/>
                <a:gd name="connsiteY48" fmla="*/ 56357 h 77580"/>
                <a:gd name="connsiteX49" fmla="*/ 106691 w 129928"/>
                <a:gd name="connsiteY49" fmla="*/ 57155 h 77580"/>
                <a:gd name="connsiteX50" fmla="*/ 105814 w 129928"/>
                <a:gd name="connsiteY50" fmla="*/ 58025 h 77580"/>
                <a:gd name="connsiteX51" fmla="*/ 104380 w 129928"/>
                <a:gd name="connsiteY51" fmla="*/ 60327 h 77580"/>
                <a:gd name="connsiteX52" fmla="*/ 103214 w 129928"/>
                <a:gd name="connsiteY52" fmla="*/ 62869 h 77580"/>
                <a:gd name="connsiteX53" fmla="*/ 102767 w 129928"/>
                <a:gd name="connsiteY53" fmla="*/ 64247 h 77580"/>
                <a:gd name="connsiteX54" fmla="*/ 102992 w 129928"/>
                <a:gd name="connsiteY54" fmla="*/ 64892 h 77580"/>
                <a:gd name="connsiteX55" fmla="*/ 104305 w 129928"/>
                <a:gd name="connsiteY55" fmla="*/ 64909 h 77580"/>
                <a:gd name="connsiteX56" fmla="*/ 106199 w 129928"/>
                <a:gd name="connsiteY56" fmla="*/ 65431 h 77580"/>
                <a:gd name="connsiteX57" fmla="*/ 107207 w 129928"/>
                <a:gd name="connsiteY57" fmla="*/ 66445 h 77580"/>
                <a:gd name="connsiteX58" fmla="*/ 107580 w 129928"/>
                <a:gd name="connsiteY58" fmla="*/ 67616 h 77580"/>
                <a:gd name="connsiteX59" fmla="*/ 107585 w 129928"/>
                <a:gd name="connsiteY59" fmla="*/ 68875 h 77580"/>
                <a:gd name="connsiteX60" fmla="*/ 107231 w 129928"/>
                <a:gd name="connsiteY60" fmla="*/ 69568 h 77580"/>
                <a:gd name="connsiteX61" fmla="*/ 105713 w 129928"/>
                <a:gd name="connsiteY61" fmla="*/ 70070 h 77580"/>
                <a:gd name="connsiteX62" fmla="*/ 103335 w 129928"/>
                <a:gd name="connsiteY62" fmla="*/ 70088 h 77580"/>
                <a:gd name="connsiteX63" fmla="*/ 101949 w 129928"/>
                <a:gd name="connsiteY63" fmla="*/ 69488 h 77580"/>
                <a:gd name="connsiteX64" fmla="*/ 101662 w 129928"/>
                <a:gd name="connsiteY64" fmla="*/ 69013 h 77580"/>
                <a:gd name="connsiteX65" fmla="*/ 102324 w 129928"/>
                <a:gd name="connsiteY65" fmla="*/ 67800 h 77580"/>
                <a:gd name="connsiteX66" fmla="*/ 101845 w 129928"/>
                <a:gd name="connsiteY66" fmla="*/ 66285 h 77580"/>
                <a:gd name="connsiteX67" fmla="*/ 100861 w 129928"/>
                <a:gd name="connsiteY67" fmla="*/ 65437 h 77580"/>
                <a:gd name="connsiteX68" fmla="*/ 98859 w 129928"/>
                <a:gd name="connsiteY68" fmla="*/ 66702 h 77580"/>
                <a:gd name="connsiteX69" fmla="*/ 96937 w 129928"/>
                <a:gd name="connsiteY69" fmla="*/ 66701 h 77580"/>
                <a:gd name="connsiteX70" fmla="*/ 94633 w 129928"/>
                <a:gd name="connsiteY70" fmla="*/ 67827 h 77580"/>
                <a:gd name="connsiteX71" fmla="*/ 93128 w 129928"/>
                <a:gd name="connsiteY71" fmla="*/ 69631 h 77580"/>
                <a:gd name="connsiteX72" fmla="*/ 91683 w 129928"/>
                <a:gd name="connsiteY72" fmla="*/ 70296 h 77580"/>
                <a:gd name="connsiteX73" fmla="*/ 87779 w 129928"/>
                <a:gd name="connsiteY73" fmla="*/ 69928 h 77580"/>
                <a:gd name="connsiteX74" fmla="*/ 86809 w 129928"/>
                <a:gd name="connsiteY74" fmla="*/ 70723 h 77580"/>
                <a:gd name="connsiteX75" fmla="*/ 86004 w 129928"/>
                <a:gd name="connsiteY75" fmla="*/ 74388 h 77580"/>
                <a:gd name="connsiteX76" fmla="*/ 85537 w 129928"/>
                <a:gd name="connsiteY76" fmla="*/ 75104 h 77580"/>
                <a:gd name="connsiteX77" fmla="*/ 82277 w 129928"/>
                <a:gd name="connsiteY77" fmla="*/ 74947 h 77580"/>
                <a:gd name="connsiteX78" fmla="*/ 79133 w 129928"/>
                <a:gd name="connsiteY78" fmla="*/ 76402 h 77580"/>
                <a:gd name="connsiteX79" fmla="*/ 75583 w 129928"/>
                <a:gd name="connsiteY79" fmla="*/ 77580 h 77580"/>
                <a:gd name="connsiteX80" fmla="*/ 73784 w 129928"/>
                <a:gd name="connsiteY80" fmla="*/ 76761 h 77580"/>
                <a:gd name="connsiteX81" fmla="*/ 72782 w 129928"/>
                <a:gd name="connsiteY81" fmla="*/ 75838 h 77580"/>
                <a:gd name="connsiteX82" fmla="*/ 70849 w 129928"/>
                <a:gd name="connsiteY82" fmla="*/ 76002 h 77580"/>
                <a:gd name="connsiteX83" fmla="*/ 68740 w 129928"/>
                <a:gd name="connsiteY83" fmla="*/ 76408 h 77580"/>
                <a:gd name="connsiteX84" fmla="*/ 67323 w 129928"/>
                <a:gd name="connsiteY84" fmla="*/ 76186 h 77580"/>
                <a:gd name="connsiteX85" fmla="*/ 65734 w 129928"/>
                <a:gd name="connsiteY85" fmla="*/ 76285 h 77580"/>
                <a:gd name="connsiteX86" fmla="*/ 62663 w 129928"/>
                <a:gd name="connsiteY86" fmla="*/ 76995 h 77580"/>
                <a:gd name="connsiteX87" fmla="*/ 58802 w 129928"/>
                <a:gd name="connsiteY87" fmla="*/ 76766 h 77580"/>
                <a:gd name="connsiteX88" fmla="*/ 57157 w 129928"/>
                <a:gd name="connsiteY88" fmla="*/ 76160 h 77580"/>
                <a:gd name="connsiteX89" fmla="*/ 57001 w 129928"/>
                <a:gd name="connsiteY89" fmla="*/ 75580 h 77580"/>
                <a:gd name="connsiteX90" fmla="*/ 57120 w 129928"/>
                <a:gd name="connsiteY90" fmla="*/ 74154 h 77580"/>
                <a:gd name="connsiteX91" fmla="*/ 57083 w 129928"/>
                <a:gd name="connsiteY91" fmla="*/ 71937 h 77580"/>
                <a:gd name="connsiteX92" fmla="*/ 56470 w 129928"/>
                <a:gd name="connsiteY92" fmla="*/ 69979 h 77580"/>
                <a:gd name="connsiteX93" fmla="*/ 54623 w 129928"/>
                <a:gd name="connsiteY93" fmla="*/ 68246 h 77580"/>
                <a:gd name="connsiteX94" fmla="*/ 52682 w 129928"/>
                <a:gd name="connsiteY94" fmla="*/ 67034 h 77580"/>
                <a:gd name="connsiteX95" fmla="*/ 50205 w 129928"/>
                <a:gd name="connsiteY95" fmla="*/ 65782 h 77580"/>
                <a:gd name="connsiteX96" fmla="*/ 48374 w 129928"/>
                <a:gd name="connsiteY96" fmla="*/ 65233 h 77580"/>
                <a:gd name="connsiteX97" fmla="*/ 47372 w 129928"/>
                <a:gd name="connsiteY97" fmla="*/ 65089 h 77580"/>
                <a:gd name="connsiteX98" fmla="*/ 47146 w 129928"/>
                <a:gd name="connsiteY98" fmla="*/ 64368 h 77580"/>
                <a:gd name="connsiteX99" fmla="*/ 46783 w 129928"/>
                <a:gd name="connsiteY99" fmla="*/ 63745 h 77580"/>
                <a:gd name="connsiteX100" fmla="*/ 45926 w 129928"/>
                <a:gd name="connsiteY100" fmla="*/ 63196 h 77580"/>
                <a:gd name="connsiteX101" fmla="*/ 44095 w 129928"/>
                <a:gd name="connsiteY101" fmla="*/ 62459 h 77580"/>
                <a:gd name="connsiteX102" fmla="*/ 42542 w 129928"/>
                <a:gd name="connsiteY102" fmla="*/ 62298 h 77580"/>
                <a:gd name="connsiteX103" fmla="*/ 41270 w 129928"/>
                <a:gd name="connsiteY103" fmla="*/ 63487 h 77580"/>
                <a:gd name="connsiteX104" fmla="*/ 40344 w 129928"/>
                <a:gd name="connsiteY104" fmla="*/ 61998 h 77580"/>
                <a:gd name="connsiteX105" fmla="*/ 39361 w 129928"/>
                <a:gd name="connsiteY105" fmla="*/ 59331 h 77580"/>
                <a:gd name="connsiteX106" fmla="*/ 39463 w 129928"/>
                <a:gd name="connsiteY106" fmla="*/ 57196 h 77580"/>
                <a:gd name="connsiteX107" fmla="*/ 40020 w 129928"/>
                <a:gd name="connsiteY107" fmla="*/ 55065 h 77580"/>
                <a:gd name="connsiteX108" fmla="*/ 42708 w 129928"/>
                <a:gd name="connsiteY108" fmla="*/ 48760 h 77580"/>
                <a:gd name="connsiteX109" fmla="*/ 42563 w 129928"/>
                <a:gd name="connsiteY109" fmla="*/ 47753 h 77580"/>
                <a:gd name="connsiteX110" fmla="*/ 40613 w 129928"/>
                <a:gd name="connsiteY110" fmla="*/ 45986 h 77580"/>
                <a:gd name="connsiteX111" fmla="*/ 38202 w 129928"/>
                <a:gd name="connsiteY111" fmla="*/ 44701 h 77580"/>
                <a:gd name="connsiteX112" fmla="*/ 36871 w 129928"/>
                <a:gd name="connsiteY112" fmla="*/ 41982 h 77580"/>
                <a:gd name="connsiteX113" fmla="*/ 31987 w 129928"/>
                <a:gd name="connsiteY113" fmla="*/ 41824 h 77580"/>
                <a:gd name="connsiteX114" fmla="*/ 27376 w 129928"/>
                <a:gd name="connsiteY114" fmla="*/ 41974 h 77580"/>
                <a:gd name="connsiteX115" fmla="*/ 25928 w 129928"/>
                <a:gd name="connsiteY115" fmla="*/ 41842 h 77580"/>
                <a:gd name="connsiteX116" fmla="*/ 21540 w 129928"/>
                <a:gd name="connsiteY116" fmla="*/ 40702 h 77580"/>
                <a:gd name="connsiteX117" fmla="*/ 17311 w 129928"/>
                <a:gd name="connsiteY117" fmla="*/ 38866 h 77580"/>
                <a:gd name="connsiteX118" fmla="*/ 14481 w 129928"/>
                <a:gd name="connsiteY118" fmla="*/ 37788 h 77580"/>
                <a:gd name="connsiteX119" fmla="*/ 12101 w 129928"/>
                <a:gd name="connsiteY119" fmla="*/ 36582 h 77580"/>
                <a:gd name="connsiteX120" fmla="*/ 10823 w 129928"/>
                <a:gd name="connsiteY120" fmla="*/ 35315 h 77580"/>
                <a:gd name="connsiteX121" fmla="*/ 8795 w 129928"/>
                <a:gd name="connsiteY121" fmla="*/ 35656 h 77580"/>
                <a:gd name="connsiteX122" fmla="*/ 7428 w 129928"/>
                <a:gd name="connsiteY122" fmla="*/ 35667 h 77580"/>
                <a:gd name="connsiteX123" fmla="*/ 7441 w 129928"/>
                <a:gd name="connsiteY123" fmla="*/ 35449 h 77580"/>
                <a:gd name="connsiteX124" fmla="*/ 6662 w 129928"/>
                <a:gd name="connsiteY124" fmla="*/ 33207 h 77580"/>
                <a:gd name="connsiteX125" fmla="*/ 7476 w 129928"/>
                <a:gd name="connsiteY125" fmla="*/ 29769 h 77580"/>
                <a:gd name="connsiteX126" fmla="*/ 5999 w 129928"/>
                <a:gd name="connsiteY126" fmla="*/ 24732 h 77580"/>
                <a:gd name="connsiteX127" fmla="*/ 3584 w 129928"/>
                <a:gd name="connsiteY127" fmla="*/ 18657 h 77580"/>
                <a:gd name="connsiteX128" fmla="*/ 3405 w 129928"/>
                <a:gd name="connsiteY128" fmla="*/ 12135 h 77580"/>
                <a:gd name="connsiteX129" fmla="*/ 3234 w 129928"/>
                <a:gd name="connsiteY129" fmla="*/ 10666 h 77580"/>
                <a:gd name="connsiteX130" fmla="*/ 9173 w 129928"/>
                <a:gd name="connsiteY130" fmla="*/ 6980 h 77580"/>
                <a:gd name="connsiteX131" fmla="*/ 16666 w 129928"/>
                <a:gd name="connsiteY131" fmla="*/ 3027 h 77580"/>
                <a:gd name="connsiteX132" fmla="*/ 18370 w 129928"/>
                <a:gd name="connsiteY132" fmla="*/ 2669 h 77580"/>
                <a:gd name="connsiteX133" fmla="*/ 25275 w 129928"/>
                <a:gd name="connsiteY133" fmla="*/ 326 h 77580"/>
                <a:gd name="connsiteX134" fmla="*/ 26197 w 129928"/>
                <a:gd name="connsiteY134" fmla="*/ 140 h 77580"/>
                <a:gd name="connsiteX135" fmla="*/ 32419 w 129928"/>
                <a:gd name="connsiteY135" fmla="*/ 574 h 77580"/>
                <a:gd name="connsiteX136" fmla="*/ 37306 w 129928"/>
                <a:gd name="connsiteY136" fmla="*/ 1131 h 77580"/>
                <a:gd name="connsiteX137" fmla="*/ 41425 w 129928"/>
                <a:gd name="connsiteY137" fmla="*/ 1062 h 77580"/>
                <a:gd name="connsiteX138" fmla="*/ 43688 w 129928"/>
                <a:gd name="connsiteY138" fmla="*/ 462 h 77580"/>
                <a:gd name="connsiteX139" fmla="*/ 45738 w 129928"/>
                <a:gd name="connsiteY139" fmla="*/ 964 h 77580"/>
                <a:gd name="connsiteX140" fmla="*/ 47390 w 129928"/>
                <a:gd name="connsiteY140" fmla="*/ 2729 h 77580"/>
                <a:gd name="connsiteX141" fmla="*/ 49089 w 129928"/>
                <a:gd name="connsiteY141" fmla="*/ 2522 h 77580"/>
                <a:gd name="connsiteX142" fmla="*/ 50771 w 129928"/>
                <a:gd name="connsiteY142" fmla="*/ 1380 h 77580"/>
                <a:gd name="connsiteX143" fmla="*/ 59987 w 129928"/>
                <a:gd name="connsiteY143" fmla="*/ 2423 h 77580"/>
                <a:gd name="connsiteX144" fmla="*/ 62067 w 129928"/>
                <a:gd name="connsiteY144" fmla="*/ 2398 h 77580"/>
                <a:gd name="connsiteX145" fmla="*/ 64410 w 129928"/>
                <a:gd name="connsiteY145" fmla="*/ 2567 h 77580"/>
                <a:gd name="connsiteX146" fmla="*/ 68733 w 129928"/>
                <a:gd name="connsiteY146" fmla="*/ 3630 h 77580"/>
                <a:gd name="connsiteX147" fmla="*/ 71220 w 129928"/>
                <a:gd name="connsiteY147" fmla="*/ 4600 h 77580"/>
                <a:gd name="connsiteX148" fmla="*/ 76686 w 129928"/>
                <a:gd name="connsiteY148" fmla="*/ 4014 h 77580"/>
                <a:gd name="connsiteX149" fmla="*/ 79025 w 129928"/>
                <a:gd name="connsiteY149" fmla="*/ 3980 h 77580"/>
                <a:gd name="connsiteX150" fmla="*/ 80249 w 129928"/>
                <a:gd name="connsiteY150" fmla="*/ 3598 h 77580"/>
                <a:gd name="connsiteX151" fmla="*/ 84019 w 129928"/>
                <a:gd name="connsiteY151" fmla="*/ 937 h 77580"/>
                <a:gd name="connsiteX152" fmla="*/ 85650 w 129928"/>
                <a:gd name="connsiteY152" fmla="*/ 479 h 77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129928" h="77580">
                  <a:moveTo>
                    <a:pt x="4755" y="24770"/>
                  </a:moveTo>
                  <a:lnTo>
                    <a:pt x="4774" y="26268"/>
                  </a:lnTo>
                  <a:lnTo>
                    <a:pt x="4513" y="28758"/>
                  </a:lnTo>
                  <a:lnTo>
                    <a:pt x="2917" y="33001"/>
                  </a:lnTo>
                  <a:lnTo>
                    <a:pt x="1283" y="35210"/>
                  </a:lnTo>
                  <a:lnTo>
                    <a:pt x="0" y="34971"/>
                  </a:lnTo>
                  <a:lnTo>
                    <a:pt x="2526" y="31410"/>
                  </a:lnTo>
                  <a:lnTo>
                    <a:pt x="3489" y="29096"/>
                  </a:lnTo>
                  <a:lnTo>
                    <a:pt x="4159" y="25805"/>
                  </a:lnTo>
                  <a:close/>
                  <a:moveTo>
                    <a:pt x="87148" y="0"/>
                  </a:moveTo>
                  <a:lnTo>
                    <a:pt x="88519" y="407"/>
                  </a:lnTo>
                  <a:lnTo>
                    <a:pt x="89422" y="2681"/>
                  </a:lnTo>
                  <a:lnTo>
                    <a:pt x="92210" y="6597"/>
                  </a:lnTo>
                  <a:lnTo>
                    <a:pt x="95240" y="7284"/>
                  </a:lnTo>
                  <a:lnTo>
                    <a:pt x="103616" y="8790"/>
                  </a:lnTo>
                  <a:lnTo>
                    <a:pt x="105328" y="9581"/>
                  </a:lnTo>
                  <a:lnTo>
                    <a:pt x="110042" y="13027"/>
                  </a:lnTo>
                  <a:lnTo>
                    <a:pt x="112869" y="14715"/>
                  </a:lnTo>
                  <a:lnTo>
                    <a:pt x="114667" y="16062"/>
                  </a:lnTo>
                  <a:lnTo>
                    <a:pt x="117410" y="18698"/>
                  </a:lnTo>
                  <a:lnTo>
                    <a:pt x="118995" y="20614"/>
                  </a:lnTo>
                  <a:lnTo>
                    <a:pt x="121645" y="22062"/>
                  </a:lnTo>
                  <a:lnTo>
                    <a:pt x="124780" y="23036"/>
                  </a:lnTo>
                  <a:lnTo>
                    <a:pt x="125900" y="23187"/>
                  </a:lnTo>
                  <a:lnTo>
                    <a:pt x="125840" y="24579"/>
                  </a:lnTo>
                  <a:lnTo>
                    <a:pt x="125305" y="26939"/>
                  </a:lnTo>
                  <a:lnTo>
                    <a:pt x="124257" y="29982"/>
                  </a:lnTo>
                  <a:lnTo>
                    <a:pt x="123158" y="32338"/>
                  </a:lnTo>
                  <a:lnTo>
                    <a:pt x="122895" y="33248"/>
                  </a:lnTo>
                  <a:lnTo>
                    <a:pt x="123728" y="34003"/>
                  </a:lnTo>
                  <a:lnTo>
                    <a:pt x="127840" y="34360"/>
                  </a:lnTo>
                  <a:lnTo>
                    <a:pt x="129584" y="34765"/>
                  </a:lnTo>
                  <a:lnTo>
                    <a:pt x="129928" y="35390"/>
                  </a:lnTo>
                  <a:lnTo>
                    <a:pt x="129015" y="36202"/>
                  </a:lnTo>
                  <a:lnTo>
                    <a:pt x="127702" y="36876"/>
                  </a:lnTo>
                  <a:lnTo>
                    <a:pt x="127114" y="37514"/>
                  </a:lnTo>
                  <a:lnTo>
                    <a:pt x="126069" y="39795"/>
                  </a:lnTo>
                  <a:lnTo>
                    <a:pt x="119228" y="39505"/>
                  </a:lnTo>
                  <a:lnTo>
                    <a:pt x="118321" y="39969"/>
                  </a:lnTo>
                  <a:lnTo>
                    <a:pt x="117889" y="41028"/>
                  </a:lnTo>
                  <a:lnTo>
                    <a:pt x="117548" y="42251"/>
                  </a:lnTo>
                  <a:lnTo>
                    <a:pt x="116650" y="43699"/>
                  </a:lnTo>
                  <a:lnTo>
                    <a:pt x="114832" y="44959"/>
                  </a:lnTo>
                  <a:lnTo>
                    <a:pt x="111990" y="45424"/>
                  </a:lnTo>
                  <a:lnTo>
                    <a:pt x="109664" y="46280"/>
                  </a:lnTo>
                  <a:lnTo>
                    <a:pt x="107930" y="48920"/>
                  </a:lnTo>
                  <a:lnTo>
                    <a:pt x="106639" y="52456"/>
                  </a:lnTo>
                  <a:lnTo>
                    <a:pt x="106671" y="54961"/>
                  </a:lnTo>
                  <a:lnTo>
                    <a:pt x="106842" y="56357"/>
                  </a:lnTo>
                  <a:lnTo>
                    <a:pt x="106691" y="57155"/>
                  </a:lnTo>
                  <a:lnTo>
                    <a:pt x="105814" y="58025"/>
                  </a:lnTo>
                  <a:lnTo>
                    <a:pt x="104380" y="60327"/>
                  </a:lnTo>
                  <a:lnTo>
                    <a:pt x="103214" y="62869"/>
                  </a:lnTo>
                  <a:lnTo>
                    <a:pt x="102767" y="64247"/>
                  </a:lnTo>
                  <a:lnTo>
                    <a:pt x="102992" y="64892"/>
                  </a:lnTo>
                  <a:lnTo>
                    <a:pt x="104305" y="64909"/>
                  </a:lnTo>
                  <a:lnTo>
                    <a:pt x="106199" y="65431"/>
                  </a:lnTo>
                  <a:lnTo>
                    <a:pt x="107207" y="66445"/>
                  </a:lnTo>
                  <a:lnTo>
                    <a:pt x="107580" y="67616"/>
                  </a:lnTo>
                  <a:lnTo>
                    <a:pt x="107585" y="68875"/>
                  </a:lnTo>
                  <a:lnTo>
                    <a:pt x="107231" y="69568"/>
                  </a:lnTo>
                  <a:lnTo>
                    <a:pt x="105713" y="70070"/>
                  </a:lnTo>
                  <a:lnTo>
                    <a:pt x="103335" y="70088"/>
                  </a:lnTo>
                  <a:lnTo>
                    <a:pt x="101949" y="69488"/>
                  </a:lnTo>
                  <a:lnTo>
                    <a:pt x="101662" y="69013"/>
                  </a:lnTo>
                  <a:lnTo>
                    <a:pt x="102324" y="67800"/>
                  </a:lnTo>
                  <a:lnTo>
                    <a:pt x="101845" y="66285"/>
                  </a:lnTo>
                  <a:lnTo>
                    <a:pt x="100861" y="65437"/>
                  </a:lnTo>
                  <a:lnTo>
                    <a:pt x="98859" y="66702"/>
                  </a:lnTo>
                  <a:lnTo>
                    <a:pt x="96937" y="66701"/>
                  </a:lnTo>
                  <a:lnTo>
                    <a:pt x="94633" y="67827"/>
                  </a:lnTo>
                  <a:lnTo>
                    <a:pt x="93128" y="69631"/>
                  </a:lnTo>
                  <a:lnTo>
                    <a:pt x="91683" y="70296"/>
                  </a:lnTo>
                  <a:lnTo>
                    <a:pt x="87779" y="69928"/>
                  </a:lnTo>
                  <a:lnTo>
                    <a:pt x="86809" y="70723"/>
                  </a:lnTo>
                  <a:lnTo>
                    <a:pt x="86004" y="74388"/>
                  </a:lnTo>
                  <a:lnTo>
                    <a:pt x="85537" y="75104"/>
                  </a:lnTo>
                  <a:lnTo>
                    <a:pt x="82277" y="74947"/>
                  </a:lnTo>
                  <a:lnTo>
                    <a:pt x="79133" y="76402"/>
                  </a:lnTo>
                  <a:lnTo>
                    <a:pt x="75583" y="77580"/>
                  </a:lnTo>
                  <a:lnTo>
                    <a:pt x="73784" y="76761"/>
                  </a:lnTo>
                  <a:lnTo>
                    <a:pt x="72782" y="75838"/>
                  </a:lnTo>
                  <a:lnTo>
                    <a:pt x="70849" y="76002"/>
                  </a:lnTo>
                  <a:lnTo>
                    <a:pt x="68740" y="76408"/>
                  </a:lnTo>
                  <a:lnTo>
                    <a:pt x="67323" y="76186"/>
                  </a:lnTo>
                  <a:lnTo>
                    <a:pt x="65734" y="76285"/>
                  </a:lnTo>
                  <a:lnTo>
                    <a:pt x="62663" y="76995"/>
                  </a:lnTo>
                  <a:lnTo>
                    <a:pt x="58802" y="76766"/>
                  </a:lnTo>
                  <a:lnTo>
                    <a:pt x="57157" y="76160"/>
                  </a:lnTo>
                  <a:lnTo>
                    <a:pt x="57001" y="75580"/>
                  </a:lnTo>
                  <a:lnTo>
                    <a:pt x="57120" y="74154"/>
                  </a:lnTo>
                  <a:lnTo>
                    <a:pt x="57083" y="71937"/>
                  </a:lnTo>
                  <a:lnTo>
                    <a:pt x="56470" y="69979"/>
                  </a:lnTo>
                  <a:lnTo>
                    <a:pt x="54623" y="68246"/>
                  </a:lnTo>
                  <a:lnTo>
                    <a:pt x="52682" y="67034"/>
                  </a:lnTo>
                  <a:lnTo>
                    <a:pt x="50205" y="65782"/>
                  </a:lnTo>
                  <a:lnTo>
                    <a:pt x="48374" y="65233"/>
                  </a:lnTo>
                  <a:lnTo>
                    <a:pt x="47372" y="65089"/>
                  </a:lnTo>
                  <a:lnTo>
                    <a:pt x="47146" y="64368"/>
                  </a:lnTo>
                  <a:lnTo>
                    <a:pt x="46783" y="63745"/>
                  </a:lnTo>
                  <a:lnTo>
                    <a:pt x="45926" y="63196"/>
                  </a:lnTo>
                  <a:lnTo>
                    <a:pt x="44095" y="62459"/>
                  </a:lnTo>
                  <a:lnTo>
                    <a:pt x="42542" y="62298"/>
                  </a:lnTo>
                  <a:lnTo>
                    <a:pt x="41270" y="63487"/>
                  </a:lnTo>
                  <a:lnTo>
                    <a:pt x="40344" y="61998"/>
                  </a:lnTo>
                  <a:lnTo>
                    <a:pt x="39361" y="59331"/>
                  </a:lnTo>
                  <a:lnTo>
                    <a:pt x="39463" y="57196"/>
                  </a:lnTo>
                  <a:lnTo>
                    <a:pt x="40020" y="55065"/>
                  </a:lnTo>
                  <a:lnTo>
                    <a:pt x="42708" y="48760"/>
                  </a:lnTo>
                  <a:lnTo>
                    <a:pt x="42563" y="47753"/>
                  </a:lnTo>
                  <a:lnTo>
                    <a:pt x="40613" y="45986"/>
                  </a:lnTo>
                  <a:lnTo>
                    <a:pt x="38202" y="44701"/>
                  </a:lnTo>
                  <a:lnTo>
                    <a:pt x="36871" y="41982"/>
                  </a:lnTo>
                  <a:lnTo>
                    <a:pt x="31987" y="41824"/>
                  </a:lnTo>
                  <a:lnTo>
                    <a:pt x="27376" y="41974"/>
                  </a:lnTo>
                  <a:lnTo>
                    <a:pt x="25928" y="41842"/>
                  </a:lnTo>
                  <a:lnTo>
                    <a:pt x="21540" y="40702"/>
                  </a:lnTo>
                  <a:lnTo>
                    <a:pt x="17311" y="38866"/>
                  </a:lnTo>
                  <a:lnTo>
                    <a:pt x="14481" y="37788"/>
                  </a:lnTo>
                  <a:lnTo>
                    <a:pt x="12101" y="36582"/>
                  </a:lnTo>
                  <a:lnTo>
                    <a:pt x="10823" y="35315"/>
                  </a:lnTo>
                  <a:lnTo>
                    <a:pt x="8795" y="35656"/>
                  </a:lnTo>
                  <a:lnTo>
                    <a:pt x="7428" y="35667"/>
                  </a:lnTo>
                  <a:lnTo>
                    <a:pt x="7441" y="35449"/>
                  </a:lnTo>
                  <a:lnTo>
                    <a:pt x="6662" y="33207"/>
                  </a:lnTo>
                  <a:lnTo>
                    <a:pt x="7476" y="29769"/>
                  </a:lnTo>
                  <a:lnTo>
                    <a:pt x="5999" y="24732"/>
                  </a:lnTo>
                  <a:lnTo>
                    <a:pt x="3584" y="18657"/>
                  </a:lnTo>
                  <a:lnTo>
                    <a:pt x="3405" y="12135"/>
                  </a:lnTo>
                  <a:lnTo>
                    <a:pt x="3234" y="10666"/>
                  </a:lnTo>
                  <a:lnTo>
                    <a:pt x="9173" y="6980"/>
                  </a:lnTo>
                  <a:lnTo>
                    <a:pt x="16666" y="3027"/>
                  </a:lnTo>
                  <a:lnTo>
                    <a:pt x="18370" y="2669"/>
                  </a:lnTo>
                  <a:lnTo>
                    <a:pt x="25275" y="326"/>
                  </a:lnTo>
                  <a:lnTo>
                    <a:pt x="26197" y="140"/>
                  </a:lnTo>
                  <a:lnTo>
                    <a:pt x="32419" y="574"/>
                  </a:lnTo>
                  <a:lnTo>
                    <a:pt x="37306" y="1131"/>
                  </a:lnTo>
                  <a:lnTo>
                    <a:pt x="41425" y="1062"/>
                  </a:lnTo>
                  <a:lnTo>
                    <a:pt x="43688" y="462"/>
                  </a:lnTo>
                  <a:lnTo>
                    <a:pt x="45738" y="964"/>
                  </a:lnTo>
                  <a:lnTo>
                    <a:pt x="47390" y="2729"/>
                  </a:lnTo>
                  <a:lnTo>
                    <a:pt x="49089" y="2522"/>
                  </a:lnTo>
                  <a:lnTo>
                    <a:pt x="50771" y="1380"/>
                  </a:lnTo>
                  <a:lnTo>
                    <a:pt x="59987" y="2423"/>
                  </a:lnTo>
                  <a:lnTo>
                    <a:pt x="62067" y="2398"/>
                  </a:lnTo>
                  <a:lnTo>
                    <a:pt x="64410" y="2567"/>
                  </a:lnTo>
                  <a:lnTo>
                    <a:pt x="68733" y="3630"/>
                  </a:lnTo>
                  <a:lnTo>
                    <a:pt x="71220" y="4600"/>
                  </a:lnTo>
                  <a:lnTo>
                    <a:pt x="76686" y="4014"/>
                  </a:lnTo>
                  <a:lnTo>
                    <a:pt x="79025" y="3980"/>
                  </a:lnTo>
                  <a:lnTo>
                    <a:pt x="80249" y="3598"/>
                  </a:lnTo>
                  <a:lnTo>
                    <a:pt x="84019" y="937"/>
                  </a:lnTo>
                  <a:lnTo>
                    <a:pt x="85650" y="479"/>
                  </a:lnTo>
                  <a:close/>
                </a:path>
              </a:pathLst>
            </a:custGeom>
            <a:grpFill/>
            <a:ln w="3175"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27" name="ee4p_LU_1_92573">
              <a:extLst>
                <a:ext uri="{FF2B5EF4-FFF2-40B4-BE49-F238E27FC236}">
                  <a16:creationId xmlns:a16="http://schemas.microsoft.com/office/drawing/2014/main" id="{144755B1-EAFD-490D-8625-ACAB600F6789}"/>
                </a:ext>
              </a:extLst>
            </p:cNvPr>
            <p:cNvSpPr>
              <a:spLocks noChangeAspect="1"/>
            </p:cNvSpPr>
            <p:nvPr>
              <p:custDataLst>
                <p:tags r:id="rId21"/>
              </p:custDataLst>
            </p:nvPr>
          </p:nvSpPr>
          <p:spPr>
            <a:xfrm>
              <a:off x="4273551" y="4512457"/>
              <a:ext cx="67392" cy="82404"/>
            </a:xfrm>
            <a:custGeom>
              <a:avLst/>
              <a:gdLst/>
              <a:ahLst/>
              <a:cxnLst/>
              <a:rect l="0" t="0" r="0" b="0"/>
              <a:pathLst>
                <a:path w="17000" h="20787">
                  <a:moveTo>
                    <a:pt x="8657" y="1335"/>
                  </a:moveTo>
                  <a:lnTo>
                    <a:pt x="8476" y="2109"/>
                  </a:lnTo>
                  <a:lnTo>
                    <a:pt x="8508" y="3838"/>
                  </a:lnTo>
                  <a:lnTo>
                    <a:pt x="9136" y="5572"/>
                  </a:lnTo>
                  <a:lnTo>
                    <a:pt x="10611" y="7279"/>
                  </a:lnTo>
                  <a:lnTo>
                    <a:pt x="11743" y="8517"/>
                  </a:lnTo>
                  <a:lnTo>
                    <a:pt x="13259" y="9505"/>
                  </a:lnTo>
                  <a:lnTo>
                    <a:pt x="15830" y="10443"/>
                  </a:lnTo>
                  <a:lnTo>
                    <a:pt x="16856" y="10640"/>
                  </a:lnTo>
                  <a:lnTo>
                    <a:pt x="16999" y="11909"/>
                  </a:lnTo>
                  <a:lnTo>
                    <a:pt x="16800" y="13250"/>
                  </a:lnTo>
                  <a:lnTo>
                    <a:pt x="15912" y="13991"/>
                  </a:lnTo>
                  <a:lnTo>
                    <a:pt x="15074" y="15057"/>
                  </a:lnTo>
                  <a:lnTo>
                    <a:pt x="14446" y="16361"/>
                  </a:lnTo>
                  <a:lnTo>
                    <a:pt x="13785" y="18857"/>
                  </a:lnTo>
                  <a:lnTo>
                    <a:pt x="13695" y="20577"/>
                  </a:lnTo>
                  <a:lnTo>
                    <a:pt x="12213" y="19865"/>
                  </a:lnTo>
                  <a:lnTo>
                    <a:pt x="11436" y="19383"/>
                  </a:lnTo>
                  <a:lnTo>
                    <a:pt x="10084" y="19252"/>
                  </a:lnTo>
                  <a:lnTo>
                    <a:pt x="8732" y="19645"/>
                  </a:lnTo>
                  <a:lnTo>
                    <a:pt x="7720" y="20522"/>
                  </a:lnTo>
                  <a:lnTo>
                    <a:pt x="6333" y="20786"/>
                  </a:lnTo>
                  <a:lnTo>
                    <a:pt x="5185" y="20522"/>
                  </a:lnTo>
                  <a:lnTo>
                    <a:pt x="4509" y="19865"/>
                  </a:lnTo>
                  <a:lnTo>
                    <a:pt x="3900" y="19515"/>
                  </a:lnTo>
                  <a:lnTo>
                    <a:pt x="2177" y="19075"/>
                  </a:lnTo>
                  <a:lnTo>
                    <a:pt x="1431" y="18122"/>
                  </a:lnTo>
                  <a:lnTo>
                    <a:pt x="2000" y="17676"/>
                  </a:lnTo>
                  <a:lnTo>
                    <a:pt x="2489" y="16972"/>
                  </a:lnTo>
                  <a:lnTo>
                    <a:pt x="2908" y="15980"/>
                  </a:lnTo>
                  <a:lnTo>
                    <a:pt x="3436" y="15063"/>
                  </a:lnTo>
                  <a:lnTo>
                    <a:pt x="1740" y="12549"/>
                  </a:lnTo>
                  <a:lnTo>
                    <a:pt x="1393" y="11780"/>
                  </a:lnTo>
                  <a:lnTo>
                    <a:pt x="0" y="10358"/>
                  </a:lnTo>
                  <a:lnTo>
                    <a:pt x="17" y="9636"/>
                  </a:lnTo>
                  <a:lnTo>
                    <a:pt x="350" y="8949"/>
                  </a:lnTo>
                  <a:lnTo>
                    <a:pt x="226" y="8417"/>
                  </a:lnTo>
                  <a:lnTo>
                    <a:pt x="421" y="7149"/>
                  </a:lnTo>
                  <a:lnTo>
                    <a:pt x="1395" y="5949"/>
                  </a:lnTo>
                  <a:lnTo>
                    <a:pt x="2043" y="4464"/>
                  </a:lnTo>
                  <a:lnTo>
                    <a:pt x="3137" y="2439"/>
                  </a:lnTo>
                  <a:lnTo>
                    <a:pt x="5556" y="0"/>
                  </a:lnTo>
                  <a:lnTo>
                    <a:pt x="7292" y="372"/>
                  </a:lnTo>
                  <a:lnTo>
                    <a:pt x="8050" y="364"/>
                  </a:lnTo>
                  <a:lnTo>
                    <a:pt x="8514" y="1255"/>
                  </a:lnTo>
                  <a:close/>
                </a:path>
              </a:pathLst>
            </a:custGeom>
            <a:grpFill/>
            <a:ln w="3175"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28" name="ee4p_LV_1_92573">
              <a:extLst>
                <a:ext uri="{FF2B5EF4-FFF2-40B4-BE49-F238E27FC236}">
                  <a16:creationId xmlns:a16="http://schemas.microsoft.com/office/drawing/2014/main" id="{0C667CDA-A7EA-41F9-9F3D-86BF24BFA038}"/>
                </a:ext>
              </a:extLst>
            </p:cNvPr>
            <p:cNvSpPr>
              <a:spLocks noChangeAspect="1"/>
            </p:cNvSpPr>
            <p:nvPr>
              <p:custDataLst>
                <p:tags r:id="rId22"/>
              </p:custDataLst>
            </p:nvPr>
          </p:nvSpPr>
          <p:spPr>
            <a:xfrm>
              <a:off x="5613829" y="3560166"/>
              <a:ext cx="630007" cy="299640"/>
            </a:xfrm>
            <a:custGeom>
              <a:avLst/>
              <a:gdLst/>
              <a:ahLst/>
              <a:cxnLst/>
              <a:rect l="0" t="0" r="0" b="0"/>
              <a:pathLst>
                <a:path w="158923" h="75586">
                  <a:moveTo>
                    <a:pt x="140124" y="17113"/>
                  </a:moveTo>
                  <a:lnTo>
                    <a:pt x="142728" y="17243"/>
                  </a:lnTo>
                  <a:lnTo>
                    <a:pt x="143644" y="17749"/>
                  </a:lnTo>
                  <a:lnTo>
                    <a:pt x="144253" y="20242"/>
                  </a:lnTo>
                  <a:lnTo>
                    <a:pt x="147218" y="22202"/>
                  </a:lnTo>
                  <a:lnTo>
                    <a:pt x="149963" y="23827"/>
                  </a:lnTo>
                  <a:lnTo>
                    <a:pt x="150664" y="24577"/>
                  </a:lnTo>
                  <a:lnTo>
                    <a:pt x="150878" y="26024"/>
                  </a:lnTo>
                  <a:lnTo>
                    <a:pt x="150701" y="27712"/>
                  </a:lnTo>
                  <a:lnTo>
                    <a:pt x="150353" y="28586"/>
                  </a:lnTo>
                  <a:lnTo>
                    <a:pt x="149209" y="29593"/>
                  </a:lnTo>
                  <a:lnTo>
                    <a:pt x="148205" y="32139"/>
                  </a:lnTo>
                  <a:lnTo>
                    <a:pt x="148067" y="34560"/>
                  </a:lnTo>
                  <a:lnTo>
                    <a:pt x="146482" y="38739"/>
                  </a:lnTo>
                  <a:lnTo>
                    <a:pt x="146840" y="38816"/>
                  </a:lnTo>
                  <a:lnTo>
                    <a:pt x="150166" y="38063"/>
                  </a:lnTo>
                  <a:lnTo>
                    <a:pt x="151107" y="38495"/>
                  </a:lnTo>
                  <a:lnTo>
                    <a:pt x="151835" y="39417"/>
                  </a:lnTo>
                  <a:lnTo>
                    <a:pt x="152068" y="42035"/>
                  </a:lnTo>
                  <a:lnTo>
                    <a:pt x="153158" y="43211"/>
                  </a:lnTo>
                  <a:lnTo>
                    <a:pt x="154268" y="45048"/>
                  </a:lnTo>
                  <a:lnTo>
                    <a:pt x="154620" y="46477"/>
                  </a:lnTo>
                  <a:lnTo>
                    <a:pt x="156734" y="48178"/>
                  </a:lnTo>
                  <a:lnTo>
                    <a:pt x="156905" y="49277"/>
                  </a:lnTo>
                  <a:lnTo>
                    <a:pt x="158196" y="53160"/>
                  </a:lnTo>
                  <a:lnTo>
                    <a:pt x="158693" y="55393"/>
                  </a:lnTo>
                  <a:lnTo>
                    <a:pt x="158922" y="57119"/>
                  </a:lnTo>
                  <a:lnTo>
                    <a:pt x="158287" y="59309"/>
                  </a:lnTo>
                  <a:lnTo>
                    <a:pt x="157726" y="60790"/>
                  </a:lnTo>
                  <a:lnTo>
                    <a:pt x="157061" y="60700"/>
                  </a:lnTo>
                  <a:lnTo>
                    <a:pt x="155162" y="61090"/>
                  </a:lnTo>
                  <a:lnTo>
                    <a:pt x="152161" y="62874"/>
                  </a:lnTo>
                  <a:lnTo>
                    <a:pt x="147693" y="67069"/>
                  </a:lnTo>
                  <a:lnTo>
                    <a:pt x="146544" y="67998"/>
                  </a:lnTo>
                  <a:lnTo>
                    <a:pt x="145376" y="71187"/>
                  </a:lnTo>
                  <a:lnTo>
                    <a:pt x="145095" y="71510"/>
                  </a:lnTo>
                  <a:lnTo>
                    <a:pt x="142496" y="71363"/>
                  </a:lnTo>
                  <a:lnTo>
                    <a:pt x="141787" y="71287"/>
                  </a:lnTo>
                  <a:lnTo>
                    <a:pt x="139179" y="71351"/>
                  </a:lnTo>
                  <a:lnTo>
                    <a:pt x="133504" y="70522"/>
                  </a:lnTo>
                  <a:lnTo>
                    <a:pt x="131303" y="71070"/>
                  </a:lnTo>
                  <a:lnTo>
                    <a:pt x="128416" y="74291"/>
                  </a:lnTo>
                  <a:lnTo>
                    <a:pt x="127298" y="74764"/>
                  </a:lnTo>
                  <a:lnTo>
                    <a:pt x="123944" y="75210"/>
                  </a:lnTo>
                  <a:lnTo>
                    <a:pt x="123354" y="75585"/>
                  </a:lnTo>
                  <a:lnTo>
                    <a:pt x="122234" y="75434"/>
                  </a:lnTo>
                  <a:lnTo>
                    <a:pt x="119099" y="74460"/>
                  </a:lnTo>
                  <a:lnTo>
                    <a:pt x="116449" y="73012"/>
                  </a:lnTo>
                  <a:lnTo>
                    <a:pt x="114864" y="71096"/>
                  </a:lnTo>
                  <a:lnTo>
                    <a:pt x="112121" y="68460"/>
                  </a:lnTo>
                  <a:lnTo>
                    <a:pt x="110323" y="67113"/>
                  </a:lnTo>
                  <a:lnTo>
                    <a:pt x="107496" y="65425"/>
                  </a:lnTo>
                  <a:lnTo>
                    <a:pt x="102782" y="61979"/>
                  </a:lnTo>
                  <a:lnTo>
                    <a:pt x="101070" y="61188"/>
                  </a:lnTo>
                  <a:lnTo>
                    <a:pt x="92694" y="59682"/>
                  </a:lnTo>
                  <a:lnTo>
                    <a:pt x="89664" y="58995"/>
                  </a:lnTo>
                  <a:lnTo>
                    <a:pt x="86876" y="55079"/>
                  </a:lnTo>
                  <a:lnTo>
                    <a:pt x="85973" y="52805"/>
                  </a:lnTo>
                  <a:lnTo>
                    <a:pt x="84602" y="52398"/>
                  </a:lnTo>
                  <a:lnTo>
                    <a:pt x="83104" y="52877"/>
                  </a:lnTo>
                  <a:lnTo>
                    <a:pt x="81473" y="53335"/>
                  </a:lnTo>
                  <a:lnTo>
                    <a:pt x="77703" y="55996"/>
                  </a:lnTo>
                  <a:lnTo>
                    <a:pt x="76479" y="56378"/>
                  </a:lnTo>
                  <a:lnTo>
                    <a:pt x="74140" y="56412"/>
                  </a:lnTo>
                  <a:lnTo>
                    <a:pt x="68674" y="56998"/>
                  </a:lnTo>
                  <a:lnTo>
                    <a:pt x="66187" y="56028"/>
                  </a:lnTo>
                  <a:lnTo>
                    <a:pt x="61864" y="54965"/>
                  </a:lnTo>
                  <a:lnTo>
                    <a:pt x="59521" y="54796"/>
                  </a:lnTo>
                  <a:lnTo>
                    <a:pt x="57441" y="54821"/>
                  </a:lnTo>
                  <a:lnTo>
                    <a:pt x="48225" y="53778"/>
                  </a:lnTo>
                  <a:lnTo>
                    <a:pt x="46543" y="54920"/>
                  </a:lnTo>
                  <a:lnTo>
                    <a:pt x="44844" y="55127"/>
                  </a:lnTo>
                  <a:lnTo>
                    <a:pt x="43192" y="53362"/>
                  </a:lnTo>
                  <a:lnTo>
                    <a:pt x="41142" y="52860"/>
                  </a:lnTo>
                  <a:lnTo>
                    <a:pt x="38879" y="53460"/>
                  </a:lnTo>
                  <a:lnTo>
                    <a:pt x="34760" y="53529"/>
                  </a:lnTo>
                  <a:lnTo>
                    <a:pt x="29873" y="52972"/>
                  </a:lnTo>
                  <a:lnTo>
                    <a:pt x="23651" y="52538"/>
                  </a:lnTo>
                  <a:lnTo>
                    <a:pt x="22729" y="52724"/>
                  </a:lnTo>
                  <a:lnTo>
                    <a:pt x="15824" y="55067"/>
                  </a:lnTo>
                  <a:lnTo>
                    <a:pt x="14120" y="55425"/>
                  </a:lnTo>
                  <a:lnTo>
                    <a:pt x="6627" y="59378"/>
                  </a:lnTo>
                  <a:lnTo>
                    <a:pt x="688" y="63064"/>
                  </a:lnTo>
                  <a:lnTo>
                    <a:pt x="0" y="57165"/>
                  </a:lnTo>
                  <a:lnTo>
                    <a:pt x="365" y="45323"/>
                  </a:lnTo>
                  <a:lnTo>
                    <a:pt x="1246" y="39431"/>
                  </a:lnTo>
                  <a:lnTo>
                    <a:pt x="5361" y="35991"/>
                  </a:lnTo>
                  <a:lnTo>
                    <a:pt x="7426" y="33308"/>
                  </a:lnTo>
                  <a:lnTo>
                    <a:pt x="8627" y="29723"/>
                  </a:lnTo>
                  <a:lnTo>
                    <a:pt x="8989" y="26401"/>
                  </a:lnTo>
                  <a:lnTo>
                    <a:pt x="9823" y="23652"/>
                  </a:lnTo>
                  <a:lnTo>
                    <a:pt x="15783" y="15747"/>
                  </a:lnTo>
                  <a:lnTo>
                    <a:pt x="20507" y="14891"/>
                  </a:lnTo>
                  <a:lnTo>
                    <a:pt x="26899" y="12692"/>
                  </a:lnTo>
                  <a:lnTo>
                    <a:pt x="34044" y="10858"/>
                  </a:lnTo>
                  <a:lnTo>
                    <a:pt x="35425" y="13191"/>
                  </a:lnTo>
                  <a:lnTo>
                    <a:pt x="36124" y="14970"/>
                  </a:lnTo>
                  <a:lnTo>
                    <a:pt x="44729" y="21440"/>
                  </a:lnTo>
                  <a:lnTo>
                    <a:pt x="46919" y="23609"/>
                  </a:lnTo>
                  <a:lnTo>
                    <a:pt x="50247" y="31029"/>
                  </a:lnTo>
                  <a:lnTo>
                    <a:pt x="58217" y="34782"/>
                  </a:lnTo>
                  <a:lnTo>
                    <a:pt x="64483" y="33598"/>
                  </a:lnTo>
                  <a:lnTo>
                    <a:pt x="67206" y="31776"/>
                  </a:lnTo>
                  <a:lnTo>
                    <a:pt x="72225" y="28414"/>
                  </a:lnTo>
                  <a:lnTo>
                    <a:pt x="74466" y="25950"/>
                  </a:lnTo>
                  <a:lnTo>
                    <a:pt x="74922" y="23572"/>
                  </a:lnTo>
                  <a:lnTo>
                    <a:pt x="74032" y="13378"/>
                  </a:lnTo>
                  <a:lnTo>
                    <a:pt x="72674" y="8945"/>
                  </a:lnTo>
                  <a:lnTo>
                    <a:pt x="73138" y="6179"/>
                  </a:lnTo>
                  <a:lnTo>
                    <a:pt x="74021" y="6322"/>
                  </a:lnTo>
                  <a:lnTo>
                    <a:pt x="76153" y="4987"/>
                  </a:lnTo>
                  <a:lnTo>
                    <a:pt x="83160" y="2507"/>
                  </a:lnTo>
                  <a:lnTo>
                    <a:pt x="84559" y="2396"/>
                  </a:lnTo>
                  <a:lnTo>
                    <a:pt x="86157" y="1887"/>
                  </a:lnTo>
                  <a:lnTo>
                    <a:pt x="90573" y="0"/>
                  </a:lnTo>
                  <a:lnTo>
                    <a:pt x="91992" y="1004"/>
                  </a:lnTo>
                  <a:lnTo>
                    <a:pt x="93175" y="2144"/>
                  </a:lnTo>
                  <a:lnTo>
                    <a:pt x="93829" y="2158"/>
                  </a:lnTo>
                  <a:lnTo>
                    <a:pt x="94147" y="1734"/>
                  </a:lnTo>
                  <a:lnTo>
                    <a:pt x="94058" y="1001"/>
                  </a:lnTo>
                  <a:lnTo>
                    <a:pt x="94367" y="479"/>
                  </a:lnTo>
                  <a:lnTo>
                    <a:pt x="95637" y="769"/>
                  </a:lnTo>
                  <a:lnTo>
                    <a:pt x="100750" y="3869"/>
                  </a:lnTo>
                  <a:lnTo>
                    <a:pt x="102715" y="4593"/>
                  </a:lnTo>
                  <a:lnTo>
                    <a:pt x="104058" y="4796"/>
                  </a:lnTo>
                  <a:lnTo>
                    <a:pt x="105669" y="6245"/>
                  </a:lnTo>
                  <a:lnTo>
                    <a:pt x="110033" y="7217"/>
                  </a:lnTo>
                  <a:lnTo>
                    <a:pt x="110567" y="7966"/>
                  </a:lnTo>
                  <a:lnTo>
                    <a:pt x="110901" y="8900"/>
                  </a:lnTo>
                  <a:lnTo>
                    <a:pt x="114985" y="12822"/>
                  </a:lnTo>
                  <a:lnTo>
                    <a:pt x="116820" y="14788"/>
                  </a:lnTo>
                  <a:lnTo>
                    <a:pt x="120448" y="16592"/>
                  </a:lnTo>
                  <a:lnTo>
                    <a:pt x="122007" y="17021"/>
                  </a:lnTo>
                  <a:lnTo>
                    <a:pt x="128356" y="15182"/>
                  </a:lnTo>
                  <a:lnTo>
                    <a:pt x="130127" y="14542"/>
                  </a:lnTo>
                  <a:lnTo>
                    <a:pt x="131590" y="14532"/>
                  </a:lnTo>
                  <a:lnTo>
                    <a:pt x="133081" y="15500"/>
                  </a:lnTo>
                  <a:lnTo>
                    <a:pt x="136479" y="16788"/>
                  </a:lnTo>
                  <a:lnTo>
                    <a:pt x="139563" y="17196"/>
                  </a:lnTo>
                  <a:close/>
                </a:path>
              </a:pathLst>
            </a:custGeom>
            <a:grpFill/>
            <a:ln w="3175"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29" name="ee4p_MT_1_92573">
              <a:extLst>
                <a:ext uri="{FF2B5EF4-FFF2-40B4-BE49-F238E27FC236}">
                  <a16:creationId xmlns:a16="http://schemas.microsoft.com/office/drawing/2014/main" id="{0AB31562-445A-44DF-8BA1-B8E23770F8A7}"/>
                </a:ext>
              </a:extLst>
            </p:cNvPr>
            <p:cNvSpPr>
              <a:spLocks noChangeAspect="1"/>
            </p:cNvSpPr>
            <p:nvPr>
              <p:custDataLst>
                <p:tags r:id="rId23"/>
              </p:custDataLst>
            </p:nvPr>
          </p:nvSpPr>
          <p:spPr>
            <a:xfrm>
              <a:off x="5029708" y="6025695"/>
              <a:ext cx="18846" cy="15817"/>
            </a:xfrm>
            <a:custGeom>
              <a:avLst/>
              <a:gdLst/>
              <a:ahLst/>
              <a:cxnLst/>
              <a:rect l="0" t="0" r="0" b="0"/>
              <a:pathLst>
                <a:path w="4754" h="3990">
                  <a:moveTo>
                    <a:pt x="4753" y="3169"/>
                  </a:moveTo>
                  <a:lnTo>
                    <a:pt x="4012" y="3989"/>
                  </a:lnTo>
                  <a:lnTo>
                    <a:pt x="1883" y="3952"/>
                  </a:lnTo>
                  <a:lnTo>
                    <a:pt x="24" y="2677"/>
                  </a:lnTo>
                  <a:lnTo>
                    <a:pt x="0" y="0"/>
                  </a:lnTo>
                  <a:lnTo>
                    <a:pt x="2146" y="530"/>
                  </a:lnTo>
                  <a:lnTo>
                    <a:pt x="4107" y="2324"/>
                  </a:lnTo>
                  <a:close/>
                </a:path>
              </a:pathLst>
            </a:custGeom>
            <a:grpFill/>
            <a:ln w="3175"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30" name="ee4p_MT_2_92573">
              <a:extLst>
                <a:ext uri="{FF2B5EF4-FFF2-40B4-BE49-F238E27FC236}">
                  <a16:creationId xmlns:a16="http://schemas.microsoft.com/office/drawing/2014/main" id="{E14607BD-733B-4D15-9C8F-9020B8CFC4FE}"/>
                </a:ext>
              </a:extLst>
            </p:cNvPr>
            <p:cNvSpPr>
              <a:spLocks noChangeAspect="1"/>
            </p:cNvSpPr>
            <p:nvPr>
              <p:custDataLst>
                <p:tags r:id="rId24"/>
              </p:custDataLst>
            </p:nvPr>
          </p:nvSpPr>
          <p:spPr>
            <a:xfrm>
              <a:off x="5014727" y="6015955"/>
              <a:ext cx="12321" cy="6371"/>
            </a:xfrm>
            <a:custGeom>
              <a:avLst/>
              <a:gdLst/>
              <a:ahLst/>
              <a:cxnLst/>
              <a:rect l="0" t="0" r="0" b="0"/>
              <a:pathLst>
                <a:path w="3108" h="1607">
                  <a:moveTo>
                    <a:pt x="2943" y="1216"/>
                  </a:moveTo>
                  <a:lnTo>
                    <a:pt x="1619" y="1606"/>
                  </a:lnTo>
                  <a:lnTo>
                    <a:pt x="307" y="847"/>
                  </a:lnTo>
                  <a:lnTo>
                    <a:pt x="0" y="388"/>
                  </a:lnTo>
                  <a:lnTo>
                    <a:pt x="1833" y="0"/>
                  </a:lnTo>
                  <a:lnTo>
                    <a:pt x="2727" y="340"/>
                  </a:lnTo>
                  <a:lnTo>
                    <a:pt x="3107" y="998"/>
                  </a:lnTo>
                  <a:close/>
                </a:path>
              </a:pathLst>
            </a:custGeom>
            <a:grpFill/>
            <a:ln w="3175"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31" name="ee4p_NL_1_92573">
              <a:extLst>
                <a:ext uri="{FF2B5EF4-FFF2-40B4-BE49-F238E27FC236}">
                  <a16:creationId xmlns:a16="http://schemas.microsoft.com/office/drawing/2014/main" id="{923A47DE-EF25-478E-BCBD-10262F76D600}"/>
                </a:ext>
              </a:extLst>
            </p:cNvPr>
            <p:cNvSpPr>
              <a:spLocks noChangeAspect="1"/>
            </p:cNvSpPr>
            <p:nvPr>
              <p:custDataLst>
                <p:tags r:id="rId25"/>
              </p:custDataLst>
            </p:nvPr>
          </p:nvSpPr>
          <p:spPr>
            <a:xfrm>
              <a:off x="4065373" y="4107483"/>
              <a:ext cx="337233" cy="337863"/>
            </a:xfrm>
            <a:custGeom>
              <a:avLst/>
              <a:gdLst>
                <a:gd name="connsiteX0" fmla="*/ 5293 w 85069"/>
                <a:gd name="connsiteY0" fmla="*/ 66254 h 85228"/>
                <a:gd name="connsiteX1" fmla="*/ 8102 w 85069"/>
                <a:gd name="connsiteY1" fmla="*/ 67143 h 85228"/>
                <a:gd name="connsiteX2" fmla="*/ 11792 w 85069"/>
                <a:gd name="connsiteY2" fmla="*/ 67572 h 85228"/>
                <a:gd name="connsiteX3" fmla="*/ 14614 w 85069"/>
                <a:gd name="connsiteY3" fmla="*/ 66356 h 85228"/>
                <a:gd name="connsiteX4" fmla="*/ 16836 w 85069"/>
                <a:gd name="connsiteY4" fmla="*/ 67392 h 85228"/>
                <a:gd name="connsiteX5" fmla="*/ 19372 w 85069"/>
                <a:gd name="connsiteY5" fmla="*/ 66634 h 85228"/>
                <a:gd name="connsiteX6" fmla="*/ 19046 w 85069"/>
                <a:gd name="connsiteY6" fmla="*/ 67741 h 85228"/>
                <a:gd name="connsiteX7" fmla="*/ 18186 w 85069"/>
                <a:gd name="connsiteY7" fmla="*/ 68963 h 85228"/>
                <a:gd name="connsiteX8" fmla="*/ 15256 w 85069"/>
                <a:gd name="connsiteY8" fmla="*/ 70722 h 85228"/>
                <a:gd name="connsiteX9" fmla="*/ 12205 w 85069"/>
                <a:gd name="connsiteY9" fmla="*/ 71876 h 85228"/>
                <a:gd name="connsiteX10" fmla="*/ 10628 w 85069"/>
                <a:gd name="connsiteY10" fmla="*/ 71732 h 85228"/>
                <a:gd name="connsiteX11" fmla="*/ 9548 w 85069"/>
                <a:gd name="connsiteY11" fmla="*/ 71128 h 85228"/>
                <a:gd name="connsiteX12" fmla="*/ 8968 w 85069"/>
                <a:gd name="connsiteY12" fmla="*/ 70494 h 85228"/>
                <a:gd name="connsiteX13" fmla="*/ 7335 w 85069"/>
                <a:gd name="connsiteY13" fmla="*/ 69883 h 85228"/>
                <a:gd name="connsiteX14" fmla="*/ 5089 w 85069"/>
                <a:gd name="connsiteY14" fmla="*/ 69576 h 85228"/>
                <a:gd name="connsiteX15" fmla="*/ 3692 w 85069"/>
                <a:gd name="connsiteY15" fmla="*/ 70237 h 85228"/>
                <a:gd name="connsiteX16" fmla="*/ 2695 w 85069"/>
                <a:gd name="connsiteY16" fmla="*/ 70863 h 85228"/>
                <a:gd name="connsiteX17" fmla="*/ 1822 w 85069"/>
                <a:gd name="connsiteY17" fmla="*/ 70760 h 85228"/>
                <a:gd name="connsiteX18" fmla="*/ 1166 w 85069"/>
                <a:gd name="connsiteY18" fmla="*/ 70237 h 85228"/>
                <a:gd name="connsiteX19" fmla="*/ 663 w 85069"/>
                <a:gd name="connsiteY19" fmla="*/ 69431 h 85228"/>
                <a:gd name="connsiteX20" fmla="*/ 0 w 85069"/>
                <a:gd name="connsiteY20" fmla="*/ 66892 h 85228"/>
                <a:gd name="connsiteX21" fmla="*/ 1673 w 85069"/>
                <a:gd name="connsiteY21" fmla="*/ 66428 h 85228"/>
                <a:gd name="connsiteX22" fmla="*/ 9706 w 85069"/>
                <a:gd name="connsiteY22" fmla="*/ 56047 h 85228"/>
                <a:gd name="connsiteX23" fmla="*/ 13246 w 85069"/>
                <a:gd name="connsiteY23" fmla="*/ 56253 h 85228"/>
                <a:gd name="connsiteX24" fmla="*/ 15405 w 85069"/>
                <a:gd name="connsiteY24" fmla="*/ 57860 h 85228"/>
                <a:gd name="connsiteX25" fmla="*/ 15865 w 85069"/>
                <a:gd name="connsiteY25" fmla="*/ 58373 h 85228"/>
                <a:gd name="connsiteX26" fmla="*/ 16031 w 85069"/>
                <a:gd name="connsiteY26" fmla="*/ 58924 h 85228"/>
                <a:gd name="connsiteX27" fmla="*/ 13287 w 85069"/>
                <a:gd name="connsiteY27" fmla="*/ 59563 h 85228"/>
                <a:gd name="connsiteX28" fmla="*/ 10369 w 85069"/>
                <a:gd name="connsiteY28" fmla="*/ 57592 h 85228"/>
                <a:gd name="connsiteX29" fmla="*/ 8441 w 85069"/>
                <a:gd name="connsiteY29" fmla="*/ 58057 h 85228"/>
                <a:gd name="connsiteX30" fmla="*/ 7715 w 85069"/>
                <a:gd name="connsiteY30" fmla="*/ 57123 h 85228"/>
                <a:gd name="connsiteX31" fmla="*/ 7704 w 85069"/>
                <a:gd name="connsiteY31" fmla="*/ 56540 h 85228"/>
                <a:gd name="connsiteX32" fmla="*/ 33971 w 85069"/>
                <a:gd name="connsiteY32" fmla="*/ 13310 h 85228"/>
                <a:gd name="connsiteX33" fmla="*/ 33965 w 85069"/>
                <a:gd name="connsiteY33" fmla="*/ 16687 h 85228"/>
                <a:gd name="connsiteX34" fmla="*/ 31775 w 85069"/>
                <a:gd name="connsiteY34" fmla="*/ 18811 h 85228"/>
                <a:gd name="connsiteX35" fmla="*/ 30441 w 85069"/>
                <a:gd name="connsiteY35" fmla="*/ 18218 h 85228"/>
                <a:gd name="connsiteX36" fmla="*/ 30052 w 85069"/>
                <a:gd name="connsiteY36" fmla="*/ 17726 h 85228"/>
                <a:gd name="connsiteX37" fmla="*/ 30730 w 85069"/>
                <a:gd name="connsiteY37" fmla="*/ 16070 h 85228"/>
                <a:gd name="connsiteX38" fmla="*/ 37081 w 85069"/>
                <a:gd name="connsiteY38" fmla="*/ 9498 h 85228"/>
                <a:gd name="connsiteX39" fmla="*/ 38884 w 85069"/>
                <a:gd name="connsiteY39" fmla="*/ 9564 h 85228"/>
                <a:gd name="connsiteX40" fmla="*/ 34796 w 85069"/>
                <a:gd name="connsiteY40" fmla="*/ 11771 h 85228"/>
                <a:gd name="connsiteX41" fmla="*/ 34446 w 85069"/>
                <a:gd name="connsiteY41" fmla="*/ 11420 h 85228"/>
                <a:gd name="connsiteX42" fmla="*/ 76643 w 85069"/>
                <a:gd name="connsiteY42" fmla="*/ 5558 h 85228"/>
                <a:gd name="connsiteX43" fmla="*/ 78770 w 85069"/>
                <a:gd name="connsiteY43" fmla="*/ 7538 h 85228"/>
                <a:gd name="connsiteX44" fmla="*/ 80003 w 85069"/>
                <a:gd name="connsiteY44" fmla="*/ 8984 h 85228"/>
                <a:gd name="connsiteX45" fmla="*/ 81989 w 85069"/>
                <a:gd name="connsiteY45" fmla="*/ 9787 h 85228"/>
                <a:gd name="connsiteX46" fmla="*/ 85069 w 85069"/>
                <a:gd name="connsiteY46" fmla="*/ 10338 h 85228"/>
                <a:gd name="connsiteX47" fmla="*/ 84885 w 85069"/>
                <a:gd name="connsiteY47" fmla="*/ 13193 h 85228"/>
                <a:gd name="connsiteX48" fmla="*/ 84907 w 85069"/>
                <a:gd name="connsiteY48" fmla="*/ 18820 h 85228"/>
                <a:gd name="connsiteX49" fmla="*/ 84676 w 85069"/>
                <a:gd name="connsiteY49" fmla="*/ 19817 h 85228"/>
                <a:gd name="connsiteX50" fmla="*/ 83296 w 85069"/>
                <a:gd name="connsiteY50" fmla="*/ 22186 h 85228"/>
                <a:gd name="connsiteX51" fmla="*/ 81832 w 85069"/>
                <a:gd name="connsiteY51" fmla="*/ 26435 h 85228"/>
                <a:gd name="connsiteX52" fmla="*/ 81437 w 85069"/>
                <a:gd name="connsiteY52" fmla="*/ 29222 h 85228"/>
                <a:gd name="connsiteX53" fmla="*/ 80998 w 85069"/>
                <a:gd name="connsiteY53" fmla="*/ 29753 h 85228"/>
                <a:gd name="connsiteX54" fmla="*/ 75144 w 85069"/>
                <a:gd name="connsiteY54" fmla="*/ 29737 h 85228"/>
                <a:gd name="connsiteX55" fmla="*/ 74311 w 85069"/>
                <a:gd name="connsiteY55" fmla="*/ 30220 h 85228"/>
                <a:gd name="connsiteX56" fmla="*/ 74192 w 85069"/>
                <a:gd name="connsiteY56" fmla="*/ 30822 h 85228"/>
                <a:gd name="connsiteX57" fmla="*/ 74488 w 85069"/>
                <a:gd name="connsiteY57" fmla="*/ 31539 h 85228"/>
                <a:gd name="connsiteX58" fmla="*/ 74347 w 85069"/>
                <a:gd name="connsiteY58" fmla="*/ 32252 h 85228"/>
                <a:gd name="connsiteX59" fmla="*/ 73888 w 85069"/>
                <a:gd name="connsiteY59" fmla="*/ 32832 h 85228"/>
                <a:gd name="connsiteX60" fmla="*/ 74138 w 85069"/>
                <a:gd name="connsiteY60" fmla="*/ 33753 h 85228"/>
                <a:gd name="connsiteX61" fmla="*/ 75153 w 85069"/>
                <a:gd name="connsiteY61" fmla="*/ 34800 h 85228"/>
                <a:gd name="connsiteX62" fmla="*/ 77003 w 85069"/>
                <a:gd name="connsiteY62" fmla="*/ 35447 h 85228"/>
                <a:gd name="connsiteX63" fmla="*/ 78984 w 85069"/>
                <a:gd name="connsiteY63" fmla="*/ 35506 h 85228"/>
                <a:gd name="connsiteX64" fmla="*/ 80003 w 85069"/>
                <a:gd name="connsiteY64" fmla="*/ 35393 h 85228"/>
                <a:gd name="connsiteX65" fmla="*/ 80748 w 85069"/>
                <a:gd name="connsiteY65" fmla="*/ 36139 h 85228"/>
                <a:gd name="connsiteX66" fmla="*/ 81484 w 85069"/>
                <a:gd name="connsiteY66" fmla="*/ 37291 h 85228"/>
                <a:gd name="connsiteX67" fmla="*/ 81428 w 85069"/>
                <a:gd name="connsiteY67" fmla="*/ 38738 h 85228"/>
                <a:gd name="connsiteX68" fmla="*/ 81141 w 85069"/>
                <a:gd name="connsiteY68" fmla="*/ 40682 h 85228"/>
                <a:gd name="connsiteX69" fmla="*/ 80203 w 85069"/>
                <a:gd name="connsiteY69" fmla="*/ 42476 h 85228"/>
                <a:gd name="connsiteX70" fmla="*/ 77502 w 85069"/>
                <a:gd name="connsiteY70" fmla="*/ 44542 h 85228"/>
                <a:gd name="connsiteX71" fmla="*/ 76293 w 85069"/>
                <a:gd name="connsiteY71" fmla="*/ 45270 h 85228"/>
                <a:gd name="connsiteX72" fmla="*/ 75157 w 85069"/>
                <a:gd name="connsiteY72" fmla="*/ 45641 h 85228"/>
                <a:gd name="connsiteX73" fmla="*/ 74615 w 85069"/>
                <a:gd name="connsiteY73" fmla="*/ 46187 h 85228"/>
                <a:gd name="connsiteX74" fmla="*/ 74360 w 85069"/>
                <a:gd name="connsiteY74" fmla="*/ 46878 h 85228"/>
                <a:gd name="connsiteX75" fmla="*/ 74419 w 85069"/>
                <a:gd name="connsiteY75" fmla="*/ 47491 h 85228"/>
                <a:gd name="connsiteX76" fmla="*/ 76338 w 85069"/>
                <a:gd name="connsiteY76" fmla="*/ 49147 h 85228"/>
                <a:gd name="connsiteX77" fmla="*/ 76293 w 85069"/>
                <a:gd name="connsiteY77" fmla="*/ 49525 h 85228"/>
                <a:gd name="connsiteX78" fmla="*/ 75736 w 85069"/>
                <a:gd name="connsiteY78" fmla="*/ 50385 h 85228"/>
                <a:gd name="connsiteX79" fmla="*/ 74997 w 85069"/>
                <a:gd name="connsiteY79" fmla="*/ 51194 h 85228"/>
                <a:gd name="connsiteX80" fmla="*/ 70039 w 85069"/>
                <a:gd name="connsiteY80" fmla="*/ 52876 h 85228"/>
                <a:gd name="connsiteX81" fmla="*/ 67992 w 85069"/>
                <a:gd name="connsiteY81" fmla="*/ 52744 h 85228"/>
                <a:gd name="connsiteX82" fmla="*/ 66824 w 85069"/>
                <a:gd name="connsiteY82" fmla="*/ 53581 h 85228"/>
                <a:gd name="connsiteX83" fmla="*/ 66459 w 85069"/>
                <a:gd name="connsiteY83" fmla="*/ 53740 h 85228"/>
                <a:gd name="connsiteX84" fmla="*/ 65164 w 85069"/>
                <a:gd name="connsiteY84" fmla="*/ 52971 h 85228"/>
                <a:gd name="connsiteX85" fmla="*/ 62276 w 85069"/>
                <a:gd name="connsiteY85" fmla="*/ 52084 h 85228"/>
                <a:gd name="connsiteX86" fmla="*/ 61186 w 85069"/>
                <a:gd name="connsiteY86" fmla="*/ 52390 h 85228"/>
                <a:gd name="connsiteX87" fmla="*/ 60581 w 85069"/>
                <a:gd name="connsiteY87" fmla="*/ 52876 h 85228"/>
                <a:gd name="connsiteX88" fmla="*/ 58763 w 85069"/>
                <a:gd name="connsiteY88" fmla="*/ 53465 h 85228"/>
                <a:gd name="connsiteX89" fmla="*/ 57461 w 85069"/>
                <a:gd name="connsiteY89" fmla="*/ 54388 h 85228"/>
                <a:gd name="connsiteX90" fmla="*/ 57457 w 85069"/>
                <a:gd name="connsiteY90" fmla="*/ 55576 h 85228"/>
                <a:gd name="connsiteX91" fmla="*/ 59761 w 85069"/>
                <a:gd name="connsiteY91" fmla="*/ 58645 h 85228"/>
                <a:gd name="connsiteX92" fmla="*/ 60571 w 85069"/>
                <a:gd name="connsiteY92" fmla="*/ 59247 h 85228"/>
                <a:gd name="connsiteX93" fmla="*/ 60609 w 85069"/>
                <a:gd name="connsiteY93" fmla="*/ 60391 h 85228"/>
                <a:gd name="connsiteX94" fmla="*/ 61726 w 85069"/>
                <a:gd name="connsiteY94" fmla="*/ 61827 h 85228"/>
                <a:gd name="connsiteX95" fmla="*/ 62868 w 85069"/>
                <a:gd name="connsiteY95" fmla="*/ 63626 h 85228"/>
                <a:gd name="connsiteX96" fmla="*/ 62991 w 85069"/>
                <a:gd name="connsiteY96" fmla="*/ 64769 h 85228"/>
                <a:gd name="connsiteX97" fmla="*/ 62860 w 85069"/>
                <a:gd name="connsiteY97" fmla="*/ 65926 h 85228"/>
                <a:gd name="connsiteX98" fmla="*/ 62270 w 85069"/>
                <a:gd name="connsiteY98" fmla="*/ 67562 h 85228"/>
                <a:gd name="connsiteX99" fmla="*/ 60273 w 85069"/>
                <a:gd name="connsiteY99" fmla="*/ 71394 h 85228"/>
                <a:gd name="connsiteX100" fmla="*/ 60249 w 85069"/>
                <a:gd name="connsiteY100" fmla="*/ 72129 h 85228"/>
                <a:gd name="connsiteX101" fmla="*/ 60417 w 85069"/>
                <a:gd name="connsiteY101" fmla="*/ 72687 h 85228"/>
                <a:gd name="connsiteX102" fmla="*/ 61102 w 85069"/>
                <a:gd name="connsiteY102" fmla="*/ 72841 h 85228"/>
                <a:gd name="connsiteX103" fmla="*/ 61622 w 85069"/>
                <a:gd name="connsiteY103" fmla="*/ 73130 h 85228"/>
                <a:gd name="connsiteX104" fmla="*/ 61469 w 85069"/>
                <a:gd name="connsiteY104" fmla="*/ 73640 h 85228"/>
                <a:gd name="connsiteX105" fmla="*/ 57733 w 85069"/>
                <a:gd name="connsiteY105" fmla="*/ 76293 h 85228"/>
                <a:gd name="connsiteX106" fmla="*/ 57251 w 85069"/>
                <a:gd name="connsiteY106" fmla="*/ 76757 h 85228"/>
                <a:gd name="connsiteX107" fmla="*/ 55684 w 85069"/>
                <a:gd name="connsiteY107" fmla="*/ 76626 h 85228"/>
                <a:gd name="connsiteX108" fmla="*/ 55444 w 85069"/>
                <a:gd name="connsiteY108" fmla="*/ 77069 h 85228"/>
                <a:gd name="connsiteX109" fmla="*/ 55658 w 85069"/>
                <a:gd name="connsiteY109" fmla="*/ 77784 h 85228"/>
                <a:gd name="connsiteX110" fmla="*/ 56267 w 85069"/>
                <a:gd name="connsiteY110" fmla="*/ 78410 h 85228"/>
                <a:gd name="connsiteX111" fmla="*/ 57601 w 85069"/>
                <a:gd name="connsiteY111" fmla="*/ 78740 h 85228"/>
                <a:gd name="connsiteX112" fmla="*/ 58746 w 85069"/>
                <a:gd name="connsiteY112" fmla="*/ 79411 h 85228"/>
                <a:gd name="connsiteX113" fmla="*/ 59666 w 85069"/>
                <a:gd name="connsiteY113" fmla="*/ 80726 h 85228"/>
                <a:gd name="connsiteX114" fmla="*/ 58461 w 85069"/>
                <a:gd name="connsiteY114" fmla="*/ 85228 h 85228"/>
                <a:gd name="connsiteX115" fmla="*/ 54114 w 85069"/>
                <a:gd name="connsiteY115" fmla="*/ 85109 h 85228"/>
                <a:gd name="connsiteX116" fmla="*/ 53002 w 85069"/>
                <a:gd name="connsiteY116" fmla="*/ 84963 h 85228"/>
                <a:gd name="connsiteX117" fmla="*/ 51821 w 85069"/>
                <a:gd name="connsiteY117" fmla="*/ 84523 h 85228"/>
                <a:gd name="connsiteX118" fmla="*/ 51818 w 85069"/>
                <a:gd name="connsiteY118" fmla="*/ 84520 h 85228"/>
                <a:gd name="connsiteX119" fmla="*/ 51278 w 85069"/>
                <a:gd name="connsiteY119" fmla="*/ 83611 h 85228"/>
                <a:gd name="connsiteX120" fmla="*/ 50622 w 85069"/>
                <a:gd name="connsiteY120" fmla="*/ 82514 h 85228"/>
                <a:gd name="connsiteX121" fmla="*/ 50801 w 85069"/>
                <a:gd name="connsiteY121" fmla="*/ 81842 h 85228"/>
                <a:gd name="connsiteX122" fmla="*/ 52771 w 85069"/>
                <a:gd name="connsiteY122" fmla="*/ 79931 h 85228"/>
                <a:gd name="connsiteX123" fmla="*/ 53067 w 85069"/>
                <a:gd name="connsiteY123" fmla="*/ 79403 h 85228"/>
                <a:gd name="connsiteX124" fmla="*/ 52864 w 85069"/>
                <a:gd name="connsiteY124" fmla="*/ 79120 h 85228"/>
                <a:gd name="connsiteX125" fmla="*/ 53062 w 85069"/>
                <a:gd name="connsiteY125" fmla="*/ 78278 h 85228"/>
                <a:gd name="connsiteX126" fmla="*/ 54576 w 85069"/>
                <a:gd name="connsiteY126" fmla="*/ 75424 h 85228"/>
                <a:gd name="connsiteX127" fmla="*/ 54772 w 85069"/>
                <a:gd name="connsiteY127" fmla="*/ 74277 h 85228"/>
                <a:gd name="connsiteX128" fmla="*/ 54095 w 85069"/>
                <a:gd name="connsiteY128" fmla="*/ 73474 h 85228"/>
                <a:gd name="connsiteX129" fmla="*/ 53118 w 85069"/>
                <a:gd name="connsiteY129" fmla="*/ 72994 h 85228"/>
                <a:gd name="connsiteX130" fmla="*/ 49944 w 85069"/>
                <a:gd name="connsiteY130" fmla="*/ 72146 h 85228"/>
                <a:gd name="connsiteX131" fmla="*/ 48433 w 85069"/>
                <a:gd name="connsiteY131" fmla="*/ 70949 h 85228"/>
                <a:gd name="connsiteX132" fmla="*/ 47733 w 85069"/>
                <a:gd name="connsiteY132" fmla="*/ 69903 h 85228"/>
                <a:gd name="connsiteX133" fmla="*/ 47027 w 85069"/>
                <a:gd name="connsiteY133" fmla="*/ 69609 h 85228"/>
                <a:gd name="connsiteX134" fmla="*/ 45986 w 85069"/>
                <a:gd name="connsiteY134" fmla="*/ 69962 h 85228"/>
                <a:gd name="connsiteX135" fmla="*/ 43356 w 85069"/>
                <a:gd name="connsiteY135" fmla="*/ 70351 h 85228"/>
                <a:gd name="connsiteX136" fmla="*/ 41218 w 85069"/>
                <a:gd name="connsiteY136" fmla="*/ 69787 h 85228"/>
                <a:gd name="connsiteX137" fmla="*/ 38692 w 85069"/>
                <a:gd name="connsiteY137" fmla="*/ 67807 h 85228"/>
                <a:gd name="connsiteX138" fmla="*/ 38106 w 85069"/>
                <a:gd name="connsiteY138" fmla="*/ 66036 h 85228"/>
                <a:gd name="connsiteX139" fmla="*/ 37798 w 85069"/>
                <a:gd name="connsiteY139" fmla="*/ 64677 h 85228"/>
                <a:gd name="connsiteX140" fmla="*/ 37167 w 85069"/>
                <a:gd name="connsiteY140" fmla="*/ 64208 h 85228"/>
                <a:gd name="connsiteX141" fmla="*/ 36319 w 85069"/>
                <a:gd name="connsiteY141" fmla="*/ 64905 h 85228"/>
                <a:gd name="connsiteX142" fmla="*/ 35243 w 85069"/>
                <a:gd name="connsiteY142" fmla="*/ 66009 h 85228"/>
                <a:gd name="connsiteX143" fmla="*/ 33123 w 85069"/>
                <a:gd name="connsiteY143" fmla="*/ 66141 h 85228"/>
                <a:gd name="connsiteX144" fmla="*/ 32518 w 85069"/>
                <a:gd name="connsiteY144" fmla="*/ 65883 h 85228"/>
                <a:gd name="connsiteX145" fmla="*/ 32414 w 85069"/>
                <a:gd name="connsiteY145" fmla="*/ 65274 h 85228"/>
                <a:gd name="connsiteX146" fmla="*/ 32293 w 85069"/>
                <a:gd name="connsiteY146" fmla="*/ 64689 h 85228"/>
                <a:gd name="connsiteX147" fmla="*/ 31710 w 85069"/>
                <a:gd name="connsiteY147" fmla="*/ 63964 h 85228"/>
                <a:gd name="connsiteX148" fmla="*/ 31080 w 85069"/>
                <a:gd name="connsiteY148" fmla="*/ 63561 h 85228"/>
                <a:gd name="connsiteX149" fmla="*/ 28389 w 85069"/>
                <a:gd name="connsiteY149" fmla="*/ 65599 h 85228"/>
                <a:gd name="connsiteX150" fmla="*/ 27389 w 85069"/>
                <a:gd name="connsiteY150" fmla="*/ 65594 h 85228"/>
                <a:gd name="connsiteX151" fmla="*/ 26126 w 85069"/>
                <a:gd name="connsiteY151" fmla="*/ 64811 h 85228"/>
                <a:gd name="connsiteX152" fmla="*/ 25502 w 85069"/>
                <a:gd name="connsiteY152" fmla="*/ 64043 h 85228"/>
                <a:gd name="connsiteX153" fmla="*/ 24120 w 85069"/>
                <a:gd name="connsiteY153" fmla="*/ 64481 h 85228"/>
                <a:gd name="connsiteX154" fmla="*/ 22878 w 85069"/>
                <a:gd name="connsiteY154" fmla="*/ 65427 h 85228"/>
                <a:gd name="connsiteX155" fmla="*/ 23304 w 85069"/>
                <a:gd name="connsiteY155" fmla="*/ 67203 h 85228"/>
                <a:gd name="connsiteX156" fmla="*/ 22634 w 85069"/>
                <a:gd name="connsiteY156" fmla="*/ 67528 h 85228"/>
                <a:gd name="connsiteX157" fmla="*/ 21104 w 85069"/>
                <a:gd name="connsiteY157" fmla="*/ 67366 h 85228"/>
                <a:gd name="connsiteX158" fmla="*/ 19372 w 85069"/>
                <a:gd name="connsiteY158" fmla="*/ 66634 h 85228"/>
                <a:gd name="connsiteX159" fmla="*/ 17441 w 85069"/>
                <a:gd name="connsiteY159" fmla="*/ 66193 h 85228"/>
                <a:gd name="connsiteX160" fmla="*/ 14515 w 85069"/>
                <a:gd name="connsiteY160" fmla="*/ 64968 h 85228"/>
                <a:gd name="connsiteX161" fmla="*/ 10432 w 85069"/>
                <a:gd name="connsiteY161" fmla="*/ 65962 h 85228"/>
                <a:gd name="connsiteX162" fmla="*/ 7594 w 85069"/>
                <a:gd name="connsiteY162" fmla="*/ 64772 h 85228"/>
                <a:gd name="connsiteX163" fmla="*/ 5236 w 85069"/>
                <a:gd name="connsiteY163" fmla="*/ 64654 h 85228"/>
                <a:gd name="connsiteX164" fmla="*/ 3768 w 85069"/>
                <a:gd name="connsiteY164" fmla="*/ 63706 h 85228"/>
                <a:gd name="connsiteX165" fmla="*/ 2185 w 85069"/>
                <a:gd name="connsiteY165" fmla="*/ 62102 h 85228"/>
                <a:gd name="connsiteX166" fmla="*/ 3306 w 85069"/>
                <a:gd name="connsiteY166" fmla="*/ 61046 h 85228"/>
                <a:gd name="connsiteX167" fmla="*/ 4390 w 85069"/>
                <a:gd name="connsiteY167" fmla="*/ 60680 h 85228"/>
                <a:gd name="connsiteX168" fmla="*/ 8709 w 85069"/>
                <a:gd name="connsiteY168" fmla="*/ 60476 h 85228"/>
                <a:gd name="connsiteX169" fmla="*/ 11850 w 85069"/>
                <a:gd name="connsiteY169" fmla="*/ 61118 h 85228"/>
                <a:gd name="connsiteX170" fmla="*/ 17495 w 85069"/>
                <a:gd name="connsiteY170" fmla="*/ 64600 h 85228"/>
                <a:gd name="connsiteX171" fmla="*/ 18920 w 85069"/>
                <a:gd name="connsiteY171" fmla="*/ 64573 h 85228"/>
                <a:gd name="connsiteX172" fmla="*/ 20432 w 85069"/>
                <a:gd name="connsiteY172" fmla="*/ 64134 h 85228"/>
                <a:gd name="connsiteX173" fmla="*/ 19663 w 85069"/>
                <a:gd name="connsiteY173" fmla="*/ 63185 h 85228"/>
                <a:gd name="connsiteX174" fmla="*/ 18251 w 85069"/>
                <a:gd name="connsiteY174" fmla="*/ 62733 h 85228"/>
                <a:gd name="connsiteX175" fmla="*/ 16150 w 85069"/>
                <a:gd name="connsiteY175" fmla="*/ 61797 h 85228"/>
                <a:gd name="connsiteX176" fmla="*/ 14476 w 85069"/>
                <a:gd name="connsiteY176" fmla="*/ 60482 h 85228"/>
                <a:gd name="connsiteX177" fmla="*/ 18408 w 85069"/>
                <a:gd name="connsiteY177" fmla="*/ 60056 h 85228"/>
                <a:gd name="connsiteX178" fmla="*/ 17864 w 85069"/>
                <a:gd name="connsiteY178" fmla="*/ 59375 h 85228"/>
                <a:gd name="connsiteX179" fmla="*/ 17346 w 85069"/>
                <a:gd name="connsiteY179" fmla="*/ 58213 h 85228"/>
                <a:gd name="connsiteX180" fmla="*/ 13196 w 85069"/>
                <a:gd name="connsiteY180" fmla="*/ 54156 h 85228"/>
                <a:gd name="connsiteX181" fmla="*/ 13904 w 85069"/>
                <a:gd name="connsiteY181" fmla="*/ 53057 h 85228"/>
                <a:gd name="connsiteX182" fmla="*/ 14947 w 85069"/>
                <a:gd name="connsiteY182" fmla="*/ 50697 h 85228"/>
                <a:gd name="connsiteX183" fmla="*/ 16247 w 85069"/>
                <a:gd name="connsiteY183" fmla="*/ 48735 h 85228"/>
                <a:gd name="connsiteX184" fmla="*/ 17283 w 85069"/>
                <a:gd name="connsiteY184" fmla="*/ 48209 h 85228"/>
                <a:gd name="connsiteX185" fmla="*/ 18987 w 85069"/>
                <a:gd name="connsiteY185" fmla="*/ 46816 h 85228"/>
                <a:gd name="connsiteX186" fmla="*/ 22691 w 85069"/>
                <a:gd name="connsiteY186" fmla="*/ 42733 h 85228"/>
                <a:gd name="connsiteX187" fmla="*/ 25046 w 85069"/>
                <a:gd name="connsiteY187" fmla="*/ 39401 h 85228"/>
                <a:gd name="connsiteX188" fmla="*/ 26800 w 85069"/>
                <a:gd name="connsiteY188" fmla="*/ 35438 h 85228"/>
                <a:gd name="connsiteX189" fmla="*/ 29369 w 85069"/>
                <a:gd name="connsiteY189" fmla="*/ 24495 h 85228"/>
                <a:gd name="connsiteX190" fmla="*/ 30130 w 85069"/>
                <a:gd name="connsiteY190" fmla="*/ 22631 h 85228"/>
                <a:gd name="connsiteX191" fmla="*/ 31369 w 85069"/>
                <a:gd name="connsiteY191" fmla="*/ 20562 h 85228"/>
                <a:gd name="connsiteX192" fmla="*/ 32924 w 85069"/>
                <a:gd name="connsiteY192" fmla="*/ 20952 h 85228"/>
                <a:gd name="connsiteX193" fmla="*/ 34006 w 85069"/>
                <a:gd name="connsiteY193" fmla="*/ 21548 h 85228"/>
                <a:gd name="connsiteX194" fmla="*/ 37837 w 85069"/>
                <a:gd name="connsiteY194" fmla="*/ 19984 h 85228"/>
                <a:gd name="connsiteX195" fmla="*/ 44408 w 85069"/>
                <a:gd name="connsiteY195" fmla="*/ 15914 h 85228"/>
                <a:gd name="connsiteX196" fmla="*/ 46344 w 85069"/>
                <a:gd name="connsiteY196" fmla="*/ 12387 h 85228"/>
                <a:gd name="connsiteX197" fmla="*/ 48247 w 85069"/>
                <a:gd name="connsiteY197" fmla="*/ 10746 h 85228"/>
                <a:gd name="connsiteX198" fmla="*/ 55798 w 85069"/>
                <a:gd name="connsiteY198" fmla="*/ 7544 h 85228"/>
                <a:gd name="connsiteX199" fmla="*/ 59970 w 85069"/>
                <a:gd name="connsiteY199" fmla="*/ 6584 h 85228"/>
                <a:gd name="connsiteX200" fmla="*/ 66405 w 85069"/>
                <a:gd name="connsiteY200" fmla="*/ 6337 h 85228"/>
                <a:gd name="connsiteX201" fmla="*/ 71056 w 85069"/>
                <a:gd name="connsiteY201" fmla="*/ 5765 h 85228"/>
                <a:gd name="connsiteX202" fmla="*/ 48808 w 85069"/>
                <a:gd name="connsiteY202" fmla="*/ 5486 h 85228"/>
                <a:gd name="connsiteX203" fmla="*/ 49365 w 85069"/>
                <a:gd name="connsiteY203" fmla="*/ 5650 h 85228"/>
                <a:gd name="connsiteX204" fmla="*/ 43686 w 85069"/>
                <a:gd name="connsiteY204" fmla="*/ 7226 h 85228"/>
                <a:gd name="connsiteX205" fmla="*/ 41626 w 85069"/>
                <a:gd name="connsiteY205" fmla="*/ 7466 h 85228"/>
                <a:gd name="connsiteX206" fmla="*/ 40689 w 85069"/>
                <a:gd name="connsiteY206" fmla="*/ 7044 h 85228"/>
                <a:gd name="connsiteX207" fmla="*/ 45662 w 85069"/>
                <a:gd name="connsiteY207" fmla="*/ 5850 h 85228"/>
                <a:gd name="connsiteX208" fmla="*/ 55859 w 85069"/>
                <a:gd name="connsiteY208" fmla="*/ 4536 h 85228"/>
                <a:gd name="connsiteX209" fmla="*/ 57008 w 85069"/>
                <a:gd name="connsiteY209" fmla="*/ 4840 h 85228"/>
                <a:gd name="connsiteX210" fmla="*/ 57031 w 85069"/>
                <a:gd name="connsiteY210" fmla="*/ 5026 h 85228"/>
                <a:gd name="connsiteX211" fmla="*/ 52669 w 85069"/>
                <a:gd name="connsiteY211" fmla="*/ 5514 h 85228"/>
                <a:gd name="connsiteX212" fmla="*/ 51194 w 85069"/>
                <a:gd name="connsiteY212" fmla="*/ 5145 h 85228"/>
                <a:gd name="connsiteX213" fmla="*/ 50951 w 85069"/>
                <a:gd name="connsiteY213" fmla="*/ 4795 h 85228"/>
                <a:gd name="connsiteX214" fmla="*/ 52140 w 85069"/>
                <a:gd name="connsiteY214" fmla="*/ 4587 h 85228"/>
                <a:gd name="connsiteX215" fmla="*/ 65028 w 85069"/>
                <a:gd name="connsiteY215" fmla="*/ 3334 h 85228"/>
                <a:gd name="connsiteX216" fmla="*/ 65967 w 85069"/>
                <a:gd name="connsiteY216" fmla="*/ 3462 h 85228"/>
                <a:gd name="connsiteX217" fmla="*/ 62868 w 85069"/>
                <a:gd name="connsiteY217" fmla="*/ 4484 h 85228"/>
                <a:gd name="connsiteX218" fmla="*/ 62117 w 85069"/>
                <a:gd name="connsiteY218" fmla="*/ 4270 h 85228"/>
                <a:gd name="connsiteX219" fmla="*/ 62302 w 85069"/>
                <a:gd name="connsiteY219" fmla="*/ 3974 h 85228"/>
                <a:gd name="connsiteX220" fmla="*/ 75280 w 85069"/>
                <a:gd name="connsiteY220" fmla="*/ 0 h 85228"/>
                <a:gd name="connsiteX221" fmla="*/ 76304 w 85069"/>
                <a:gd name="connsiteY221" fmla="*/ 0 h 85228"/>
                <a:gd name="connsiteX222" fmla="*/ 74842 w 85069"/>
                <a:gd name="connsiteY222" fmla="*/ 1297 h 85228"/>
                <a:gd name="connsiteX223" fmla="*/ 72793 w 85069"/>
                <a:gd name="connsiteY223" fmla="*/ 1397 h 85228"/>
                <a:gd name="connsiteX224" fmla="*/ 73378 w 85069"/>
                <a:gd name="connsiteY224" fmla="*/ 599 h 85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85069" h="85228">
                  <a:moveTo>
                    <a:pt x="5293" y="66254"/>
                  </a:moveTo>
                  <a:lnTo>
                    <a:pt x="8102" y="67143"/>
                  </a:lnTo>
                  <a:lnTo>
                    <a:pt x="11792" y="67572"/>
                  </a:lnTo>
                  <a:lnTo>
                    <a:pt x="14614" y="66356"/>
                  </a:lnTo>
                  <a:lnTo>
                    <a:pt x="16836" y="67392"/>
                  </a:lnTo>
                  <a:lnTo>
                    <a:pt x="19372" y="66634"/>
                  </a:lnTo>
                  <a:lnTo>
                    <a:pt x="19046" y="67741"/>
                  </a:lnTo>
                  <a:lnTo>
                    <a:pt x="18186" y="68963"/>
                  </a:lnTo>
                  <a:lnTo>
                    <a:pt x="15256" y="70722"/>
                  </a:lnTo>
                  <a:lnTo>
                    <a:pt x="12205" y="71876"/>
                  </a:lnTo>
                  <a:lnTo>
                    <a:pt x="10628" y="71732"/>
                  </a:lnTo>
                  <a:lnTo>
                    <a:pt x="9548" y="71128"/>
                  </a:lnTo>
                  <a:lnTo>
                    <a:pt x="8968" y="70494"/>
                  </a:lnTo>
                  <a:lnTo>
                    <a:pt x="7335" y="69883"/>
                  </a:lnTo>
                  <a:lnTo>
                    <a:pt x="5089" y="69576"/>
                  </a:lnTo>
                  <a:lnTo>
                    <a:pt x="3692" y="70237"/>
                  </a:lnTo>
                  <a:lnTo>
                    <a:pt x="2695" y="70863"/>
                  </a:lnTo>
                  <a:lnTo>
                    <a:pt x="1822" y="70760"/>
                  </a:lnTo>
                  <a:lnTo>
                    <a:pt x="1166" y="70237"/>
                  </a:lnTo>
                  <a:lnTo>
                    <a:pt x="663" y="69431"/>
                  </a:lnTo>
                  <a:lnTo>
                    <a:pt x="0" y="66892"/>
                  </a:lnTo>
                  <a:lnTo>
                    <a:pt x="1673" y="66428"/>
                  </a:lnTo>
                  <a:close/>
                  <a:moveTo>
                    <a:pt x="9706" y="56047"/>
                  </a:moveTo>
                  <a:lnTo>
                    <a:pt x="13246" y="56253"/>
                  </a:lnTo>
                  <a:lnTo>
                    <a:pt x="15405" y="57860"/>
                  </a:lnTo>
                  <a:lnTo>
                    <a:pt x="15865" y="58373"/>
                  </a:lnTo>
                  <a:lnTo>
                    <a:pt x="16031" y="58924"/>
                  </a:lnTo>
                  <a:lnTo>
                    <a:pt x="13287" y="59563"/>
                  </a:lnTo>
                  <a:lnTo>
                    <a:pt x="10369" y="57592"/>
                  </a:lnTo>
                  <a:lnTo>
                    <a:pt x="8441" y="58057"/>
                  </a:lnTo>
                  <a:lnTo>
                    <a:pt x="7715" y="57123"/>
                  </a:lnTo>
                  <a:lnTo>
                    <a:pt x="7704" y="56540"/>
                  </a:lnTo>
                  <a:close/>
                  <a:moveTo>
                    <a:pt x="33971" y="13310"/>
                  </a:moveTo>
                  <a:lnTo>
                    <a:pt x="33965" y="16687"/>
                  </a:lnTo>
                  <a:lnTo>
                    <a:pt x="31775" y="18811"/>
                  </a:lnTo>
                  <a:lnTo>
                    <a:pt x="30441" y="18218"/>
                  </a:lnTo>
                  <a:lnTo>
                    <a:pt x="30052" y="17726"/>
                  </a:lnTo>
                  <a:lnTo>
                    <a:pt x="30730" y="16070"/>
                  </a:lnTo>
                  <a:close/>
                  <a:moveTo>
                    <a:pt x="37081" y="9498"/>
                  </a:moveTo>
                  <a:lnTo>
                    <a:pt x="38884" y="9564"/>
                  </a:lnTo>
                  <a:lnTo>
                    <a:pt x="34796" y="11771"/>
                  </a:lnTo>
                  <a:lnTo>
                    <a:pt x="34446" y="11420"/>
                  </a:lnTo>
                  <a:close/>
                  <a:moveTo>
                    <a:pt x="76643" y="5558"/>
                  </a:moveTo>
                  <a:lnTo>
                    <a:pt x="78770" y="7538"/>
                  </a:lnTo>
                  <a:lnTo>
                    <a:pt x="80003" y="8984"/>
                  </a:lnTo>
                  <a:lnTo>
                    <a:pt x="81989" y="9787"/>
                  </a:lnTo>
                  <a:lnTo>
                    <a:pt x="85069" y="10338"/>
                  </a:lnTo>
                  <a:lnTo>
                    <a:pt x="84885" y="13193"/>
                  </a:lnTo>
                  <a:lnTo>
                    <a:pt x="84907" y="18820"/>
                  </a:lnTo>
                  <a:lnTo>
                    <a:pt x="84676" y="19817"/>
                  </a:lnTo>
                  <a:lnTo>
                    <a:pt x="83296" y="22186"/>
                  </a:lnTo>
                  <a:lnTo>
                    <a:pt x="81832" y="26435"/>
                  </a:lnTo>
                  <a:lnTo>
                    <a:pt x="81437" y="29222"/>
                  </a:lnTo>
                  <a:lnTo>
                    <a:pt x="80998" y="29753"/>
                  </a:lnTo>
                  <a:lnTo>
                    <a:pt x="75144" y="29737"/>
                  </a:lnTo>
                  <a:lnTo>
                    <a:pt x="74311" y="30220"/>
                  </a:lnTo>
                  <a:lnTo>
                    <a:pt x="74192" y="30822"/>
                  </a:lnTo>
                  <a:lnTo>
                    <a:pt x="74488" y="31539"/>
                  </a:lnTo>
                  <a:lnTo>
                    <a:pt x="74347" y="32252"/>
                  </a:lnTo>
                  <a:lnTo>
                    <a:pt x="73888" y="32832"/>
                  </a:lnTo>
                  <a:lnTo>
                    <a:pt x="74138" y="33753"/>
                  </a:lnTo>
                  <a:lnTo>
                    <a:pt x="75153" y="34800"/>
                  </a:lnTo>
                  <a:lnTo>
                    <a:pt x="77003" y="35447"/>
                  </a:lnTo>
                  <a:lnTo>
                    <a:pt x="78984" y="35506"/>
                  </a:lnTo>
                  <a:lnTo>
                    <a:pt x="80003" y="35393"/>
                  </a:lnTo>
                  <a:lnTo>
                    <a:pt x="80748" y="36139"/>
                  </a:lnTo>
                  <a:lnTo>
                    <a:pt x="81484" y="37291"/>
                  </a:lnTo>
                  <a:lnTo>
                    <a:pt x="81428" y="38738"/>
                  </a:lnTo>
                  <a:lnTo>
                    <a:pt x="81141" y="40682"/>
                  </a:lnTo>
                  <a:lnTo>
                    <a:pt x="80203" y="42476"/>
                  </a:lnTo>
                  <a:lnTo>
                    <a:pt x="77502" y="44542"/>
                  </a:lnTo>
                  <a:lnTo>
                    <a:pt x="76293" y="45270"/>
                  </a:lnTo>
                  <a:lnTo>
                    <a:pt x="75157" y="45641"/>
                  </a:lnTo>
                  <a:lnTo>
                    <a:pt x="74615" y="46187"/>
                  </a:lnTo>
                  <a:lnTo>
                    <a:pt x="74360" y="46878"/>
                  </a:lnTo>
                  <a:lnTo>
                    <a:pt x="74419" y="47491"/>
                  </a:lnTo>
                  <a:lnTo>
                    <a:pt x="76338" y="49147"/>
                  </a:lnTo>
                  <a:lnTo>
                    <a:pt x="76293" y="49525"/>
                  </a:lnTo>
                  <a:lnTo>
                    <a:pt x="75736" y="50385"/>
                  </a:lnTo>
                  <a:lnTo>
                    <a:pt x="74997" y="51194"/>
                  </a:lnTo>
                  <a:lnTo>
                    <a:pt x="70039" y="52876"/>
                  </a:lnTo>
                  <a:lnTo>
                    <a:pt x="67992" y="52744"/>
                  </a:lnTo>
                  <a:lnTo>
                    <a:pt x="66824" y="53581"/>
                  </a:lnTo>
                  <a:lnTo>
                    <a:pt x="66459" y="53740"/>
                  </a:lnTo>
                  <a:lnTo>
                    <a:pt x="65164" y="52971"/>
                  </a:lnTo>
                  <a:lnTo>
                    <a:pt x="62276" y="52084"/>
                  </a:lnTo>
                  <a:lnTo>
                    <a:pt x="61186" y="52390"/>
                  </a:lnTo>
                  <a:lnTo>
                    <a:pt x="60581" y="52876"/>
                  </a:lnTo>
                  <a:lnTo>
                    <a:pt x="58763" y="53465"/>
                  </a:lnTo>
                  <a:lnTo>
                    <a:pt x="57461" y="54388"/>
                  </a:lnTo>
                  <a:lnTo>
                    <a:pt x="57457" y="55576"/>
                  </a:lnTo>
                  <a:lnTo>
                    <a:pt x="59761" y="58645"/>
                  </a:lnTo>
                  <a:lnTo>
                    <a:pt x="60571" y="59247"/>
                  </a:lnTo>
                  <a:lnTo>
                    <a:pt x="60609" y="60391"/>
                  </a:lnTo>
                  <a:lnTo>
                    <a:pt x="61726" y="61827"/>
                  </a:lnTo>
                  <a:lnTo>
                    <a:pt x="62868" y="63626"/>
                  </a:lnTo>
                  <a:lnTo>
                    <a:pt x="62991" y="64769"/>
                  </a:lnTo>
                  <a:lnTo>
                    <a:pt x="62860" y="65926"/>
                  </a:lnTo>
                  <a:lnTo>
                    <a:pt x="62270" y="67562"/>
                  </a:lnTo>
                  <a:lnTo>
                    <a:pt x="60273" y="71394"/>
                  </a:lnTo>
                  <a:lnTo>
                    <a:pt x="60249" y="72129"/>
                  </a:lnTo>
                  <a:lnTo>
                    <a:pt x="60417" y="72687"/>
                  </a:lnTo>
                  <a:lnTo>
                    <a:pt x="61102" y="72841"/>
                  </a:lnTo>
                  <a:lnTo>
                    <a:pt x="61622" y="73130"/>
                  </a:lnTo>
                  <a:lnTo>
                    <a:pt x="61469" y="73640"/>
                  </a:lnTo>
                  <a:lnTo>
                    <a:pt x="57733" y="76293"/>
                  </a:lnTo>
                  <a:lnTo>
                    <a:pt x="57251" y="76757"/>
                  </a:lnTo>
                  <a:lnTo>
                    <a:pt x="55684" y="76626"/>
                  </a:lnTo>
                  <a:lnTo>
                    <a:pt x="55444" y="77069"/>
                  </a:lnTo>
                  <a:lnTo>
                    <a:pt x="55658" y="77784"/>
                  </a:lnTo>
                  <a:lnTo>
                    <a:pt x="56267" y="78410"/>
                  </a:lnTo>
                  <a:lnTo>
                    <a:pt x="57601" y="78740"/>
                  </a:lnTo>
                  <a:lnTo>
                    <a:pt x="58746" y="79411"/>
                  </a:lnTo>
                  <a:lnTo>
                    <a:pt x="59666" y="80726"/>
                  </a:lnTo>
                  <a:lnTo>
                    <a:pt x="58461" y="85228"/>
                  </a:lnTo>
                  <a:lnTo>
                    <a:pt x="54114" y="85109"/>
                  </a:lnTo>
                  <a:lnTo>
                    <a:pt x="53002" y="84963"/>
                  </a:lnTo>
                  <a:lnTo>
                    <a:pt x="51821" y="84523"/>
                  </a:lnTo>
                  <a:lnTo>
                    <a:pt x="51818" y="84520"/>
                  </a:lnTo>
                  <a:lnTo>
                    <a:pt x="51278" y="83611"/>
                  </a:lnTo>
                  <a:lnTo>
                    <a:pt x="50622" y="82514"/>
                  </a:lnTo>
                  <a:lnTo>
                    <a:pt x="50801" y="81842"/>
                  </a:lnTo>
                  <a:lnTo>
                    <a:pt x="52771" y="79931"/>
                  </a:lnTo>
                  <a:lnTo>
                    <a:pt x="53067" y="79403"/>
                  </a:lnTo>
                  <a:lnTo>
                    <a:pt x="52864" y="79120"/>
                  </a:lnTo>
                  <a:lnTo>
                    <a:pt x="53062" y="78278"/>
                  </a:lnTo>
                  <a:lnTo>
                    <a:pt x="54576" y="75424"/>
                  </a:lnTo>
                  <a:lnTo>
                    <a:pt x="54772" y="74277"/>
                  </a:lnTo>
                  <a:lnTo>
                    <a:pt x="54095" y="73474"/>
                  </a:lnTo>
                  <a:lnTo>
                    <a:pt x="53118" y="72994"/>
                  </a:lnTo>
                  <a:lnTo>
                    <a:pt x="49944" y="72146"/>
                  </a:lnTo>
                  <a:lnTo>
                    <a:pt x="48433" y="70949"/>
                  </a:lnTo>
                  <a:lnTo>
                    <a:pt x="47733" y="69903"/>
                  </a:lnTo>
                  <a:lnTo>
                    <a:pt x="47027" y="69609"/>
                  </a:lnTo>
                  <a:lnTo>
                    <a:pt x="45986" y="69962"/>
                  </a:lnTo>
                  <a:lnTo>
                    <a:pt x="43356" y="70351"/>
                  </a:lnTo>
                  <a:lnTo>
                    <a:pt x="41218" y="69787"/>
                  </a:lnTo>
                  <a:lnTo>
                    <a:pt x="38692" y="67807"/>
                  </a:lnTo>
                  <a:lnTo>
                    <a:pt x="38106" y="66036"/>
                  </a:lnTo>
                  <a:lnTo>
                    <a:pt x="37798" y="64677"/>
                  </a:lnTo>
                  <a:lnTo>
                    <a:pt x="37167" y="64208"/>
                  </a:lnTo>
                  <a:lnTo>
                    <a:pt x="36319" y="64905"/>
                  </a:lnTo>
                  <a:lnTo>
                    <a:pt x="35243" y="66009"/>
                  </a:lnTo>
                  <a:lnTo>
                    <a:pt x="33123" y="66141"/>
                  </a:lnTo>
                  <a:lnTo>
                    <a:pt x="32518" y="65883"/>
                  </a:lnTo>
                  <a:lnTo>
                    <a:pt x="32414" y="65274"/>
                  </a:lnTo>
                  <a:lnTo>
                    <a:pt x="32293" y="64689"/>
                  </a:lnTo>
                  <a:lnTo>
                    <a:pt x="31710" y="63964"/>
                  </a:lnTo>
                  <a:lnTo>
                    <a:pt x="31080" y="63561"/>
                  </a:lnTo>
                  <a:lnTo>
                    <a:pt x="28389" y="65599"/>
                  </a:lnTo>
                  <a:lnTo>
                    <a:pt x="27389" y="65594"/>
                  </a:lnTo>
                  <a:lnTo>
                    <a:pt x="26126" y="64811"/>
                  </a:lnTo>
                  <a:lnTo>
                    <a:pt x="25502" y="64043"/>
                  </a:lnTo>
                  <a:lnTo>
                    <a:pt x="24120" y="64481"/>
                  </a:lnTo>
                  <a:lnTo>
                    <a:pt x="22878" y="65427"/>
                  </a:lnTo>
                  <a:lnTo>
                    <a:pt x="23304" y="67203"/>
                  </a:lnTo>
                  <a:lnTo>
                    <a:pt x="22634" y="67528"/>
                  </a:lnTo>
                  <a:lnTo>
                    <a:pt x="21104" y="67366"/>
                  </a:lnTo>
                  <a:lnTo>
                    <a:pt x="19372" y="66634"/>
                  </a:lnTo>
                  <a:lnTo>
                    <a:pt x="17441" y="66193"/>
                  </a:lnTo>
                  <a:lnTo>
                    <a:pt x="14515" y="64968"/>
                  </a:lnTo>
                  <a:lnTo>
                    <a:pt x="10432" y="65962"/>
                  </a:lnTo>
                  <a:lnTo>
                    <a:pt x="7594" y="64772"/>
                  </a:lnTo>
                  <a:lnTo>
                    <a:pt x="5236" y="64654"/>
                  </a:lnTo>
                  <a:lnTo>
                    <a:pt x="3768" y="63706"/>
                  </a:lnTo>
                  <a:lnTo>
                    <a:pt x="2185" y="62102"/>
                  </a:lnTo>
                  <a:lnTo>
                    <a:pt x="3306" y="61046"/>
                  </a:lnTo>
                  <a:lnTo>
                    <a:pt x="4390" y="60680"/>
                  </a:lnTo>
                  <a:lnTo>
                    <a:pt x="8709" y="60476"/>
                  </a:lnTo>
                  <a:lnTo>
                    <a:pt x="11850" y="61118"/>
                  </a:lnTo>
                  <a:lnTo>
                    <a:pt x="17495" y="64600"/>
                  </a:lnTo>
                  <a:lnTo>
                    <a:pt x="18920" y="64573"/>
                  </a:lnTo>
                  <a:lnTo>
                    <a:pt x="20432" y="64134"/>
                  </a:lnTo>
                  <a:lnTo>
                    <a:pt x="19663" y="63185"/>
                  </a:lnTo>
                  <a:lnTo>
                    <a:pt x="18251" y="62733"/>
                  </a:lnTo>
                  <a:lnTo>
                    <a:pt x="16150" y="61797"/>
                  </a:lnTo>
                  <a:lnTo>
                    <a:pt x="14476" y="60482"/>
                  </a:lnTo>
                  <a:lnTo>
                    <a:pt x="18408" y="60056"/>
                  </a:lnTo>
                  <a:lnTo>
                    <a:pt x="17864" y="59375"/>
                  </a:lnTo>
                  <a:lnTo>
                    <a:pt x="17346" y="58213"/>
                  </a:lnTo>
                  <a:lnTo>
                    <a:pt x="13196" y="54156"/>
                  </a:lnTo>
                  <a:lnTo>
                    <a:pt x="13904" y="53057"/>
                  </a:lnTo>
                  <a:lnTo>
                    <a:pt x="14947" y="50697"/>
                  </a:lnTo>
                  <a:lnTo>
                    <a:pt x="16247" y="48735"/>
                  </a:lnTo>
                  <a:lnTo>
                    <a:pt x="17283" y="48209"/>
                  </a:lnTo>
                  <a:lnTo>
                    <a:pt x="18987" y="46816"/>
                  </a:lnTo>
                  <a:lnTo>
                    <a:pt x="22691" y="42733"/>
                  </a:lnTo>
                  <a:lnTo>
                    <a:pt x="25046" y="39401"/>
                  </a:lnTo>
                  <a:lnTo>
                    <a:pt x="26800" y="35438"/>
                  </a:lnTo>
                  <a:lnTo>
                    <a:pt x="29369" y="24495"/>
                  </a:lnTo>
                  <a:lnTo>
                    <a:pt x="30130" y="22631"/>
                  </a:lnTo>
                  <a:lnTo>
                    <a:pt x="31369" y="20562"/>
                  </a:lnTo>
                  <a:lnTo>
                    <a:pt x="32924" y="20952"/>
                  </a:lnTo>
                  <a:lnTo>
                    <a:pt x="34006" y="21548"/>
                  </a:lnTo>
                  <a:lnTo>
                    <a:pt x="37837" y="19984"/>
                  </a:lnTo>
                  <a:lnTo>
                    <a:pt x="44408" y="15914"/>
                  </a:lnTo>
                  <a:lnTo>
                    <a:pt x="46344" y="12387"/>
                  </a:lnTo>
                  <a:lnTo>
                    <a:pt x="48247" y="10746"/>
                  </a:lnTo>
                  <a:lnTo>
                    <a:pt x="55798" y="7544"/>
                  </a:lnTo>
                  <a:lnTo>
                    <a:pt x="59970" y="6584"/>
                  </a:lnTo>
                  <a:lnTo>
                    <a:pt x="66405" y="6337"/>
                  </a:lnTo>
                  <a:lnTo>
                    <a:pt x="71056" y="5765"/>
                  </a:lnTo>
                  <a:close/>
                  <a:moveTo>
                    <a:pt x="48808" y="5486"/>
                  </a:moveTo>
                  <a:lnTo>
                    <a:pt x="49365" y="5650"/>
                  </a:lnTo>
                  <a:lnTo>
                    <a:pt x="43686" y="7226"/>
                  </a:lnTo>
                  <a:lnTo>
                    <a:pt x="41626" y="7466"/>
                  </a:lnTo>
                  <a:lnTo>
                    <a:pt x="40689" y="7044"/>
                  </a:lnTo>
                  <a:lnTo>
                    <a:pt x="45662" y="5850"/>
                  </a:lnTo>
                  <a:close/>
                  <a:moveTo>
                    <a:pt x="55859" y="4536"/>
                  </a:moveTo>
                  <a:lnTo>
                    <a:pt x="57008" y="4840"/>
                  </a:lnTo>
                  <a:lnTo>
                    <a:pt x="57031" y="5026"/>
                  </a:lnTo>
                  <a:lnTo>
                    <a:pt x="52669" y="5514"/>
                  </a:lnTo>
                  <a:lnTo>
                    <a:pt x="51194" y="5145"/>
                  </a:lnTo>
                  <a:lnTo>
                    <a:pt x="50951" y="4795"/>
                  </a:lnTo>
                  <a:lnTo>
                    <a:pt x="52140" y="4587"/>
                  </a:lnTo>
                  <a:close/>
                  <a:moveTo>
                    <a:pt x="65028" y="3334"/>
                  </a:moveTo>
                  <a:lnTo>
                    <a:pt x="65967" y="3462"/>
                  </a:lnTo>
                  <a:lnTo>
                    <a:pt x="62868" y="4484"/>
                  </a:lnTo>
                  <a:lnTo>
                    <a:pt x="62117" y="4270"/>
                  </a:lnTo>
                  <a:lnTo>
                    <a:pt x="62302" y="3974"/>
                  </a:lnTo>
                  <a:close/>
                  <a:moveTo>
                    <a:pt x="75280" y="0"/>
                  </a:moveTo>
                  <a:lnTo>
                    <a:pt x="76304" y="0"/>
                  </a:lnTo>
                  <a:lnTo>
                    <a:pt x="74842" y="1297"/>
                  </a:lnTo>
                  <a:lnTo>
                    <a:pt x="72793" y="1397"/>
                  </a:lnTo>
                  <a:lnTo>
                    <a:pt x="73378" y="599"/>
                  </a:lnTo>
                  <a:close/>
                </a:path>
              </a:pathLst>
            </a:custGeom>
            <a:grpFill/>
            <a:ln w="3175"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32" name="ee4p_PL_1_92573">
              <a:extLst>
                <a:ext uri="{FF2B5EF4-FFF2-40B4-BE49-F238E27FC236}">
                  <a16:creationId xmlns:a16="http://schemas.microsoft.com/office/drawing/2014/main" id="{1A2D5AF6-A55B-4682-B0E9-751A8EE4359B}"/>
                </a:ext>
              </a:extLst>
            </p:cNvPr>
            <p:cNvSpPr>
              <a:spLocks noChangeAspect="1"/>
            </p:cNvSpPr>
            <p:nvPr>
              <p:custDataLst>
                <p:tags r:id="rId26"/>
              </p:custDataLst>
            </p:nvPr>
          </p:nvSpPr>
          <p:spPr>
            <a:xfrm>
              <a:off x="5010188" y="3961215"/>
              <a:ext cx="874577" cy="681812"/>
            </a:xfrm>
            <a:custGeom>
              <a:avLst/>
              <a:gdLst/>
              <a:ahLst/>
              <a:cxnLst/>
              <a:rect l="0" t="0" r="0" b="0"/>
              <a:pathLst>
                <a:path w="220617" h="171991">
                  <a:moveTo>
                    <a:pt x="121082" y="11596"/>
                  </a:moveTo>
                  <a:lnTo>
                    <a:pt x="121963" y="11965"/>
                  </a:lnTo>
                  <a:lnTo>
                    <a:pt x="128156" y="12364"/>
                  </a:lnTo>
                  <a:lnTo>
                    <a:pt x="134433" y="12768"/>
                  </a:lnTo>
                  <a:lnTo>
                    <a:pt x="144528" y="13198"/>
                  </a:lnTo>
                  <a:lnTo>
                    <a:pt x="155049" y="13651"/>
                  </a:lnTo>
                  <a:lnTo>
                    <a:pt x="165965" y="14118"/>
                  </a:lnTo>
                  <a:lnTo>
                    <a:pt x="177778" y="14624"/>
                  </a:lnTo>
                  <a:lnTo>
                    <a:pt x="190236" y="14922"/>
                  </a:lnTo>
                  <a:lnTo>
                    <a:pt x="190996" y="14718"/>
                  </a:lnTo>
                  <a:lnTo>
                    <a:pt x="192268" y="13529"/>
                  </a:lnTo>
                  <a:lnTo>
                    <a:pt x="193821" y="13690"/>
                  </a:lnTo>
                  <a:lnTo>
                    <a:pt x="195652" y="14427"/>
                  </a:lnTo>
                  <a:lnTo>
                    <a:pt x="196509" y="14976"/>
                  </a:lnTo>
                  <a:lnTo>
                    <a:pt x="196872" y="15599"/>
                  </a:lnTo>
                  <a:lnTo>
                    <a:pt x="197098" y="16320"/>
                  </a:lnTo>
                  <a:lnTo>
                    <a:pt x="198100" y="16464"/>
                  </a:lnTo>
                  <a:lnTo>
                    <a:pt x="199931" y="17013"/>
                  </a:lnTo>
                  <a:lnTo>
                    <a:pt x="202408" y="18265"/>
                  </a:lnTo>
                  <a:lnTo>
                    <a:pt x="204349" y="19477"/>
                  </a:lnTo>
                  <a:lnTo>
                    <a:pt x="206196" y="21210"/>
                  </a:lnTo>
                  <a:lnTo>
                    <a:pt x="206809" y="23168"/>
                  </a:lnTo>
                  <a:lnTo>
                    <a:pt x="206846" y="25385"/>
                  </a:lnTo>
                  <a:lnTo>
                    <a:pt x="206727" y="26811"/>
                  </a:lnTo>
                  <a:lnTo>
                    <a:pt x="206883" y="27391"/>
                  </a:lnTo>
                  <a:lnTo>
                    <a:pt x="209409" y="37691"/>
                  </a:lnTo>
                  <a:lnTo>
                    <a:pt x="213618" y="47576"/>
                  </a:lnTo>
                  <a:lnTo>
                    <a:pt x="215164" y="52344"/>
                  </a:lnTo>
                  <a:lnTo>
                    <a:pt x="215781" y="54879"/>
                  </a:lnTo>
                  <a:lnTo>
                    <a:pt x="216274" y="58550"/>
                  </a:lnTo>
                  <a:lnTo>
                    <a:pt x="216427" y="61124"/>
                  </a:lnTo>
                  <a:lnTo>
                    <a:pt x="216408" y="62573"/>
                  </a:lnTo>
                  <a:lnTo>
                    <a:pt x="216094" y="64562"/>
                  </a:lnTo>
                  <a:lnTo>
                    <a:pt x="214844" y="65737"/>
                  </a:lnTo>
                  <a:lnTo>
                    <a:pt x="206770" y="69093"/>
                  </a:lnTo>
                  <a:lnTo>
                    <a:pt x="205252" y="70145"/>
                  </a:lnTo>
                  <a:lnTo>
                    <a:pt x="202872" y="72758"/>
                  </a:lnTo>
                  <a:lnTo>
                    <a:pt x="200679" y="75446"/>
                  </a:lnTo>
                  <a:lnTo>
                    <a:pt x="200173" y="76364"/>
                  </a:lnTo>
                  <a:lnTo>
                    <a:pt x="200037" y="76968"/>
                  </a:lnTo>
                  <a:lnTo>
                    <a:pt x="200521" y="77849"/>
                  </a:lnTo>
                  <a:lnTo>
                    <a:pt x="203399" y="79287"/>
                  </a:lnTo>
                  <a:lnTo>
                    <a:pt x="206302" y="80441"/>
                  </a:lnTo>
                  <a:lnTo>
                    <a:pt x="207247" y="81304"/>
                  </a:lnTo>
                  <a:lnTo>
                    <a:pt x="209388" y="82409"/>
                  </a:lnTo>
                  <a:lnTo>
                    <a:pt x="210169" y="83400"/>
                  </a:lnTo>
                  <a:lnTo>
                    <a:pt x="210592" y="84264"/>
                  </a:lnTo>
                  <a:lnTo>
                    <a:pt x="210562" y="86257"/>
                  </a:lnTo>
                  <a:lnTo>
                    <a:pt x="209597" y="89011"/>
                  </a:lnTo>
                  <a:lnTo>
                    <a:pt x="210001" y="91090"/>
                  </a:lnTo>
                  <a:lnTo>
                    <a:pt x="209020" y="92474"/>
                  </a:lnTo>
                  <a:lnTo>
                    <a:pt x="208213" y="94011"/>
                  </a:lnTo>
                  <a:lnTo>
                    <a:pt x="208098" y="96701"/>
                  </a:lnTo>
                  <a:lnTo>
                    <a:pt x="209550" y="99671"/>
                  </a:lnTo>
                  <a:lnTo>
                    <a:pt x="210735" y="101697"/>
                  </a:lnTo>
                  <a:lnTo>
                    <a:pt x="211195" y="103284"/>
                  </a:lnTo>
                  <a:lnTo>
                    <a:pt x="210707" y="104529"/>
                  </a:lnTo>
                  <a:lnTo>
                    <a:pt x="210858" y="105774"/>
                  </a:lnTo>
                  <a:lnTo>
                    <a:pt x="211914" y="107090"/>
                  </a:lnTo>
                  <a:lnTo>
                    <a:pt x="215259" y="111158"/>
                  </a:lnTo>
                  <a:lnTo>
                    <a:pt x="216909" y="115066"/>
                  </a:lnTo>
                  <a:lnTo>
                    <a:pt x="217963" y="116587"/>
                  </a:lnTo>
                  <a:lnTo>
                    <a:pt x="220396" y="118562"/>
                  </a:lnTo>
                  <a:lnTo>
                    <a:pt x="220616" y="119372"/>
                  </a:lnTo>
                  <a:lnTo>
                    <a:pt x="219640" y="120114"/>
                  </a:lnTo>
                  <a:lnTo>
                    <a:pt x="218852" y="120212"/>
                  </a:lnTo>
                  <a:lnTo>
                    <a:pt x="218213" y="120409"/>
                  </a:lnTo>
                  <a:lnTo>
                    <a:pt x="217801" y="121102"/>
                  </a:lnTo>
                  <a:lnTo>
                    <a:pt x="218440" y="121843"/>
                  </a:lnTo>
                  <a:lnTo>
                    <a:pt x="219301" y="122931"/>
                  </a:lnTo>
                  <a:lnTo>
                    <a:pt x="220372" y="126008"/>
                  </a:lnTo>
                  <a:lnTo>
                    <a:pt x="220266" y="128524"/>
                  </a:lnTo>
                  <a:lnTo>
                    <a:pt x="219442" y="129164"/>
                  </a:lnTo>
                  <a:lnTo>
                    <a:pt x="218388" y="130656"/>
                  </a:lnTo>
                  <a:lnTo>
                    <a:pt x="217673" y="132019"/>
                  </a:lnTo>
                  <a:lnTo>
                    <a:pt x="211903" y="132968"/>
                  </a:lnTo>
                  <a:lnTo>
                    <a:pt x="210517" y="134426"/>
                  </a:lnTo>
                  <a:lnTo>
                    <a:pt x="207358" y="137241"/>
                  </a:lnTo>
                  <a:lnTo>
                    <a:pt x="205201" y="138859"/>
                  </a:lnTo>
                  <a:lnTo>
                    <a:pt x="202013" y="141780"/>
                  </a:lnTo>
                  <a:lnTo>
                    <a:pt x="196969" y="146796"/>
                  </a:lnTo>
                  <a:lnTo>
                    <a:pt x="195110" y="148891"/>
                  </a:lnTo>
                  <a:lnTo>
                    <a:pt x="193749" y="150622"/>
                  </a:lnTo>
                  <a:lnTo>
                    <a:pt x="189668" y="155225"/>
                  </a:lnTo>
                  <a:lnTo>
                    <a:pt x="188413" y="157155"/>
                  </a:lnTo>
                  <a:lnTo>
                    <a:pt x="188662" y="158743"/>
                  </a:lnTo>
                  <a:lnTo>
                    <a:pt x="189972" y="162467"/>
                  </a:lnTo>
                  <a:lnTo>
                    <a:pt x="190249" y="164146"/>
                  </a:lnTo>
                  <a:lnTo>
                    <a:pt x="190018" y="165698"/>
                  </a:lnTo>
                  <a:lnTo>
                    <a:pt x="189584" y="167078"/>
                  </a:lnTo>
                  <a:lnTo>
                    <a:pt x="189657" y="167693"/>
                  </a:lnTo>
                  <a:lnTo>
                    <a:pt x="190862" y="168693"/>
                  </a:lnTo>
                  <a:lnTo>
                    <a:pt x="192784" y="170263"/>
                  </a:lnTo>
                  <a:lnTo>
                    <a:pt x="192894" y="170792"/>
                  </a:lnTo>
                  <a:lnTo>
                    <a:pt x="192622" y="171472"/>
                  </a:lnTo>
                  <a:lnTo>
                    <a:pt x="191959" y="171990"/>
                  </a:lnTo>
                  <a:lnTo>
                    <a:pt x="189560" y="171443"/>
                  </a:lnTo>
                  <a:lnTo>
                    <a:pt x="186878" y="170379"/>
                  </a:lnTo>
                  <a:lnTo>
                    <a:pt x="185965" y="170507"/>
                  </a:lnTo>
                  <a:lnTo>
                    <a:pt x="184513" y="170262"/>
                  </a:lnTo>
                  <a:lnTo>
                    <a:pt x="178532" y="168207"/>
                  </a:lnTo>
                  <a:lnTo>
                    <a:pt x="174498" y="166597"/>
                  </a:lnTo>
                  <a:lnTo>
                    <a:pt x="174101" y="165551"/>
                  </a:lnTo>
                  <a:lnTo>
                    <a:pt x="173339" y="164034"/>
                  </a:lnTo>
                  <a:lnTo>
                    <a:pt x="171624" y="162763"/>
                  </a:lnTo>
                  <a:lnTo>
                    <a:pt x="167688" y="161661"/>
                  </a:lnTo>
                  <a:lnTo>
                    <a:pt x="166085" y="160800"/>
                  </a:lnTo>
                  <a:lnTo>
                    <a:pt x="159691" y="160319"/>
                  </a:lnTo>
                  <a:lnTo>
                    <a:pt x="156917" y="160299"/>
                  </a:lnTo>
                  <a:lnTo>
                    <a:pt x="154952" y="160655"/>
                  </a:lnTo>
                  <a:lnTo>
                    <a:pt x="153697" y="160619"/>
                  </a:lnTo>
                  <a:lnTo>
                    <a:pt x="151967" y="162867"/>
                  </a:lnTo>
                  <a:lnTo>
                    <a:pt x="150775" y="163518"/>
                  </a:lnTo>
                  <a:lnTo>
                    <a:pt x="149033" y="163587"/>
                  </a:lnTo>
                  <a:lnTo>
                    <a:pt x="147508" y="163187"/>
                  </a:lnTo>
                  <a:lnTo>
                    <a:pt x="145949" y="162005"/>
                  </a:lnTo>
                  <a:lnTo>
                    <a:pt x="143453" y="161381"/>
                  </a:lnTo>
                  <a:lnTo>
                    <a:pt x="141650" y="161682"/>
                  </a:lnTo>
                  <a:lnTo>
                    <a:pt x="140322" y="161424"/>
                  </a:lnTo>
                  <a:lnTo>
                    <a:pt x="139175" y="161363"/>
                  </a:lnTo>
                  <a:lnTo>
                    <a:pt x="138778" y="161599"/>
                  </a:lnTo>
                  <a:lnTo>
                    <a:pt x="137856" y="161566"/>
                  </a:lnTo>
                  <a:lnTo>
                    <a:pt x="136519" y="162131"/>
                  </a:lnTo>
                  <a:lnTo>
                    <a:pt x="135059" y="162930"/>
                  </a:lnTo>
                  <a:lnTo>
                    <a:pt x="133448" y="163538"/>
                  </a:lnTo>
                  <a:lnTo>
                    <a:pt x="132209" y="164845"/>
                  </a:lnTo>
                  <a:lnTo>
                    <a:pt x="131103" y="167404"/>
                  </a:lnTo>
                  <a:lnTo>
                    <a:pt x="127974" y="166258"/>
                  </a:lnTo>
                  <a:lnTo>
                    <a:pt x="126931" y="166755"/>
                  </a:lnTo>
                  <a:lnTo>
                    <a:pt x="125457" y="167089"/>
                  </a:lnTo>
                  <a:lnTo>
                    <a:pt x="124448" y="166744"/>
                  </a:lnTo>
                  <a:lnTo>
                    <a:pt x="124686" y="165862"/>
                  </a:lnTo>
                  <a:lnTo>
                    <a:pt x="125141" y="164868"/>
                  </a:lnTo>
                  <a:lnTo>
                    <a:pt x="125120" y="163477"/>
                  </a:lnTo>
                  <a:lnTo>
                    <a:pt x="124830" y="161941"/>
                  </a:lnTo>
                  <a:lnTo>
                    <a:pt x="123861" y="161441"/>
                  </a:lnTo>
                  <a:lnTo>
                    <a:pt x="122403" y="161257"/>
                  </a:lnTo>
                  <a:lnTo>
                    <a:pt x="121654" y="160953"/>
                  </a:lnTo>
                  <a:lnTo>
                    <a:pt x="121574" y="160445"/>
                  </a:lnTo>
                  <a:lnTo>
                    <a:pt x="120831" y="159792"/>
                  </a:lnTo>
                  <a:lnTo>
                    <a:pt x="119542" y="158138"/>
                  </a:lnTo>
                  <a:lnTo>
                    <a:pt x="118324" y="156082"/>
                  </a:lnTo>
                  <a:lnTo>
                    <a:pt x="117482" y="155469"/>
                  </a:lnTo>
                  <a:lnTo>
                    <a:pt x="116258" y="156448"/>
                  </a:lnTo>
                  <a:lnTo>
                    <a:pt x="114403" y="157561"/>
                  </a:lnTo>
                  <a:lnTo>
                    <a:pt x="113250" y="157947"/>
                  </a:lnTo>
                  <a:lnTo>
                    <a:pt x="111021" y="161143"/>
                  </a:lnTo>
                  <a:lnTo>
                    <a:pt x="107017" y="161251"/>
                  </a:lnTo>
                  <a:lnTo>
                    <a:pt x="106771" y="159759"/>
                  </a:lnTo>
                  <a:lnTo>
                    <a:pt x="106350" y="158324"/>
                  </a:lnTo>
                  <a:lnTo>
                    <a:pt x="104007" y="157965"/>
                  </a:lnTo>
                  <a:lnTo>
                    <a:pt x="103942" y="157123"/>
                  </a:lnTo>
                  <a:lnTo>
                    <a:pt x="103448" y="155009"/>
                  </a:lnTo>
                  <a:lnTo>
                    <a:pt x="98754" y="150865"/>
                  </a:lnTo>
                  <a:lnTo>
                    <a:pt x="98183" y="149134"/>
                  </a:lnTo>
                  <a:lnTo>
                    <a:pt x="98367" y="148466"/>
                  </a:lnTo>
                  <a:lnTo>
                    <a:pt x="98041" y="147364"/>
                  </a:lnTo>
                  <a:lnTo>
                    <a:pt x="97020" y="146700"/>
                  </a:lnTo>
                  <a:lnTo>
                    <a:pt x="93310" y="145909"/>
                  </a:lnTo>
                  <a:lnTo>
                    <a:pt x="92355" y="146364"/>
                  </a:lnTo>
                  <a:lnTo>
                    <a:pt x="91494" y="145896"/>
                  </a:lnTo>
                  <a:lnTo>
                    <a:pt x="90144" y="144902"/>
                  </a:lnTo>
                  <a:lnTo>
                    <a:pt x="87799" y="144093"/>
                  </a:lnTo>
                  <a:lnTo>
                    <a:pt x="87544" y="143674"/>
                  </a:lnTo>
                  <a:lnTo>
                    <a:pt x="86700" y="142962"/>
                  </a:lnTo>
                  <a:lnTo>
                    <a:pt x="86231" y="142866"/>
                  </a:lnTo>
                  <a:lnTo>
                    <a:pt x="85929" y="143299"/>
                  </a:lnTo>
                  <a:lnTo>
                    <a:pt x="85247" y="143911"/>
                  </a:lnTo>
                  <a:lnTo>
                    <a:pt x="82837" y="144685"/>
                  </a:lnTo>
                  <a:lnTo>
                    <a:pt x="81874" y="144366"/>
                  </a:lnTo>
                  <a:lnTo>
                    <a:pt x="80999" y="143694"/>
                  </a:lnTo>
                  <a:lnTo>
                    <a:pt x="80001" y="142245"/>
                  </a:lnTo>
                  <a:lnTo>
                    <a:pt x="78552" y="140973"/>
                  </a:lnTo>
                  <a:lnTo>
                    <a:pt x="77358" y="140522"/>
                  </a:lnTo>
                  <a:lnTo>
                    <a:pt x="76678" y="139854"/>
                  </a:lnTo>
                  <a:lnTo>
                    <a:pt x="76525" y="139335"/>
                  </a:lnTo>
                  <a:lnTo>
                    <a:pt x="79176" y="138291"/>
                  </a:lnTo>
                  <a:lnTo>
                    <a:pt x="79755" y="137214"/>
                  </a:lnTo>
                  <a:lnTo>
                    <a:pt x="79416" y="135249"/>
                  </a:lnTo>
                  <a:lnTo>
                    <a:pt x="79021" y="135001"/>
                  </a:lnTo>
                  <a:lnTo>
                    <a:pt x="77970" y="135666"/>
                  </a:lnTo>
                  <a:lnTo>
                    <a:pt x="75756" y="136250"/>
                  </a:lnTo>
                  <a:lnTo>
                    <a:pt x="73716" y="136519"/>
                  </a:lnTo>
                  <a:lnTo>
                    <a:pt x="72675" y="136519"/>
                  </a:lnTo>
                  <a:lnTo>
                    <a:pt x="66853" y="132940"/>
                  </a:lnTo>
                  <a:lnTo>
                    <a:pt x="63067" y="131844"/>
                  </a:lnTo>
                  <a:lnTo>
                    <a:pt x="60841" y="131526"/>
                  </a:lnTo>
                  <a:lnTo>
                    <a:pt x="60599" y="131890"/>
                  </a:lnTo>
                  <a:lnTo>
                    <a:pt x="61608" y="133899"/>
                  </a:lnTo>
                  <a:lnTo>
                    <a:pt x="63346" y="136376"/>
                  </a:lnTo>
                  <a:lnTo>
                    <a:pt x="63264" y="137036"/>
                  </a:lnTo>
                  <a:lnTo>
                    <a:pt x="61178" y="138048"/>
                  </a:lnTo>
                  <a:lnTo>
                    <a:pt x="59995" y="138489"/>
                  </a:lnTo>
                  <a:lnTo>
                    <a:pt x="58597" y="139347"/>
                  </a:lnTo>
                  <a:lnTo>
                    <a:pt x="57418" y="140532"/>
                  </a:lnTo>
                  <a:lnTo>
                    <a:pt x="56397" y="141069"/>
                  </a:lnTo>
                  <a:lnTo>
                    <a:pt x="55514" y="140934"/>
                  </a:lnTo>
                  <a:lnTo>
                    <a:pt x="54574" y="140362"/>
                  </a:lnTo>
                  <a:lnTo>
                    <a:pt x="52163" y="136704"/>
                  </a:lnTo>
                  <a:lnTo>
                    <a:pt x="49131" y="133899"/>
                  </a:lnTo>
                  <a:lnTo>
                    <a:pt x="48770" y="133271"/>
                  </a:lnTo>
                  <a:lnTo>
                    <a:pt x="47822" y="133126"/>
                  </a:lnTo>
                  <a:lnTo>
                    <a:pt x="46483" y="132482"/>
                  </a:lnTo>
                  <a:lnTo>
                    <a:pt x="46032" y="131623"/>
                  </a:lnTo>
                  <a:lnTo>
                    <a:pt x="46704" y="130724"/>
                  </a:lnTo>
                  <a:lnTo>
                    <a:pt x="47628" y="129902"/>
                  </a:lnTo>
                  <a:lnTo>
                    <a:pt x="49267" y="129395"/>
                  </a:lnTo>
                  <a:lnTo>
                    <a:pt x="49764" y="128918"/>
                  </a:lnTo>
                  <a:lnTo>
                    <a:pt x="50055" y="128199"/>
                  </a:lnTo>
                  <a:lnTo>
                    <a:pt x="50662" y="127270"/>
                  </a:lnTo>
                  <a:lnTo>
                    <a:pt x="50502" y="126935"/>
                  </a:lnTo>
                  <a:lnTo>
                    <a:pt x="49340" y="125882"/>
                  </a:lnTo>
                  <a:lnTo>
                    <a:pt x="47621" y="124886"/>
                  </a:lnTo>
                  <a:lnTo>
                    <a:pt x="42849" y="125634"/>
                  </a:lnTo>
                  <a:lnTo>
                    <a:pt x="41540" y="126166"/>
                  </a:lnTo>
                  <a:lnTo>
                    <a:pt x="40802" y="125473"/>
                  </a:lnTo>
                  <a:lnTo>
                    <a:pt x="40243" y="124460"/>
                  </a:lnTo>
                  <a:lnTo>
                    <a:pt x="39035" y="124267"/>
                  </a:lnTo>
                  <a:lnTo>
                    <a:pt x="37384" y="123342"/>
                  </a:lnTo>
                  <a:lnTo>
                    <a:pt x="35423" y="122439"/>
                  </a:lnTo>
                  <a:lnTo>
                    <a:pt x="33508" y="122172"/>
                  </a:lnTo>
                  <a:lnTo>
                    <a:pt x="29528" y="120862"/>
                  </a:lnTo>
                  <a:lnTo>
                    <a:pt x="27995" y="120791"/>
                  </a:lnTo>
                  <a:lnTo>
                    <a:pt x="27105" y="120340"/>
                  </a:lnTo>
                  <a:lnTo>
                    <a:pt x="26181" y="119349"/>
                  </a:lnTo>
                  <a:lnTo>
                    <a:pt x="25395" y="118263"/>
                  </a:lnTo>
                  <a:lnTo>
                    <a:pt x="24987" y="116058"/>
                  </a:lnTo>
                  <a:lnTo>
                    <a:pt x="22054" y="115056"/>
                  </a:lnTo>
                  <a:lnTo>
                    <a:pt x="19131" y="114428"/>
                  </a:lnTo>
                  <a:lnTo>
                    <a:pt x="18925" y="114748"/>
                  </a:lnTo>
                  <a:lnTo>
                    <a:pt x="19046" y="116972"/>
                  </a:lnTo>
                  <a:lnTo>
                    <a:pt x="18891" y="118159"/>
                  </a:lnTo>
                  <a:lnTo>
                    <a:pt x="16965" y="118893"/>
                  </a:lnTo>
                  <a:lnTo>
                    <a:pt x="15054" y="118963"/>
                  </a:lnTo>
                  <a:lnTo>
                    <a:pt x="15161" y="118594"/>
                  </a:lnTo>
                  <a:lnTo>
                    <a:pt x="17444" y="114592"/>
                  </a:lnTo>
                  <a:lnTo>
                    <a:pt x="18470" y="112068"/>
                  </a:lnTo>
                  <a:lnTo>
                    <a:pt x="19636" y="107454"/>
                  </a:lnTo>
                  <a:lnTo>
                    <a:pt x="18232" y="103806"/>
                  </a:lnTo>
                  <a:lnTo>
                    <a:pt x="17843" y="102097"/>
                  </a:lnTo>
                  <a:lnTo>
                    <a:pt x="17189" y="101276"/>
                  </a:lnTo>
                  <a:lnTo>
                    <a:pt x="13181" y="99496"/>
                  </a:lnTo>
                  <a:lnTo>
                    <a:pt x="12877" y="98878"/>
                  </a:lnTo>
                  <a:lnTo>
                    <a:pt x="13490" y="96459"/>
                  </a:lnTo>
                  <a:lnTo>
                    <a:pt x="13186" y="95441"/>
                  </a:lnTo>
                  <a:lnTo>
                    <a:pt x="12222" y="94366"/>
                  </a:lnTo>
                  <a:lnTo>
                    <a:pt x="10953" y="92226"/>
                  </a:lnTo>
                  <a:lnTo>
                    <a:pt x="10460" y="90410"/>
                  </a:lnTo>
                  <a:lnTo>
                    <a:pt x="12080" y="88271"/>
                  </a:lnTo>
                  <a:lnTo>
                    <a:pt x="12479" y="86700"/>
                  </a:lnTo>
                  <a:lnTo>
                    <a:pt x="13184" y="84546"/>
                  </a:lnTo>
                  <a:lnTo>
                    <a:pt x="13699" y="83364"/>
                  </a:lnTo>
                  <a:lnTo>
                    <a:pt x="13797" y="83038"/>
                  </a:lnTo>
                  <a:lnTo>
                    <a:pt x="12736" y="82198"/>
                  </a:lnTo>
                  <a:lnTo>
                    <a:pt x="12467" y="81018"/>
                  </a:lnTo>
                  <a:lnTo>
                    <a:pt x="12754" y="79316"/>
                  </a:lnTo>
                  <a:lnTo>
                    <a:pt x="12190" y="78055"/>
                  </a:lnTo>
                  <a:lnTo>
                    <a:pt x="10769" y="77235"/>
                  </a:lnTo>
                  <a:lnTo>
                    <a:pt x="9847" y="76151"/>
                  </a:lnTo>
                  <a:lnTo>
                    <a:pt x="9420" y="74800"/>
                  </a:lnTo>
                  <a:lnTo>
                    <a:pt x="9754" y="72677"/>
                  </a:lnTo>
                  <a:lnTo>
                    <a:pt x="10853" y="69779"/>
                  </a:lnTo>
                  <a:lnTo>
                    <a:pt x="8523" y="66291"/>
                  </a:lnTo>
                  <a:lnTo>
                    <a:pt x="2767" y="62206"/>
                  </a:lnTo>
                  <a:lnTo>
                    <a:pt x="0" y="59347"/>
                  </a:lnTo>
                  <a:lnTo>
                    <a:pt x="227" y="57713"/>
                  </a:lnTo>
                  <a:lnTo>
                    <a:pt x="1439" y="56233"/>
                  </a:lnTo>
                  <a:lnTo>
                    <a:pt x="3639" y="54902"/>
                  </a:lnTo>
                  <a:lnTo>
                    <a:pt x="5306" y="52540"/>
                  </a:lnTo>
                  <a:lnTo>
                    <a:pt x="6243" y="49736"/>
                  </a:lnTo>
                  <a:lnTo>
                    <a:pt x="6274" y="49204"/>
                  </a:lnTo>
                  <a:lnTo>
                    <a:pt x="6323" y="47199"/>
                  </a:lnTo>
                  <a:lnTo>
                    <a:pt x="3762" y="38982"/>
                  </a:lnTo>
                  <a:lnTo>
                    <a:pt x="3345" y="36921"/>
                  </a:lnTo>
                  <a:lnTo>
                    <a:pt x="3041" y="34433"/>
                  </a:lnTo>
                  <a:lnTo>
                    <a:pt x="2881" y="33753"/>
                  </a:lnTo>
                  <a:lnTo>
                    <a:pt x="7938" y="35498"/>
                  </a:lnTo>
                  <a:lnTo>
                    <a:pt x="10059" y="36480"/>
                  </a:lnTo>
                  <a:lnTo>
                    <a:pt x="9795" y="35377"/>
                  </a:lnTo>
                  <a:lnTo>
                    <a:pt x="9366" y="34427"/>
                  </a:lnTo>
                  <a:lnTo>
                    <a:pt x="9649" y="33031"/>
                  </a:lnTo>
                  <a:lnTo>
                    <a:pt x="9504" y="30923"/>
                  </a:lnTo>
                  <a:lnTo>
                    <a:pt x="4915" y="29847"/>
                  </a:lnTo>
                  <a:lnTo>
                    <a:pt x="1881" y="29483"/>
                  </a:lnTo>
                  <a:lnTo>
                    <a:pt x="1540" y="28020"/>
                  </a:lnTo>
                  <a:lnTo>
                    <a:pt x="1832" y="27072"/>
                  </a:lnTo>
                  <a:lnTo>
                    <a:pt x="2670" y="27630"/>
                  </a:lnTo>
                  <a:lnTo>
                    <a:pt x="5651" y="27849"/>
                  </a:lnTo>
                  <a:lnTo>
                    <a:pt x="12983" y="25011"/>
                  </a:lnTo>
                  <a:lnTo>
                    <a:pt x="25645" y="21319"/>
                  </a:lnTo>
                  <a:lnTo>
                    <a:pt x="39170" y="17850"/>
                  </a:lnTo>
                  <a:lnTo>
                    <a:pt x="42327" y="17472"/>
                  </a:lnTo>
                  <a:lnTo>
                    <a:pt x="45501" y="16741"/>
                  </a:lnTo>
                  <a:lnTo>
                    <a:pt x="46673" y="15441"/>
                  </a:lnTo>
                  <a:lnTo>
                    <a:pt x="47844" y="14571"/>
                  </a:lnTo>
                  <a:lnTo>
                    <a:pt x="49686" y="12276"/>
                  </a:lnTo>
                  <a:lnTo>
                    <a:pt x="53758" y="8706"/>
                  </a:lnTo>
                  <a:lnTo>
                    <a:pt x="60960" y="7404"/>
                  </a:lnTo>
                  <a:lnTo>
                    <a:pt x="63648" y="5708"/>
                  </a:lnTo>
                  <a:lnTo>
                    <a:pt x="69284" y="3330"/>
                  </a:lnTo>
                  <a:lnTo>
                    <a:pt x="82132" y="659"/>
                  </a:lnTo>
                  <a:lnTo>
                    <a:pt x="87499" y="72"/>
                  </a:lnTo>
                  <a:lnTo>
                    <a:pt x="92757" y="0"/>
                  </a:lnTo>
                  <a:lnTo>
                    <a:pt x="97439" y="2108"/>
                  </a:lnTo>
                  <a:lnTo>
                    <a:pt x="102394" y="4707"/>
                  </a:lnTo>
                  <a:lnTo>
                    <a:pt x="103286" y="6274"/>
                  </a:lnTo>
                  <a:lnTo>
                    <a:pt x="100604" y="5297"/>
                  </a:lnTo>
                  <a:lnTo>
                    <a:pt x="96696" y="2963"/>
                  </a:lnTo>
                  <a:lnTo>
                    <a:pt x="95251" y="2864"/>
                  </a:lnTo>
                  <a:lnTo>
                    <a:pt x="98587" y="9956"/>
                  </a:lnTo>
                  <a:lnTo>
                    <a:pt x="100412" y="12458"/>
                  </a:lnTo>
                  <a:lnTo>
                    <a:pt x="104100" y="14328"/>
                  </a:lnTo>
                  <a:lnTo>
                    <a:pt x="107192" y="14958"/>
                  </a:lnTo>
                  <a:lnTo>
                    <a:pt x="116720" y="13825"/>
                  </a:lnTo>
                  <a:lnTo>
                    <a:pt x="120103" y="12345"/>
                  </a:lnTo>
                  <a:close/>
                </a:path>
              </a:pathLst>
            </a:custGeom>
            <a:grpFill/>
            <a:ln w="3175"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33" name="ee4p_PT_1_92573">
              <a:extLst>
                <a:ext uri="{FF2B5EF4-FFF2-40B4-BE49-F238E27FC236}">
                  <a16:creationId xmlns:a16="http://schemas.microsoft.com/office/drawing/2014/main" id="{68BFE844-F496-415F-9141-BF6C5D2DDD73}"/>
                </a:ext>
              </a:extLst>
            </p:cNvPr>
            <p:cNvSpPr>
              <a:spLocks noChangeAspect="1"/>
            </p:cNvSpPr>
            <p:nvPr>
              <p:custDataLst>
                <p:tags r:id="rId27"/>
              </p:custDataLst>
            </p:nvPr>
          </p:nvSpPr>
          <p:spPr>
            <a:xfrm>
              <a:off x="2940741" y="5393876"/>
              <a:ext cx="286400" cy="528697"/>
            </a:xfrm>
            <a:custGeom>
              <a:avLst/>
              <a:gdLst/>
              <a:ahLst/>
              <a:cxnLst/>
              <a:rect l="0" t="0" r="0" b="0"/>
              <a:pathLst>
                <a:path w="72246" h="133367">
                  <a:moveTo>
                    <a:pt x="28883" y="8426"/>
                  </a:moveTo>
                  <a:lnTo>
                    <a:pt x="29348" y="8638"/>
                  </a:lnTo>
                  <a:lnTo>
                    <a:pt x="30632" y="8579"/>
                  </a:lnTo>
                  <a:lnTo>
                    <a:pt x="32920" y="7579"/>
                  </a:lnTo>
                  <a:lnTo>
                    <a:pt x="34470" y="6738"/>
                  </a:lnTo>
                  <a:lnTo>
                    <a:pt x="35011" y="7084"/>
                  </a:lnTo>
                  <a:lnTo>
                    <a:pt x="39507" y="6609"/>
                  </a:lnTo>
                  <a:lnTo>
                    <a:pt x="40577" y="6994"/>
                  </a:lnTo>
                  <a:lnTo>
                    <a:pt x="41286" y="7419"/>
                  </a:lnTo>
                  <a:lnTo>
                    <a:pt x="43497" y="8001"/>
                  </a:lnTo>
                  <a:lnTo>
                    <a:pt x="45907" y="8062"/>
                  </a:lnTo>
                  <a:lnTo>
                    <a:pt x="48894" y="7248"/>
                  </a:lnTo>
                  <a:lnTo>
                    <a:pt x="50197" y="6430"/>
                  </a:lnTo>
                  <a:lnTo>
                    <a:pt x="50447" y="5524"/>
                  </a:lnTo>
                  <a:lnTo>
                    <a:pt x="50513" y="4839"/>
                  </a:lnTo>
                  <a:lnTo>
                    <a:pt x="50898" y="4402"/>
                  </a:lnTo>
                  <a:lnTo>
                    <a:pt x="51579" y="4151"/>
                  </a:lnTo>
                  <a:lnTo>
                    <a:pt x="52640" y="4600"/>
                  </a:lnTo>
                  <a:lnTo>
                    <a:pt x="54158" y="4961"/>
                  </a:lnTo>
                  <a:lnTo>
                    <a:pt x="57806" y="5103"/>
                  </a:lnTo>
                  <a:lnTo>
                    <a:pt x="58521" y="4602"/>
                  </a:lnTo>
                  <a:lnTo>
                    <a:pt x="59757" y="4752"/>
                  </a:lnTo>
                  <a:lnTo>
                    <a:pt x="61386" y="5387"/>
                  </a:lnTo>
                  <a:lnTo>
                    <a:pt x="63273" y="5180"/>
                  </a:lnTo>
                  <a:lnTo>
                    <a:pt x="64222" y="5957"/>
                  </a:lnTo>
                  <a:lnTo>
                    <a:pt x="64616" y="6990"/>
                  </a:lnTo>
                  <a:lnTo>
                    <a:pt x="64725" y="9232"/>
                  </a:lnTo>
                  <a:lnTo>
                    <a:pt x="64584" y="11496"/>
                  </a:lnTo>
                  <a:lnTo>
                    <a:pt x="64955" y="12331"/>
                  </a:lnTo>
                  <a:lnTo>
                    <a:pt x="66227" y="12546"/>
                  </a:lnTo>
                  <a:lnTo>
                    <a:pt x="68283" y="12520"/>
                  </a:lnTo>
                  <a:lnTo>
                    <a:pt x="70133" y="13134"/>
                  </a:lnTo>
                  <a:lnTo>
                    <a:pt x="71569" y="14202"/>
                  </a:lnTo>
                  <a:lnTo>
                    <a:pt x="72043" y="15296"/>
                  </a:lnTo>
                  <a:lnTo>
                    <a:pt x="72245" y="16047"/>
                  </a:lnTo>
                  <a:lnTo>
                    <a:pt x="71542" y="16473"/>
                  </a:lnTo>
                  <a:lnTo>
                    <a:pt x="70546" y="18082"/>
                  </a:lnTo>
                  <a:lnTo>
                    <a:pt x="68030" y="20184"/>
                  </a:lnTo>
                  <a:lnTo>
                    <a:pt x="64431" y="22076"/>
                  </a:lnTo>
                  <a:lnTo>
                    <a:pt x="61684" y="24428"/>
                  </a:lnTo>
                  <a:lnTo>
                    <a:pt x="59790" y="27241"/>
                  </a:lnTo>
                  <a:lnTo>
                    <a:pt x="57423" y="28434"/>
                  </a:lnTo>
                  <a:lnTo>
                    <a:pt x="56700" y="29076"/>
                  </a:lnTo>
                  <a:lnTo>
                    <a:pt x="56414" y="29836"/>
                  </a:lnTo>
                  <a:lnTo>
                    <a:pt x="57978" y="33276"/>
                  </a:lnTo>
                  <a:lnTo>
                    <a:pt x="58461" y="35924"/>
                  </a:lnTo>
                  <a:lnTo>
                    <a:pt x="58849" y="39163"/>
                  </a:lnTo>
                  <a:lnTo>
                    <a:pt x="58595" y="40080"/>
                  </a:lnTo>
                  <a:lnTo>
                    <a:pt x="58466" y="43641"/>
                  </a:lnTo>
                  <a:lnTo>
                    <a:pt x="58104" y="44686"/>
                  </a:lnTo>
                  <a:lnTo>
                    <a:pt x="58194" y="45530"/>
                  </a:lnTo>
                  <a:lnTo>
                    <a:pt x="58773" y="46439"/>
                  </a:lnTo>
                  <a:lnTo>
                    <a:pt x="59030" y="47306"/>
                  </a:lnTo>
                  <a:lnTo>
                    <a:pt x="57952" y="48414"/>
                  </a:lnTo>
                  <a:lnTo>
                    <a:pt x="55972" y="49698"/>
                  </a:lnTo>
                  <a:lnTo>
                    <a:pt x="54507" y="50828"/>
                  </a:lnTo>
                  <a:lnTo>
                    <a:pt x="54111" y="51884"/>
                  </a:lnTo>
                  <a:lnTo>
                    <a:pt x="54217" y="52545"/>
                  </a:lnTo>
                  <a:lnTo>
                    <a:pt x="56681" y="54784"/>
                  </a:lnTo>
                  <a:lnTo>
                    <a:pt x="57130" y="55697"/>
                  </a:lnTo>
                  <a:lnTo>
                    <a:pt x="56796" y="57905"/>
                  </a:lnTo>
                  <a:lnTo>
                    <a:pt x="55376" y="61518"/>
                  </a:lnTo>
                  <a:lnTo>
                    <a:pt x="54020" y="63715"/>
                  </a:lnTo>
                  <a:lnTo>
                    <a:pt x="53784" y="63933"/>
                  </a:lnTo>
                  <a:lnTo>
                    <a:pt x="52230" y="64554"/>
                  </a:lnTo>
                  <a:lnTo>
                    <a:pt x="44791" y="64581"/>
                  </a:lnTo>
                  <a:lnTo>
                    <a:pt x="42987" y="65077"/>
                  </a:lnTo>
                  <a:lnTo>
                    <a:pt x="43241" y="65515"/>
                  </a:lnTo>
                  <a:lnTo>
                    <a:pt x="44990" y="68335"/>
                  </a:lnTo>
                  <a:lnTo>
                    <a:pt x="46812" y="69837"/>
                  </a:lnTo>
                  <a:lnTo>
                    <a:pt x="47415" y="70179"/>
                  </a:lnTo>
                  <a:lnTo>
                    <a:pt x="48071" y="73474"/>
                  </a:lnTo>
                  <a:lnTo>
                    <a:pt x="51020" y="78731"/>
                  </a:lnTo>
                  <a:lnTo>
                    <a:pt x="53882" y="79458"/>
                  </a:lnTo>
                  <a:lnTo>
                    <a:pt x="54877" y="80768"/>
                  </a:lnTo>
                  <a:lnTo>
                    <a:pt x="54694" y="82609"/>
                  </a:lnTo>
                  <a:lnTo>
                    <a:pt x="53814" y="84630"/>
                  </a:lnTo>
                  <a:lnTo>
                    <a:pt x="52057" y="86698"/>
                  </a:lnTo>
                  <a:lnTo>
                    <a:pt x="49969" y="88155"/>
                  </a:lnTo>
                  <a:lnTo>
                    <a:pt x="48607" y="89598"/>
                  </a:lnTo>
                  <a:lnTo>
                    <a:pt x="48500" y="91279"/>
                  </a:lnTo>
                  <a:lnTo>
                    <a:pt x="48067" y="93405"/>
                  </a:lnTo>
                  <a:lnTo>
                    <a:pt x="47407" y="95088"/>
                  </a:lnTo>
                  <a:lnTo>
                    <a:pt x="47247" y="96222"/>
                  </a:lnTo>
                  <a:lnTo>
                    <a:pt x="52479" y="103327"/>
                  </a:lnTo>
                  <a:lnTo>
                    <a:pt x="55389" y="102982"/>
                  </a:lnTo>
                  <a:lnTo>
                    <a:pt x="55770" y="103150"/>
                  </a:lnTo>
                  <a:lnTo>
                    <a:pt x="55250" y="104842"/>
                  </a:lnTo>
                  <a:lnTo>
                    <a:pt x="54327" y="106824"/>
                  </a:lnTo>
                  <a:lnTo>
                    <a:pt x="53229" y="107201"/>
                  </a:lnTo>
                  <a:lnTo>
                    <a:pt x="50732" y="107808"/>
                  </a:lnTo>
                  <a:lnTo>
                    <a:pt x="48370" y="110369"/>
                  </a:lnTo>
                  <a:lnTo>
                    <a:pt x="46454" y="113443"/>
                  </a:lnTo>
                  <a:lnTo>
                    <a:pt x="45016" y="114929"/>
                  </a:lnTo>
                  <a:lnTo>
                    <a:pt x="43698" y="118580"/>
                  </a:lnTo>
                  <a:lnTo>
                    <a:pt x="43864" y="120161"/>
                  </a:lnTo>
                  <a:lnTo>
                    <a:pt x="44502" y="122600"/>
                  </a:lnTo>
                  <a:lnTo>
                    <a:pt x="45851" y="128938"/>
                  </a:lnTo>
                  <a:lnTo>
                    <a:pt x="43918" y="129221"/>
                  </a:lnTo>
                  <a:lnTo>
                    <a:pt x="36388" y="133359"/>
                  </a:lnTo>
                  <a:lnTo>
                    <a:pt x="34053" y="133366"/>
                  </a:lnTo>
                  <a:lnTo>
                    <a:pt x="29696" y="131544"/>
                  </a:lnTo>
                  <a:lnTo>
                    <a:pt x="22011" y="130959"/>
                  </a:lnTo>
                  <a:lnTo>
                    <a:pt x="19505" y="130417"/>
                  </a:lnTo>
                  <a:lnTo>
                    <a:pt x="16377" y="131606"/>
                  </a:lnTo>
                  <a:lnTo>
                    <a:pt x="13959" y="131579"/>
                  </a:lnTo>
                  <a:lnTo>
                    <a:pt x="12037" y="133097"/>
                  </a:lnTo>
                  <a:lnTo>
                    <a:pt x="10656" y="132683"/>
                  </a:lnTo>
                  <a:lnTo>
                    <a:pt x="12239" y="129278"/>
                  </a:lnTo>
                  <a:lnTo>
                    <a:pt x="14717" y="122529"/>
                  </a:lnTo>
                  <a:lnTo>
                    <a:pt x="14620" y="118403"/>
                  </a:lnTo>
                  <a:lnTo>
                    <a:pt x="15211" y="114813"/>
                  </a:lnTo>
                  <a:lnTo>
                    <a:pt x="14529" y="111254"/>
                  </a:lnTo>
                  <a:lnTo>
                    <a:pt x="13285" y="109030"/>
                  </a:lnTo>
                  <a:lnTo>
                    <a:pt x="14981" y="103254"/>
                  </a:lnTo>
                  <a:lnTo>
                    <a:pt x="14788" y="100277"/>
                  </a:lnTo>
                  <a:lnTo>
                    <a:pt x="13237" y="96498"/>
                  </a:lnTo>
                  <a:lnTo>
                    <a:pt x="17942" y="97074"/>
                  </a:lnTo>
                  <a:lnTo>
                    <a:pt x="16490" y="95579"/>
                  </a:lnTo>
                  <a:lnTo>
                    <a:pt x="15055" y="94659"/>
                  </a:lnTo>
                  <a:lnTo>
                    <a:pt x="13668" y="94870"/>
                  </a:lnTo>
                  <a:lnTo>
                    <a:pt x="12492" y="94814"/>
                  </a:lnTo>
                  <a:lnTo>
                    <a:pt x="8485" y="96279"/>
                  </a:lnTo>
                  <a:lnTo>
                    <a:pt x="6479" y="96717"/>
                  </a:lnTo>
                  <a:lnTo>
                    <a:pt x="5892" y="96462"/>
                  </a:lnTo>
                  <a:lnTo>
                    <a:pt x="6111" y="94123"/>
                  </a:lnTo>
                  <a:lnTo>
                    <a:pt x="5071" y="91089"/>
                  </a:lnTo>
                  <a:lnTo>
                    <a:pt x="6676" y="90288"/>
                  </a:lnTo>
                  <a:lnTo>
                    <a:pt x="8545" y="90059"/>
                  </a:lnTo>
                  <a:lnTo>
                    <a:pt x="10133" y="88764"/>
                  </a:lnTo>
                  <a:lnTo>
                    <a:pt x="11115" y="87318"/>
                  </a:lnTo>
                  <a:lnTo>
                    <a:pt x="10597" y="84734"/>
                  </a:lnTo>
                  <a:lnTo>
                    <a:pt x="11977" y="82277"/>
                  </a:lnTo>
                  <a:lnTo>
                    <a:pt x="15216" y="80206"/>
                  </a:lnTo>
                  <a:lnTo>
                    <a:pt x="13538" y="80522"/>
                  </a:lnTo>
                  <a:lnTo>
                    <a:pt x="11618" y="81812"/>
                  </a:lnTo>
                  <a:lnTo>
                    <a:pt x="8595" y="86499"/>
                  </a:lnTo>
                  <a:lnTo>
                    <a:pt x="7605" y="88870"/>
                  </a:lnTo>
                  <a:lnTo>
                    <a:pt x="5029" y="89643"/>
                  </a:lnTo>
                  <a:lnTo>
                    <a:pt x="2720" y="90027"/>
                  </a:lnTo>
                  <a:lnTo>
                    <a:pt x="1538" y="89779"/>
                  </a:lnTo>
                  <a:lnTo>
                    <a:pt x="124" y="89178"/>
                  </a:lnTo>
                  <a:lnTo>
                    <a:pt x="0" y="87425"/>
                  </a:lnTo>
                  <a:lnTo>
                    <a:pt x="110" y="86027"/>
                  </a:lnTo>
                  <a:lnTo>
                    <a:pt x="1068" y="83250"/>
                  </a:lnTo>
                  <a:lnTo>
                    <a:pt x="1446" y="79328"/>
                  </a:lnTo>
                  <a:lnTo>
                    <a:pt x="2806" y="75806"/>
                  </a:lnTo>
                  <a:lnTo>
                    <a:pt x="2709" y="74870"/>
                  </a:lnTo>
                  <a:lnTo>
                    <a:pt x="2321" y="73470"/>
                  </a:lnTo>
                  <a:lnTo>
                    <a:pt x="3540" y="72100"/>
                  </a:lnTo>
                  <a:lnTo>
                    <a:pt x="5049" y="71195"/>
                  </a:lnTo>
                  <a:lnTo>
                    <a:pt x="7329" y="68169"/>
                  </a:lnTo>
                  <a:lnTo>
                    <a:pt x="10518" y="60941"/>
                  </a:lnTo>
                  <a:lnTo>
                    <a:pt x="14194" y="53248"/>
                  </a:lnTo>
                  <a:lnTo>
                    <a:pt x="13896" y="52305"/>
                  </a:lnTo>
                  <a:lnTo>
                    <a:pt x="13115" y="51583"/>
                  </a:lnTo>
                  <a:lnTo>
                    <a:pt x="13424" y="49503"/>
                  </a:lnTo>
                  <a:lnTo>
                    <a:pt x="15640" y="40432"/>
                  </a:lnTo>
                  <a:lnTo>
                    <a:pt x="16543" y="39245"/>
                  </a:lnTo>
                  <a:lnTo>
                    <a:pt x="17582" y="36579"/>
                  </a:lnTo>
                  <a:lnTo>
                    <a:pt x="17817" y="32272"/>
                  </a:lnTo>
                  <a:lnTo>
                    <a:pt x="18224" y="29301"/>
                  </a:lnTo>
                  <a:lnTo>
                    <a:pt x="18130" y="27806"/>
                  </a:lnTo>
                  <a:lnTo>
                    <a:pt x="17803" y="26010"/>
                  </a:lnTo>
                  <a:lnTo>
                    <a:pt x="16393" y="22578"/>
                  </a:lnTo>
                  <a:lnTo>
                    <a:pt x="14905" y="15307"/>
                  </a:lnTo>
                  <a:lnTo>
                    <a:pt x="14791" y="12875"/>
                  </a:lnTo>
                  <a:lnTo>
                    <a:pt x="16016" y="11646"/>
                  </a:lnTo>
                  <a:lnTo>
                    <a:pt x="14005" y="11466"/>
                  </a:lnTo>
                  <a:lnTo>
                    <a:pt x="13094" y="9893"/>
                  </a:lnTo>
                  <a:lnTo>
                    <a:pt x="13301" y="8105"/>
                  </a:lnTo>
                  <a:lnTo>
                    <a:pt x="15536" y="5214"/>
                  </a:lnTo>
                  <a:lnTo>
                    <a:pt x="17618" y="3425"/>
                  </a:lnTo>
                  <a:lnTo>
                    <a:pt x="19682" y="2250"/>
                  </a:lnTo>
                  <a:lnTo>
                    <a:pt x="20822" y="1809"/>
                  </a:lnTo>
                  <a:lnTo>
                    <a:pt x="25588" y="593"/>
                  </a:lnTo>
                  <a:lnTo>
                    <a:pt x="26837" y="0"/>
                  </a:lnTo>
                  <a:lnTo>
                    <a:pt x="28009" y="99"/>
                  </a:lnTo>
                  <a:lnTo>
                    <a:pt x="28205" y="679"/>
                  </a:lnTo>
                  <a:lnTo>
                    <a:pt x="28882" y="1808"/>
                  </a:lnTo>
                  <a:lnTo>
                    <a:pt x="29640" y="2590"/>
                  </a:lnTo>
                  <a:lnTo>
                    <a:pt x="29846" y="3168"/>
                  </a:lnTo>
                  <a:lnTo>
                    <a:pt x="28003" y="5585"/>
                  </a:lnTo>
                  <a:lnTo>
                    <a:pt x="27750" y="6414"/>
                  </a:lnTo>
                  <a:lnTo>
                    <a:pt x="28712" y="7975"/>
                  </a:lnTo>
                  <a:close/>
                </a:path>
              </a:pathLst>
            </a:custGeom>
            <a:grpFill/>
            <a:ln w="3175"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34" name="ee4p_RO_1_92573">
              <a:extLst>
                <a:ext uri="{FF2B5EF4-FFF2-40B4-BE49-F238E27FC236}">
                  <a16:creationId xmlns:a16="http://schemas.microsoft.com/office/drawing/2014/main" id="{6DF14B8C-5293-43EB-9F2E-2A5323B1DB34}"/>
                </a:ext>
              </a:extLst>
            </p:cNvPr>
            <p:cNvSpPr>
              <a:spLocks noChangeAspect="1"/>
            </p:cNvSpPr>
            <p:nvPr>
              <p:custDataLst>
                <p:tags r:id="rId28"/>
              </p:custDataLst>
            </p:nvPr>
          </p:nvSpPr>
          <p:spPr>
            <a:xfrm>
              <a:off x="5546057" y="4728337"/>
              <a:ext cx="829598" cy="502783"/>
            </a:xfrm>
            <a:custGeom>
              <a:avLst/>
              <a:gdLst/>
              <a:ahLst/>
              <a:cxnLst/>
              <a:rect l="0" t="0" r="0" b="0"/>
              <a:pathLst>
                <a:path w="209271" h="126830">
                  <a:moveTo>
                    <a:pt x="176249" y="78400"/>
                  </a:moveTo>
                  <a:lnTo>
                    <a:pt x="178575" y="81236"/>
                  </a:lnTo>
                  <a:lnTo>
                    <a:pt x="181529" y="82742"/>
                  </a:lnTo>
                  <a:lnTo>
                    <a:pt x="188372" y="84333"/>
                  </a:lnTo>
                  <a:lnTo>
                    <a:pt x="188980" y="84146"/>
                  </a:lnTo>
                  <a:lnTo>
                    <a:pt x="189050" y="83846"/>
                  </a:lnTo>
                  <a:lnTo>
                    <a:pt x="188573" y="83435"/>
                  </a:lnTo>
                  <a:lnTo>
                    <a:pt x="188501" y="82905"/>
                  </a:lnTo>
                  <a:lnTo>
                    <a:pt x="188836" y="82257"/>
                  </a:lnTo>
                  <a:lnTo>
                    <a:pt x="189777" y="82224"/>
                  </a:lnTo>
                  <a:lnTo>
                    <a:pt x="191326" y="82804"/>
                  </a:lnTo>
                  <a:lnTo>
                    <a:pt x="194269" y="81964"/>
                  </a:lnTo>
                  <a:lnTo>
                    <a:pt x="198605" y="79704"/>
                  </a:lnTo>
                  <a:lnTo>
                    <a:pt x="202589" y="79245"/>
                  </a:lnTo>
                  <a:lnTo>
                    <a:pt x="206215" y="80586"/>
                  </a:lnTo>
                  <a:lnTo>
                    <a:pt x="208078" y="82146"/>
                  </a:lnTo>
                  <a:lnTo>
                    <a:pt x="209270" y="83626"/>
                  </a:lnTo>
                  <a:lnTo>
                    <a:pt x="208899" y="85454"/>
                  </a:lnTo>
                  <a:lnTo>
                    <a:pt x="208668" y="86591"/>
                  </a:lnTo>
                  <a:lnTo>
                    <a:pt x="207711" y="91297"/>
                  </a:lnTo>
                  <a:lnTo>
                    <a:pt x="207050" y="93049"/>
                  </a:lnTo>
                  <a:lnTo>
                    <a:pt x="205990" y="95016"/>
                  </a:lnTo>
                  <a:lnTo>
                    <a:pt x="194729" y="97358"/>
                  </a:lnTo>
                  <a:lnTo>
                    <a:pt x="195454" y="96233"/>
                  </a:lnTo>
                  <a:lnTo>
                    <a:pt x="195191" y="94260"/>
                  </a:lnTo>
                  <a:lnTo>
                    <a:pt x="194718" y="92770"/>
                  </a:lnTo>
                  <a:lnTo>
                    <a:pt x="195770" y="91422"/>
                  </a:lnTo>
                  <a:lnTo>
                    <a:pt x="193234" y="90933"/>
                  </a:lnTo>
                  <a:lnTo>
                    <a:pt x="192127" y="91674"/>
                  </a:lnTo>
                  <a:lnTo>
                    <a:pt x="191263" y="92962"/>
                  </a:lnTo>
                  <a:lnTo>
                    <a:pt x="192030" y="95928"/>
                  </a:lnTo>
                  <a:lnTo>
                    <a:pt x="190797" y="97566"/>
                  </a:lnTo>
                  <a:lnTo>
                    <a:pt x="190324" y="98483"/>
                  </a:lnTo>
                  <a:lnTo>
                    <a:pt x="190268" y="100647"/>
                  </a:lnTo>
                  <a:lnTo>
                    <a:pt x="189540" y="101583"/>
                  </a:lnTo>
                  <a:lnTo>
                    <a:pt x="189395" y="102602"/>
                  </a:lnTo>
                  <a:lnTo>
                    <a:pt x="191190" y="102338"/>
                  </a:lnTo>
                  <a:lnTo>
                    <a:pt x="190384" y="104205"/>
                  </a:lnTo>
                  <a:lnTo>
                    <a:pt x="187011" y="107790"/>
                  </a:lnTo>
                  <a:lnTo>
                    <a:pt x="185821" y="109923"/>
                  </a:lnTo>
                  <a:lnTo>
                    <a:pt x="186113" y="118372"/>
                  </a:lnTo>
                  <a:lnTo>
                    <a:pt x="184612" y="123412"/>
                  </a:lnTo>
                  <a:lnTo>
                    <a:pt x="184494" y="124901"/>
                  </a:lnTo>
                  <a:lnTo>
                    <a:pt x="180913" y="124949"/>
                  </a:lnTo>
                  <a:lnTo>
                    <a:pt x="179847" y="124833"/>
                  </a:lnTo>
                  <a:lnTo>
                    <a:pt x="176458" y="124075"/>
                  </a:lnTo>
                  <a:lnTo>
                    <a:pt x="172655" y="122736"/>
                  </a:lnTo>
                  <a:lnTo>
                    <a:pt x="170421" y="120137"/>
                  </a:lnTo>
                  <a:lnTo>
                    <a:pt x="168991" y="118277"/>
                  </a:lnTo>
                  <a:lnTo>
                    <a:pt x="165769" y="119118"/>
                  </a:lnTo>
                  <a:lnTo>
                    <a:pt x="165154" y="118893"/>
                  </a:lnTo>
                  <a:lnTo>
                    <a:pt x="164273" y="117995"/>
                  </a:lnTo>
                  <a:lnTo>
                    <a:pt x="161844" y="117392"/>
                  </a:lnTo>
                  <a:lnTo>
                    <a:pt x="158844" y="117380"/>
                  </a:lnTo>
                  <a:lnTo>
                    <a:pt x="152107" y="113978"/>
                  </a:lnTo>
                  <a:lnTo>
                    <a:pt x="151360" y="113402"/>
                  </a:lnTo>
                  <a:lnTo>
                    <a:pt x="146071" y="113977"/>
                  </a:lnTo>
                  <a:lnTo>
                    <a:pt x="138144" y="115662"/>
                  </a:lnTo>
                  <a:lnTo>
                    <a:pt x="132098" y="117738"/>
                  </a:lnTo>
                  <a:lnTo>
                    <a:pt x="125853" y="121436"/>
                  </a:lnTo>
                  <a:lnTo>
                    <a:pt x="123320" y="124237"/>
                  </a:lnTo>
                  <a:lnTo>
                    <a:pt x="120385" y="125724"/>
                  </a:lnTo>
                  <a:lnTo>
                    <a:pt x="116205" y="126829"/>
                  </a:lnTo>
                  <a:lnTo>
                    <a:pt x="108744" y="126410"/>
                  </a:lnTo>
                  <a:lnTo>
                    <a:pt x="100973" y="125005"/>
                  </a:lnTo>
                  <a:lnTo>
                    <a:pt x="92622" y="123493"/>
                  </a:lnTo>
                  <a:lnTo>
                    <a:pt x="88116" y="124328"/>
                  </a:lnTo>
                  <a:lnTo>
                    <a:pt x="82013" y="123702"/>
                  </a:lnTo>
                  <a:lnTo>
                    <a:pt x="72810" y="121895"/>
                  </a:lnTo>
                  <a:lnTo>
                    <a:pt x="65956" y="121346"/>
                  </a:lnTo>
                  <a:lnTo>
                    <a:pt x="59199" y="122411"/>
                  </a:lnTo>
                  <a:lnTo>
                    <a:pt x="58064" y="121598"/>
                  </a:lnTo>
                  <a:lnTo>
                    <a:pt x="57815" y="120666"/>
                  </a:lnTo>
                  <a:lnTo>
                    <a:pt x="58076" y="119345"/>
                  </a:lnTo>
                  <a:lnTo>
                    <a:pt x="59029" y="118281"/>
                  </a:lnTo>
                  <a:lnTo>
                    <a:pt x="60666" y="117476"/>
                  </a:lnTo>
                  <a:lnTo>
                    <a:pt x="61529" y="116657"/>
                  </a:lnTo>
                  <a:lnTo>
                    <a:pt x="61620" y="115824"/>
                  </a:lnTo>
                  <a:lnTo>
                    <a:pt x="59783" y="114489"/>
                  </a:lnTo>
                  <a:lnTo>
                    <a:pt x="56019" y="112648"/>
                  </a:lnTo>
                  <a:lnTo>
                    <a:pt x="54468" y="111493"/>
                  </a:lnTo>
                  <a:lnTo>
                    <a:pt x="54088" y="111208"/>
                  </a:lnTo>
                  <a:lnTo>
                    <a:pt x="53987" y="110172"/>
                  </a:lnTo>
                  <a:lnTo>
                    <a:pt x="53205" y="109359"/>
                  </a:lnTo>
                  <a:lnTo>
                    <a:pt x="51743" y="108764"/>
                  </a:lnTo>
                  <a:lnTo>
                    <a:pt x="50611" y="107688"/>
                  </a:lnTo>
                  <a:lnTo>
                    <a:pt x="49813" y="106127"/>
                  </a:lnTo>
                  <a:lnTo>
                    <a:pt x="49985" y="104654"/>
                  </a:lnTo>
                  <a:lnTo>
                    <a:pt x="51128" y="103274"/>
                  </a:lnTo>
                  <a:lnTo>
                    <a:pt x="52590" y="102675"/>
                  </a:lnTo>
                  <a:lnTo>
                    <a:pt x="54373" y="102861"/>
                  </a:lnTo>
                  <a:lnTo>
                    <a:pt x="55116" y="102469"/>
                  </a:lnTo>
                  <a:lnTo>
                    <a:pt x="54818" y="101501"/>
                  </a:lnTo>
                  <a:lnTo>
                    <a:pt x="53075" y="100263"/>
                  </a:lnTo>
                  <a:lnTo>
                    <a:pt x="49882" y="98757"/>
                  </a:lnTo>
                  <a:lnTo>
                    <a:pt x="46632" y="99578"/>
                  </a:lnTo>
                  <a:lnTo>
                    <a:pt x="43322" y="102721"/>
                  </a:lnTo>
                  <a:lnTo>
                    <a:pt x="40935" y="103231"/>
                  </a:lnTo>
                  <a:lnTo>
                    <a:pt x="39473" y="101110"/>
                  </a:lnTo>
                  <a:lnTo>
                    <a:pt x="36871" y="99850"/>
                  </a:lnTo>
                  <a:lnTo>
                    <a:pt x="33133" y="99454"/>
                  </a:lnTo>
                  <a:lnTo>
                    <a:pt x="30832" y="98643"/>
                  </a:lnTo>
                  <a:lnTo>
                    <a:pt x="29968" y="97417"/>
                  </a:lnTo>
                  <a:lnTo>
                    <a:pt x="28333" y="96471"/>
                  </a:lnTo>
                  <a:lnTo>
                    <a:pt x="24727" y="95473"/>
                  </a:lnTo>
                  <a:lnTo>
                    <a:pt x="24679" y="94514"/>
                  </a:lnTo>
                  <a:lnTo>
                    <a:pt x="25264" y="94289"/>
                  </a:lnTo>
                  <a:lnTo>
                    <a:pt x="26543" y="94198"/>
                  </a:lnTo>
                  <a:lnTo>
                    <a:pt x="28262" y="93996"/>
                  </a:lnTo>
                  <a:lnTo>
                    <a:pt x="28536" y="93453"/>
                  </a:lnTo>
                  <a:lnTo>
                    <a:pt x="28555" y="92957"/>
                  </a:lnTo>
                  <a:lnTo>
                    <a:pt x="27202" y="92325"/>
                  </a:lnTo>
                  <a:lnTo>
                    <a:pt x="25830" y="91895"/>
                  </a:lnTo>
                  <a:lnTo>
                    <a:pt x="25118" y="91466"/>
                  </a:lnTo>
                  <a:lnTo>
                    <a:pt x="24660" y="90992"/>
                  </a:lnTo>
                  <a:lnTo>
                    <a:pt x="24569" y="90494"/>
                  </a:lnTo>
                  <a:lnTo>
                    <a:pt x="24971" y="90156"/>
                  </a:lnTo>
                  <a:lnTo>
                    <a:pt x="25520" y="90133"/>
                  </a:lnTo>
                  <a:lnTo>
                    <a:pt x="26068" y="89839"/>
                  </a:lnTo>
                  <a:lnTo>
                    <a:pt x="26373" y="88685"/>
                  </a:lnTo>
                  <a:lnTo>
                    <a:pt x="27111" y="87736"/>
                  </a:lnTo>
                  <a:lnTo>
                    <a:pt x="27640" y="87396"/>
                  </a:lnTo>
                  <a:lnTo>
                    <a:pt x="27605" y="86694"/>
                  </a:lnTo>
                  <a:lnTo>
                    <a:pt x="27057" y="86038"/>
                  </a:lnTo>
                  <a:lnTo>
                    <a:pt x="26306" y="85472"/>
                  </a:lnTo>
                  <a:lnTo>
                    <a:pt x="25206" y="85129"/>
                  </a:lnTo>
                  <a:lnTo>
                    <a:pt x="21773" y="84137"/>
                  </a:lnTo>
                  <a:lnTo>
                    <a:pt x="20035" y="82754"/>
                  </a:lnTo>
                  <a:lnTo>
                    <a:pt x="18974" y="82704"/>
                  </a:lnTo>
                  <a:lnTo>
                    <a:pt x="17292" y="81937"/>
                  </a:lnTo>
                  <a:lnTo>
                    <a:pt x="15478" y="80736"/>
                  </a:lnTo>
                  <a:lnTo>
                    <a:pt x="13909" y="79029"/>
                  </a:lnTo>
                  <a:lnTo>
                    <a:pt x="12211" y="77921"/>
                  </a:lnTo>
                  <a:lnTo>
                    <a:pt x="11773" y="77467"/>
                  </a:lnTo>
                  <a:lnTo>
                    <a:pt x="11734" y="77036"/>
                  </a:lnTo>
                  <a:lnTo>
                    <a:pt x="12045" y="76559"/>
                  </a:lnTo>
                  <a:lnTo>
                    <a:pt x="12034" y="76037"/>
                  </a:lnTo>
                  <a:lnTo>
                    <a:pt x="11587" y="74360"/>
                  </a:lnTo>
                  <a:lnTo>
                    <a:pt x="11885" y="72585"/>
                  </a:lnTo>
                  <a:lnTo>
                    <a:pt x="11807" y="70919"/>
                  </a:lnTo>
                  <a:lnTo>
                    <a:pt x="11790" y="70168"/>
                  </a:lnTo>
                  <a:lnTo>
                    <a:pt x="11462" y="69939"/>
                  </a:lnTo>
                  <a:lnTo>
                    <a:pt x="11168" y="70190"/>
                  </a:lnTo>
                  <a:lnTo>
                    <a:pt x="10747" y="70509"/>
                  </a:lnTo>
                  <a:lnTo>
                    <a:pt x="10337" y="70568"/>
                  </a:lnTo>
                  <a:lnTo>
                    <a:pt x="9086" y="69353"/>
                  </a:lnTo>
                  <a:lnTo>
                    <a:pt x="7504" y="66869"/>
                  </a:lnTo>
                  <a:lnTo>
                    <a:pt x="6430" y="66041"/>
                  </a:lnTo>
                  <a:lnTo>
                    <a:pt x="4338" y="64902"/>
                  </a:lnTo>
                  <a:lnTo>
                    <a:pt x="2583" y="63944"/>
                  </a:lnTo>
                  <a:lnTo>
                    <a:pt x="1317" y="61867"/>
                  </a:lnTo>
                  <a:lnTo>
                    <a:pt x="0" y="60267"/>
                  </a:lnTo>
                  <a:lnTo>
                    <a:pt x="866" y="59592"/>
                  </a:lnTo>
                  <a:lnTo>
                    <a:pt x="5889" y="58653"/>
                  </a:lnTo>
                  <a:lnTo>
                    <a:pt x="8223" y="59578"/>
                  </a:lnTo>
                  <a:lnTo>
                    <a:pt x="9270" y="59242"/>
                  </a:lnTo>
                  <a:lnTo>
                    <a:pt x="10296" y="58491"/>
                  </a:lnTo>
                  <a:lnTo>
                    <a:pt x="10855" y="57893"/>
                  </a:lnTo>
                  <a:lnTo>
                    <a:pt x="10959" y="57255"/>
                  </a:lnTo>
                  <a:lnTo>
                    <a:pt x="11464" y="56459"/>
                  </a:lnTo>
                  <a:lnTo>
                    <a:pt x="13161" y="56086"/>
                  </a:lnTo>
                  <a:lnTo>
                    <a:pt x="17646" y="56570"/>
                  </a:lnTo>
                  <a:lnTo>
                    <a:pt x="19456" y="55457"/>
                  </a:lnTo>
                  <a:lnTo>
                    <a:pt x="20125" y="54850"/>
                  </a:lnTo>
                  <a:lnTo>
                    <a:pt x="20533" y="53510"/>
                  </a:lnTo>
                  <a:lnTo>
                    <a:pt x="21006" y="52433"/>
                  </a:lnTo>
                  <a:lnTo>
                    <a:pt x="22615" y="51857"/>
                  </a:lnTo>
                  <a:lnTo>
                    <a:pt x="22587" y="50874"/>
                  </a:lnTo>
                  <a:lnTo>
                    <a:pt x="22343" y="49802"/>
                  </a:lnTo>
                  <a:lnTo>
                    <a:pt x="23278" y="47411"/>
                  </a:lnTo>
                  <a:lnTo>
                    <a:pt x="23846" y="46429"/>
                  </a:lnTo>
                  <a:lnTo>
                    <a:pt x="24755" y="46069"/>
                  </a:lnTo>
                  <a:lnTo>
                    <a:pt x="25854" y="45316"/>
                  </a:lnTo>
                  <a:lnTo>
                    <a:pt x="27757" y="43746"/>
                  </a:lnTo>
                  <a:lnTo>
                    <a:pt x="27314" y="42381"/>
                  </a:lnTo>
                  <a:lnTo>
                    <a:pt x="27698" y="41368"/>
                  </a:lnTo>
                  <a:lnTo>
                    <a:pt x="29683" y="38899"/>
                  </a:lnTo>
                  <a:lnTo>
                    <a:pt x="31197" y="36517"/>
                  </a:lnTo>
                  <a:lnTo>
                    <a:pt x="31171" y="35324"/>
                  </a:lnTo>
                  <a:lnTo>
                    <a:pt x="31391" y="34281"/>
                  </a:lnTo>
                  <a:lnTo>
                    <a:pt x="32725" y="33138"/>
                  </a:lnTo>
                  <a:lnTo>
                    <a:pt x="34133" y="31648"/>
                  </a:lnTo>
                  <a:lnTo>
                    <a:pt x="35988" y="26992"/>
                  </a:lnTo>
                  <a:lnTo>
                    <a:pt x="36649" y="26208"/>
                  </a:lnTo>
                  <a:lnTo>
                    <a:pt x="37867" y="25320"/>
                  </a:lnTo>
                  <a:lnTo>
                    <a:pt x="38774" y="24439"/>
                  </a:lnTo>
                  <a:lnTo>
                    <a:pt x="38871" y="21373"/>
                  </a:lnTo>
                  <a:lnTo>
                    <a:pt x="39717" y="20486"/>
                  </a:lnTo>
                  <a:lnTo>
                    <a:pt x="41352" y="19492"/>
                  </a:lnTo>
                  <a:lnTo>
                    <a:pt x="42970" y="17890"/>
                  </a:lnTo>
                  <a:lnTo>
                    <a:pt x="44287" y="15997"/>
                  </a:lnTo>
                  <a:lnTo>
                    <a:pt x="45304" y="15113"/>
                  </a:lnTo>
                  <a:lnTo>
                    <a:pt x="46649" y="14877"/>
                  </a:lnTo>
                  <a:lnTo>
                    <a:pt x="48109" y="14133"/>
                  </a:lnTo>
                  <a:lnTo>
                    <a:pt x="49744" y="13854"/>
                  </a:lnTo>
                  <a:lnTo>
                    <a:pt x="51324" y="14220"/>
                  </a:lnTo>
                  <a:lnTo>
                    <a:pt x="52330" y="14030"/>
                  </a:lnTo>
                  <a:lnTo>
                    <a:pt x="53842" y="13109"/>
                  </a:lnTo>
                  <a:lnTo>
                    <a:pt x="57712" y="9629"/>
                  </a:lnTo>
                  <a:lnTo>
                    <a:pt x="58262" y="8933"/>
                  </a:lnTo>
                  <a:lnTo>
                    <a:pt x="59063" y="8454"/>
                  </a:lnTo>
                  <a:lnTo>
                    <a:pt x="62201" y="7261"/>
                  </a:lnTo>
                  <a:lnTo>
                    <a:pt x="62998" y="6059"/>
                  </a:lnTo>
                  <a:lnTo>
                    <a:pt x="64073" y="4978"/>
                  </a:lnTo>
                  <a:lnTo>
                    <a:pt x="65470" y="5059"/>
                  </a:lnTo>
                  <a:lnTo>
                    <a:pt x="70016" y="7728"/>
                  </a:lnTo>
                  <a:lnTo>
                    <a:pt x="74892" y="7563"/>
                  </a:lnTo>
                  <a:lnTo>
                    <a:pt x="75784" y="7662"/>
                  </a:lnTo>
                  <a:lnTo>
                    <a:pt x="76071" y="7717"/>
                  </a:lnTo>
                  <a:lnTo>
                    <a:pt x="76667" y="7936"/>
                  </a:lnTo>
                  <a:lnTo>
                    <a:pt x="83143" y="9256"/>
                  </a:lnTo>
                  <a:lnTo>
                    <a:pt x="84149" y="9109"/>
                  </a:lnTo>
                  <a:lnTo>
                    <a:pt x="84423" y="9003"/>
                  </a:lnTo>
                  <a:lnTo>
                    <a:pt x="87032" y="10095"/>
                  </a:lnTo>
                  <a:lnTo>
                    <a:pt x="89336" y="9950"/>
                  </a:lnTo>
                  <a:lnTo>
                    <a:pt x="91526" y="9193"/>
                  </a:lnTo>
                  <a:lnTo>
                    <a:pt x="93806" y="8937"/>
                  </a:lnTo>
                  <a:lnTo>
                    <a:pt x="95902" y="9390"/>
                  </a:lnTo>
                  <a:lnTo>
                    <a:pt x="97496" y="10927"/>
                  </a:lnTo>
                  <a:lnTo>
                    <a:pt x="101629" y="14184"/>
                  </a:lnTo>
                  <a:lnTo>
                    <a:pt x="102856" y="15396"/>
                  </a:lnTo>
                  <a:lnTo>
                    <a:pt x="104752" y="15217"/>
                  </a:lnTo>
                  <a:lnTo>
                    <a:pt x="106846" y="14610"/>
                  </a:lnTo>
                  <a:lnTo>
                    <a:pt x="108964" y="12432"/>
                  </a:lnTo>
                  <a:lnTo>
                    <a:pt x="115480" y="9961"/>
                  </a:lnTo>
                  <a:lnTo>
                    <a:pt x="120455" y="9350"/>
                  </a:lnTo>
                  <a:lnTo>
                    <a:pt x="125307" y="8360"/>
                  </a:lnTo>
                  <a:lnTo>
                    <a:pt x="130924" y="7656"/>
                  </a:lnTo>
                  <a:lnTo>
                    <a:pt x="132549" y="5629"/>
                  </a:lnTo>
                  <a:lnTo>
                    <a:pt x="133450" y="4248"/>
                  </a:lnTo>
                  <a:lnTo>
                    <a:pt x="134085" y="1690"/>
                  </a:lnTo>
                  <a:lnTo>
                    <a:pt x="137108" y="948"/>
                  </a:lnTo>
                  <a:lnTo>
                    <a:pt x="139984" y="425"/>
                  </a:lnTo>
                  <a:lnTo>
                    <a:pt x="141012" y="102"/>
                  </a:lnTo>
                  <a:lnTo>
                    <a:pt x="143109" y="0"/>
                  </a:lnTo>
                  <a:lnTo>
                    <a:pt x="144735" y="217"/>
                  </a:lnTo>
                  <a:lnTo>
                    <a:pt x="147249" y="1481"/>
                  </a:lnTo>
                  <a:lnTo>
                    <a:pt x="149013" y="3067"/>
                  </a:lnTo>
                  <a:lnTo>
                    <a:pt x="149708" y="4325"/>
                  </a:lnTo>
                  <a:lnTo>
                    <a:pt x="151215" y="6100"/>
                  </a:lnTo>
                  <a:lnTo>
                    <a:pt x="152800" y="8594"/>
                  </a:lnTo>
                  <a:lnTo>
                    <a:pt x="154543" y="11906"/>
                  </a:lnTo>
                  <a:lnTo>
                    <a:pt x="154925" y="13582"/>
                  </a:lnTo>
                  <a:lnTo>
                    <a:pt x="155584" y="15390"/>
                  </a:lnTo>
                  <a:lnTo>
                    <a:pt x="156888" y="17590"/>
                  </a:lnTo>
                  <a:lnTo>
                    <a:pt x="159371" y="20023"/>
                  </a:lnTo>
                  <a:lnTo>
                    <a:pt x="159717" y="20485"/>
                  </a:lnTo>
                  <a:lnTo>
                    <a:pt x="160844" y="22198"/>
                  </a:lnTo>
                  <a:lnTo>
                    <a:pt x="163016" y="25985"/>
                  </a:lnTo>
                  <a:lnTo>
                    <a:pt x="164832" y="27500"/>
                  </a:lnTo>
                  <a:lnTo>
                    <a:pt x="166419" y="29147"/>
                  </a:lnTo>
                  <a:lnTo>
                    <a:pt x="167179" y="30805"/>
                  </a:lnTo>
                  <a:lnTo>
                    <a:pt x="168317" y="32309"/>
                  </a:lnTo>
                  <a:lnTo>
                    <a:pt x="170980" y="34300"/>
                  </a:lnTo>
                  <a:lnTo>
                    <a:pt x="173137" y="36109"/>
                  </a:lnTo>
                  <a:lnTo>
                    <a:pt x="174867" y="41302"/>
                  </a:lnTo>
                  <a:lnTo>
                    <a:pt x="176076" y="43687"/>
                  </a:lnTo>
                  <a:lnTo>
                    <a:pt x="176845" y="45511"/>
                  </a:lnTo>
                  <a:lnTo>
                    <a:pt x="176473" y="49200"/>
                  </a:lnTo>
                  <a:lnTo>
                    <a:pt x="176953" y="50776"/>
                  </a:lnTo>
                  <a:lnTo>
                    <a:pt x="175964" y="53652"/>
                  </a:lnTo>
                  <a:lnTo>
                    <a:pt x="174184" y="59435"/>
                  </a:lnTo>
                  <a:lnTo>
                    <a:pt x="173755" y="64024"/>
                  </a:lnTo>
                  <a:lnTo>
                    <a:pt x="174062" y="66495"/>
                  </a:lnTo>
                  <a:lnTo>
                    <a:pt x="174105" y="68081"/>
                  </a:lnTo>
                  <a:lnTo>
                    <a:pt x="174534" y="69091"/>
                  </a:lnTo>
                  <a:lnTo>
                    <a:pt x="175005" y="71179"/>
                  </a:lnTo>
                  <a:lnTo>
                    <a:pt x="175083" y="72995"/>
                  </a:lnTo>
                  <a:lnTo>
                    <a:pt x="174444" y="73513"/>
                  </a:lnTo>
                  <a:lnTo>
                    <a:pt x="173548" y="73940"/>
                  </a:lnTo>
                  <a:lnTo>
                    <a:pt x="173202" y="74319"/>
                  </a:lnTo>
                  <a:lnTo>
                    <a:pt x="174025" y="75139"/>
                  </a:lnTo>
                  <a:lnTo>
                    <a:pt x="175143" y="76661"/>
                  </a:lnTo>
                  <a:close/>
                </a:path>
              </a:pathLst>
            </a:custGeom>
            <a:grpFill/>
            <a:ln w="3175"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35" name="ee4p_IT_2_92573">
              <a:extLst>
                <a:ext uri="{FF2B5EF4-FFF2-40B4-BE49-F238E27FC236}">
                  <a16:creationId xmlns:a16="http://schemas.microsoft.com/office/drawing/2014/main" id="{16C75EF0-5906-4912-BBB5-E4483F7914C4}"/>
                </a:ext>
              </a:extLst>
            </p:cNvPr>
            <p:cNvSpPr>
              <a:spLocks noChangeAspect="1"/>
            </p:cNvSpPr>
            <p:nvPr>
              <p:custDataLst>
                <p:tags r:id="rId29"/>
              </p:custDataLst>
            </p:nvPr>
          </p:nvSpPr>
          <p:spPr>
            <a:xfrm>
              <a:off x="4352677" y="4860001"/>
              <a:ext cx="1039453" cy="968085"/>
            </a:xfrm>
            <a:custGeom>
              <a:avLst/>
              <a:gdLst/>
              <a:ahLst/>
              <a:cxnLst/>
              <a:rect l="l" t="t" r="r" b="b"/>
              <a:pathLst>
                <a:path w="262208" h="244205">
                  <a:moveTo>
                    <a:pt x="129930" y="85000"/>
                  </a:moveTo>
                  <a:lnTo>
                    <a:pt x="128546" y="85198"/>
                  </a:lnTo>
                  <a:lnTo>
                    <a:pt x="127568" y="86492"/>
                  </a:lnTo>
                  <a:lnTo>
                    <a:pt x="128220" y="87586"/>
                  </a:lnTo>
                  <a:lnTo>
                    <a:pt x="129522" y="87389"/>
                  </a:lnTo>
                  <a:lnTo>
                    <a:pt x="130172" y="85994"/>
                  </a:lnTo>
                  <a:close/>
                  <a:moveTo>
                    <a:pt x="122539" y="0"/>
                  </a:moveTo>
                  <a:lnTo>
                    <a:pt x="123152" y="199"/>
                  </a:lnTo>
                  <a:lnTo>
                    <a:pt x="123243" y="593"/>
                  </a:lnTo>
                  <a:lnTo>
                    <a:pt x="122452" y="1507"/>
                  </a:lnTo>
                  <a:lnTo>
                    <a:pt x="121684" y="2719"/>
                  </a:lnTo>
                  <a:lnTo>
                    <a:pt x="122200" y="4100"/>
                  </a:lnTo>
                  <a:lnTo>
                    <a:pt x="124718" y="6870"/>
                  </a:lnTo>
                  <a:lnTo>
                    <a:pt x="126091" y="8988"/>
                  </a:lnTo>
                  <a:lnTo>
                    <a:pt x="127378" y="10579"/>
                  </a:lnTo>
                  <a:lnTo>
                    <a:pt x="129388" y="11417"/>
                  </a:lnTo>
                  <a:lnTo>
                    <a:pt x="132029" y="11929"/>
                  </a:lnTo>
                  <a:lnTo>
                    <a:pt x="134266" y="12114"/>
                  </a:lnTo>
                  <a:lnTo>
                    <a:pt x="136605" y="12714"/>
                  </a:lnTo>
                  <a:lnTo>
                    <a:pt x="144636" y="14193"/>
                  </a:lnTo>
                  <a:lnTo>
                    <a:pt x="148678" y="14602"/>
                  </a:lnTo>
                  <a:lnTo>
                    <a:pt x="151740" y="14668"/>
                  </a:lnTo>
                  <a:lnTo>
                    <a:pt x="156383" y="15648"/>
                  </a:lnTo>
                  <a:lnTo>
                    <a:pt x="155934" y="17241"/>
                  </a:lnTo>
                  <a:lnTo>
                    <a:pt x="154992" y="17639"/>
                  </a:lnTo>
                  <a:lnTo>
                    <a:pt x="153360" y="18567"/>
                  </a:lnTo>
                  <a:lnTo>
                    <a:pt x="151486" y="19839"/>
                  </a:lnTo>
                  <a:lnTo>
                    <a:pt x="149738" y="21271"/>
                  </a:lnTo>
                  <a:lnTo>
                    <a:pt x="149268" y="22820"/>
                  </a:lnTo>
                  <a:lnTo>
                    <a:pt x="149741" y="23835"/>
                  </a:lnTo>
                  <a:lnTo>
                    <a:pt x="150214" y="24185"/>
                  </a:lnTo>
                  <a:lnTo>
                    <a:pt x="150851" y="23874"/>
                  </a:lnTo>
                  <a:lnTo>
                    <a:pt x="151779" y="24066"/>
                  </a:lnTo>
                  <a:lnTo>
                    <a:pt x="152949" y="24620"/>
                  </a:lnTo>
                  <a:lnTo>
                    <a:pt x="154891" y="25161"/>
                  </a:lnTo>
                  <a:lnTo>
                    <a:pt x="154945" y="25694"/>
                  </a:lnTo>
                  <a:lnTo>
                    <a:pt x="154539" y="26376"/>
                  </a:lnTo>
                  <a:lnTo>
                    <a:pt x="153023" y="27592"/>
                  </a:lnTo>
                  <a:lnTo>
                    <a:pt x="151660" y="28962"/>
                  </a:lnTo>
                  <a:lnTo>
                    <a:pt x="151524" y="29800"/>
                  </a:lnTo>
                  <a:lnTo>
                    <a:pt x="151688" y="30410"/>
                  </a:lnTo>
                  <a:lnTo>
                    <a:pt x="152163" y="30778"/>
                  </a:lnTo>
                  <a:lnTo>
                    <a:pt x="154185" y="30613"/>
                  </a:lnTo>
                  <a:lnTo>
                    <a:pt x="154480" y="31113"/>
                  </a:lnTo>
                  <a:lnTo>
                    <a:pt x="153500" y="34631"/>
                  </a:lnTo>
                  <a:lnTo>
                    <a:pt x="153804" y="35231"/>
                  </a:lnTo>
                  <a:lnTo>
                    <a:pt x="155575" y="35792"/>
                  </a:lnTo>
                  <a:lnTo>
                    <a:pt x="156862" y="36638"/>
                  </a:lnTo>
                  <a:lnTo>
                    <a:pt x="159283" y="38865"/>
                  </a:lnTo>
                  <a:lnTo>
                    <a:pt x="160246" y="40669"/>
                  </a:lnTo>
                  <a:lnTo>
                    <a:pt x="159583" y="41273"/>
                  </a:lnTo>
                  <a:lnTo>
                    <a:pt x="158063" y="41573"/>
                  </a:lnTo>
                  <a:lnTo>
                    <a:pt x="156821" y="41418"/>
                  </a:lnTo>
                  <a:lnTo>
                    <a:pt x="158225" y="40328"/>
                  </a:lnTo>
                  <a:lnTo>
                    <a:pt x="154798" y="36372"/>
                  </a:lnTo>
                  <a:lnTo>
                    <a:pt x="153247" y="36379"/>
                  </a:lnTo>
                  <a:lnTo>
                    <a:pt x="151189" y="38052"/>
                  </a:lnTo>
                  <a:lnTo>
                    <a:pt x="145467" y="36360"/>
                  </a:lnTo>
                  <a:lnTo>
                    <a:pt x="144370" y="37043"/>
                  </a:lnTo>
                  <a:lnTo>
                    <a:pt x="143560" y="38384"/>
                  </a:lnTo>
                  <a:lnTo>
                    <a:pt x="141574" y="40046"/>
                  </a:lnTo>
                  <a:lnTo>
                    <a:pt x="138760" y="40781"/>
                  </a:lnTo>
                  <a:lnTo>
                    <a:pt x="135625" y="42609"/>
                  </a:lnTo>
                  <a:lnTo>
                    <a:pt x="132319" y="43903"/>
                  </a:lnTo>
                  <a:lnTo>
                    <a:pt x="129794" y="44879"/>
                  </a:lnTo>
                  <a:lnTo>
                    <a:pt x="128347" y="44707"/>
                  </a:lnTo>
                  <a:lnTo>
                    <a:pt x="130647" y="42592"/>
                  </a:lnTo>
                  <a:lnTo>
                    <a:pt x="129667" y="42554"/>
                  </a:lnTo>
                  <a:lnTo>
                    <a:pt x="126616" y="44046"/>
                  </a:lnTo>
                  <a:lnTo>
                    <a:pt x="124858" y="45308"/>
                  </a:lnTo>
                  <a:lnTo>
                    <a:pt x="124295" y="47427"/>
                  </a:lnTo>
                  <a:lnTo>
                    <a:pt x="123783" y="50918"/>
                  </a:lnTo>
                  <a:lnTo>
                    <a:pt x="125124" y="51844"/>
                  </a:lnTo>
                  <a:lnTo>
                    <a:pt x="127471" y="56439"/>
                  </a:lnTo>
                  <a:lnTo>
                    <a:pt x="130367" y="58402"/>
                  </a:lnTo>
                  <a:lnTo>
                    <a:pt x="129803" y="60275"/>
                  </a:lnTo>
                  <a:lnTo>
                    <a:pt x="129043" y="61754"/>
                  </a:lnTo>
                  <a:lnTo>
                    <a:pt x="127294" y="63033"/>
                  </a:lnTo>
                  <a:lnTo>
                    <a:pt x="125847" y="62084"/>
                  </a:lnTo>
                  <a:lnTo>
                    <a:pt x="124960" y="62108"/>
                  </a:lnTo>
                  <a:lnTo>
                    <a:pt x="124284" y="65101"/>
                  </a:lnTo>
                  <a:lnTo>
                    <a:pt x="125536" y="73077"/>
                  </a:lnTo>
                  <a:lnTo>
                    <a:pt x="127555" y="78657"/>
                  </a:lnTo>
                  <a:lnTo>
                    <a:pt x="129557" y="81088"/>
                  </a:lnTo>
                  <a:lnTo>
                    <a:pt x="134074" y="84865"/>
                  </a:lnTo>
                  <a:lnTo>
                    <a:pt x="138849" y="86854"/>
                  </a:lnTo>
                  <a:lnTo>
                    <a:pt x="147434" y="93204"/>
                  </a:lnTo>
                  <a:lnTo>
                    <a:pt x="152142" y="95210"/>
                  </a:lnTo>
                  <a:lnTo>
                    <a:pt x="153379" y="96299"/>
                  </a:lnTo>
                  <a:lnTo>
                    <a:pt x="156234" y="101182"/>
                  </a:lnTo>
                  <a:lnTo>
                    <a:pt x="158698" y="106813"/>
                  </a:lnTo>
                  <a:lnTo>
                    <a:pt x="161356" y="115626"/>
                  </a:lnTo>
                  <a:lnTo>
                    <a:pt x="163248" y="119958"/>
                  </a:lnTo>
                  <a:lnTo>
                    <a:pt x="167057" y="124847"/>
                  </a:lnTo>
                  <a:lnTo>
                    <a:pt x="174973" y="131831"/>
                  </a:lnTo>
                  <a:lnTo>
                    <a:pt x="182168" y="136928"/>
                  </a:lnTo>
                  <a:lnTo>
                    <a:pt x="188860" y="140074"/>
                  </a:lnTo>
                  <a:lnTo>
                    <a:pt x="194084" y="140626"/>
                  </a:lnTo>
                  <a:lnTo>
                    <a:pt x="206446" y="139930"/>
                  </a:lnTo>
                  <a:lnTo>
                    <a:pt x="208601" y="140231"/>
                  </a:lnTo>
                  <a:lnTo>
                    <a:pt x="210882" y="141078"/>
                  </a:lnTo>
                  <a:lnTo>
                    <a:pt x="211423" y="143257"/>
                  </a:lnTo>
                  <a:lnTo>
                    <a:pt x="210586" y="144727"/>
                  </a:lnTo>
                  <a:lnTo>
                    <a:pt x="207986" y="146256"/>
                  </a:lnTo>
                  <a:lnTo>
                    <a:pt x="205334" y="148371"/>
                  </a:lnTo>
                  <a:lnTo>
                    <a:pt x="205040" y="151248"/>
                  </a:lnTo>
                  <a:lnTo>
                    <a:pt x="207519" y="153273"/>
                  </a:lnTo>
                  <a:lnTo>
                    <a:pt x="219443" y="158639"/>
                  </a:lnTo>
                  <a:lnTo>
                    <a:pt x="231640" y="163114"/>
                  </a:lnTo>
                  <a:lnTo>
                    <a:pt x="235438" y="165396"/>
                  </a:lnTo>
                  <a:lnTo>
                    <a:pt x="239839" y="168940"/>
                  </a:lnTo>
                  <a:lnTo>
                    <a:pt x="250469" y="173806"/>
                  </a:lnTo>
                  <a:lnTo>
                    <a:pt x="252264" y="176172"/>
                  </a:lnTo>
                  <a:lnTo>
                    <a:pt x="258723" y="181254"/>
                  </a:lnTo>
                  <a:lnTo>
                    <a:pt x="261651" y="185170"/>
                  </a:lnTo>
                  <a:lnTo>
                    <a:pt x="262208" y="188204"/>
                  </a:lnTo>
                  <a:lnTo>
                    <a:pt x="260809" y="191281"/>
                  </a:lnTo>
                  <a:lnTo>
                    <a:pt x="260165" y="193451"/>
                  </a:lnTo>
                  <a:lnTo>
                    <a:pt x="259066" y="195592"/>
                  </a:lnTo>
                  <a:lnTo>
                    <a:pt x="256315" y="194781"/>
                  </a:lnTo>
                  <a:lnTo>
                    <a:pt x="253188" y="192582"/>
                  </a:lnTo>
                  <a:lnTo>
                    <a:pt x="248481" y="183625"/>
                  </a:lnTo>
                  <a:lnTo>
                    <a:pt x="239882" y="182716"/>
                  </a:lnTo>
                  <a:lnTo>
                    <a:pt x="238105" y="182054"/>
                  </a:lnTo>
                  <a:lnTo>
                    <a:pt x="235051" y="180515"/>
                  </a:lnTo>
                  <a:lnTo>
                    <a:pt x="234868" y="179499"/>
                  </a:lnTo>
                  <a:lnTo>
                    <a:pt x="234114" y="178229"/>
                  </a:lnTo>
                  <a:lnTo>
                    <a:pt x="233333" y="177800"/>
                  </a:lnTo>
                  <a:lnTo>
                    <a:pt x="230044" y="177520"/>
                  </a:lnTo>
                  <a:lnTo>
                    <a:pt x="227766" y="178972"/>
                  </a:lnTo>
                  <a:lnTo>
                    <a:pt x="225086" y="182414"/>
                  </a:lnTo>
                  <a:lnTo>
                    <a:pt x="222048" y="187359"/>
                  </a:lnTo>
                  <a:lnTo>
                    <a:pt x="218960" y="194596"/>
                  </a:lnTo>
                  <a:lnTo>
                    <a:pt x="218781" y="197514"/>
                  </a:lnTo>
                  <a:lnTo>
                    <a:pt x="220459" y="200339"/>
                  </a:lnTo>
                  <a:lnTo>
                    <a:pt x="225468" y="201914"/>
                  </a:lnTo>
                  <a:lnTo>
                    <a:pt x="229335" y="204425"/>
                  </a:lnTo>
                  <a:lnTo>
                    <a:pt x="231886" y="207045"/>
                  </a:lnTo>
                  <a:lnTo>
                    <a:pt x="232071" y="213368"/>
                  </a:lnTo>
                  <a:lnTo>
                    <a:pt x="233214" y="216950"/>
                  </a:lnTo>
                  <a:lnTo>
                    <a:pt x="231532" y="218985"/>
                  </a:lnTo>
                  <a:lnTo>
                    <a:pt x="228280" y="218457"/>
                  </a:lnTo>
                  <a:lnTo>
                    <a:pt x="223946" y="219751"/>
                  </a:lnTo>
                  <a:lnTo>
                    <a:pt x="220877" y="222063"/>
                  </a:lnTo>
                  <a:lnTo>
                    <a:pt x="219601" y="224265"/>
                  </a:lnTo>
                  <a:lnTo>
                    <a:pt x="219938" y="229965"/>
                  </a:lnTo>
                  <a:lnTo>
                    <a:pt x="219305" y="232139"/>
                  </a:lnTo>
                  <a:lnTo>
                    <a:pt x="213486" y="236239"/>
                  </a:lnTo>
                  <a:lnTo>
                    <a:pt x="210428" y="240429"/>
                  </a:lnTo>
                  <a:lnTo>
                    <a:pt x="209668" y="242166"/>
                  </a:lnTo>
                  <a:lnTo>
                    <a:pt x="208498" y="244135"/>
                  </a:lnTo>
                  <a:lnTo>
                    <a:pt x="201149" y="244205"/>
                  </a:lnTo>
                  <a:lnTo>
                    <a:pt x="199409" y="241767"/>
                  </a:lnTo>
                  <a:lnTo>
                    <a:pt x="199348" y="238144"/>
                  </a:lnTo>
                  <a:lnTo>
                    <a:pt x="200611" y="235912"/>
                  </a:lnTo>
                  <a:lnTo>
                    <a:pt x="203313" y="234867"/>
                  </a:lnTo>
                  <a:lnTo>
                    <a:pt x="205135" y="230224"/>
                  </a:lnTo>
                  <a:lnTo>
                    <a:pt x="204563" y="226865"/>
                  </a:lnTo>
                  <a:lnTo>
                    <a:pt x="205626" y="225375"/>
                  </a:lnTo>
                  <a:lnTo>
                    <a:pt x="206630" y="224321"/>
                  </a:lnTo>
                  <a:lnTo>
                    <a:pt x="208690" y="223707"/>
                  </a:lnTo>
                  <a:lnTo>
                    <a:pt x="211592" y="223118"/>
                  </a:lnTo>
                  <a:lnTo>
                    <a:pt x="211883" y="218423"/>
                  </a:lnTo>
                  <a:lnTo>
                    <a:pt x="209616" y="216285"/>
                  </a:lnTo>
                  <a:lnTo>
                    <a:pt x="208821" y="213293"/>
                  </a:lnTo>
                  <a:lnTo>
                    <a:pt x="207763" y="207746"/>
                  </a:lnTo>
                  <a:lnTo>
                    <a:pt x="204021" y="200661"/>
                  </a:lnTo>
                  <a:lnTo>
                    <a:pt x="202015" y="194325"/>
                  </a:lnTo>
                  <a:lnTo>
                    <a:pt x="200447" y="191195"/>
                  </a:lnTo>
                  <a:lnTo>
                    <a:pt x="198068" y="189561"/>
                  </a:lnTo>
                  <a:lnTo>
                    <a:pt x="193773" y="189579"/>
                  </a:lnTo>
                  <a:lnTo>
                    <a:pt x="191641" y="189113"/>
                  </a:lnTo>
                  <a:lnTo>
                    <a:pt x="184043" y="184700"/>
                  </a:lnTo>
                  <a:lnTo>
                    <a:pt x="183513" y="184028"/>
                  </a:lnTo>
                  <a:lnTo>
                    <a:pt x="183561" y="182856"/>
                  </a:lnTo>
                  <a:lnTo>
                    <a:pt x="184822" y="181080"/>
                  </a:lnTo>
                  <a:lnTo>
                    <a:pt x="183971" y="178676"/>
                  </a:lnTo>
                  <a:lnTo>
                    <a:pt x="183071" y="176405"/>
                  </a:lnTo>
                  <a:lnTo>
                    <a:pt x="181581" y="174467"/>
                  </a:lnTo>
                  <a:lnTo>
                    <a:pt x="179948" y="173459"/>
                  </a:lnTo>
                  <a:lnTo>
                    <a:pt x="176532" y="174079"/>
                  </a:lnTo>
                  <a:lnTo>
                    <a:pt x="175331" y="174561"/>
                  </a:lnTo>
                  <a:lnTo>
                    <a:pt x="173174" y="174395"/>
                  </a:lnTo>
                  <a:lnTo>
                    <a:pt x="171479" y="175257"/>
                  </a:lnTo>
                  <a:lnTo>
                    <a:pt x="170533" y="175284"/>
                  </a:lnTo>
                  <a:lnTo>
                    <a:pt x="173200" y="171877"/>
                  </a:lnTo>
                  <a:lnTo>
                    <a:pt x="172483" y="171074"/>
                  </a:lnTo>
                  <a:lnTo>
                    <a:pt x="169847" y="169674"/>
                  </a:lnTo>
                  <a:lnTo>
                    <a:pt x="166271" y="169462"/>
                  </a:lnTo>
                  <a:lnTo>
                    <a:pt x="165280" y="169293"/>
                  </a:lnTo>
                  <a:lnTo>
                    <a:pt x="164694" y="170165"/>
                  </a:lnTo>
                  <a:lnTo>
                    <a:pt x="163997" y="169684"/>
                  </a:lnTo>
                  <a:lnTo>
                    <a:pt x="164070" y="168159"/>
                  </a:lnTo>
                  <a:lnTo>
                    <a:pt x="159916" y="161328"/>
                  </a:lnTo>
                  <a:lnTo>
                    <a:pt x="157121" y="158544"/>
                  </a:lnTo>
                  <a:lnTo>
                    <a:pt x="155714" y="158047"/>
                  </a:lnTo>
                  <a:lnTo>
                    <a:pt x="153172" y="158635"/>
                  </a:lnTo>
                  <a:lnTo>
                    <a:pt x="148907" y="157414"/>
                  </a:lnTo>
                  <a:lnTo>
                    <a:pt x="146363" y="157141"/>
                  </a:lnTo>
                  <a:lnTo>
                    <a:pt x="144960" y="157435"/>
                  </a:lnTo>
                  <a:lnTo>
                    <a:pt x="142865" y="158328"/>
                  </a:lnTo>
                  <a:lnTo>
                    <a:pt x="141811" y="157738"/>
                  </a:lnTo>
                  <a:lnTo>
                    <a:pt x="141440" y="156822"/>
                  </a:lnTo>
                  <a:lnTo>
                    <a:pt x="137570" y="153977"/>
                  </a:lnTo>
                  <a:lnTo>
                    <a:pt x="132742" y="152368"/>
                  </a:lnTo>
                  <a:lnTo>
                    <a:pt x="123340" y="143293"/>
                  </a:lnTo>
                  <a:lnTo>
                    <a:pt x="120457" y="139892"/>
                  </a:lnTo>
                  <a:lnTo>
                    <a:pt x="114525" y="136145"/>
                  </a:lnTo>
                  <a:lnTo>
                    <a:pt x="110772" y="130679"/>
                  </a:lnTo>
                  <a:lnTo>
                    <a:pt x="107702" y="128672"/>
                  </a:lnTo>
                  <a:lnTo>
                    <a:pt x="103232" y="127064"/>
                  </a:lnTo>
                  <a:lnTo>
                    <a:pt x="102202" y="127265"/>
                  </a:lnTo>
                  <a:lnTo>
                    <a:pt x="100857" y="127868"/>
                  </a:lnTo>
                  <a:lnTo>
                    <a:pt x="99803" y="127954"/>
                  </a:lnTo>
                  <a:lnTo>
                    <a:pt x="98963" y="127242"/>
                  </a:lnTo>
                  <a:lnTo>
                    <a:pt x="99815" y="126509"/>
                  </a:lnTo>
                  <a:lnTo>
                    <a:pt x="100766" y="126176"/>
                  </a:lnTo>
                  <a:lnTo>
                    <a:pt x="100390" y="124081"/>
                  </a:lnTo>
                  <a:lnTo>
                    <a:pt x="95305" y="118644"/>
                  </a:lnTo>
                  <a:lnTo>
                    <a:pt x="92327" y="116890"/>
                  </a:lnTo>
                  <a:lnTo>
                    <a:pt x="91487" y="115810"/>
                  </a:lnTo>
                  <a:lnTo>
                    <a:pt x="90867" y="114331"/>
                  </a:lnTo>
                  <a:lnTo>
                    <a:pt x="90232" y="113357"/>
                  </a:lnTo>
                  <a:lnTo>
                    <a:pt x="88822" y="112798"/>
                  </a:lnTo>
                  <a:lnTo>
                    <a:pt x="87619" y="112894"/>
                  </a:lnTo>
                  <a:lnTo>
                    <a:pt x="85952" y="112521"/>
                  </a:lnTo>
                  <a:lnTo>
                    <a:pt x="86006" y="109905"/>
                  </a:lnTo>
                  <a:lnTo>
                    <a:pt x="86339" y="107893"/>
                  </a:lnTo>
                  <a:lnTo>
                    <a:pt x="86084" y="106184"/>
                  </a:lnTo>
                  <a:lnTo>
                    <a:pt x="84464" y="101686"/>
                  </a:lnTo>
                  <a:lnTo>
                    <a:pt x="81655" y="97867"/>
                  </a:lnTo>
                  <a:lnTo>
                    <a:pt x="80003" y="88722"/>
                  </a:lnTo>
                  <a:lnTo>
                    <a:pt x="78727" y="86142"/>
                  </a:lnTo>
                  <a:lnTo>
                    <a:pt x="75622" y="84182"/>
                  </a:lnTo>
                  <a:lnTo>
                    <a:pt x="68617" y="81983"/>
                  </a:lnTo>
                  <a:lnTo>
                    <a:pt x="58854" y="76070"/>
                  </a:lnTo>
                  <a:lnTo>
                    <a:pt x="56790" y="75968"/>
                  </a:lnTo>
                  <a:lnTo>
                    <a:pt x="50917" y="73666"/>
                  </a:lnTo>
                  <a:lnTo>
                    <a:pt x="47278" y="73271"/>
                  </a:lnTo>
                  <a:lnTo>
                    <a:pt x="42549" y="75339"/>
                  </a:lnTo>
                  <a:lnTo>
                    <a:pt x="36809" y="81026"/>
                  </a:lnTo>
                  <a:lnTo>
                    <a:pt x="32149" y="86915"/>
                  </a:lnTo>
                  <a:lnTo>
                    <a:pt x="30454" y="88055"/>
                  </a:lnTo>
                  <a:lnTo>
                    <a:pt x="24446" y="90059"/>
                  </a:lnTo>
                  <a:lnTo>
                    <a:pt x="19137" y="91016"/>
                  </a:lnTo>
                  <a:lnTo>
                    <a:pt x="19078" y="89509"/>
                  </a:lnTo>
                  <a:lnTo>
                    <a:pt x="18891" y="88376"/>
                  </a:lnTo>
                  <a:lnTo>
                    <a:pt x="19789" y="87127"/>
                  </a:lnTo>
                  <a:lnTo>
                    <a:pt x="21270" y="85657"/>
                  </a:lnTo>
                  <a:lnTo>
                    <a:pt x="22637" y="83812"/>
                  </a:lnTo>
                  <a:lnTo>
                    <a:pt x="23205" y="82471"/>
                  </a:lnTo>
                  <a:lnTo>
                    <a:pt x="22937" y="81581"/>
                  </a:lnTo>
                  <a:lnTo>
                    <a:pt x="22322" y="80258"/>
                  </a:lnTo>
                  <a:lnTo>
                    <a:pt x="21486" y="80162"/>
                  </a:lnTo>
                  <a:lnTo>
                    <a:pt x="16433" y="81273"/>
                  </a:lnTo>
                  <a:lnTo>
                    <a:pt x="15276" y="80986"/>
                  </a:lnTo>
                  <a:lnTo>
                    <a:pt x="11536" y="79259"/>
                  </a:lnTo>
                  <a:lnTo>
                    <a:pt x="7508" y="77134"/>
                  </a:lnTo>
                  <a:lnTo>
                    <a:pt x="6025" y="75622"/>
                  </a:lnTo>
                  <a:lnTo>
                    <a:pt x="5463" y="74093"/>
                  </a:lnTo>
                  <a:lnTo>
                    <a:pt x="5884" y="73111"/>
                  </a:lnTo>
                  <a:lnTo>
                    <a:pt x="5548" y="72157"/>
                  </a:lnTo>
                  <a:lnTo>
                    <a:pt x="4760" y="70868"/>
                  </a:lnTo>
                  <a:lnTo>
                    <a:pt x="5472" y="69403"/>
                  </a:lnTo>
                  <a:lnTo>
                    <a:pt x="6727" y="67576"/>
                  </a:lnTo>
                  <a:lnTo>
                    <a:pt x="7355" y="66337"/>
                  </a:lnTo>
                  <a:lnTo>
                    <a:pt x="8407" y="66015"/>
                  </a:lnTo>
                  <a:lnTo>
                    <a:pt x="8910" y="65259"/>
                  </a:lnTo>
                  <a:lnTo>
                    <a:pt x="8070" y="62243"/>
                  </a:lnTo>
                  <a:lnTo>
                    <a:pt x="7632" y="61760"/>
                  </a:lnTo>
                  <a:lnTo>
                    <a:pt x="6902" y="61385"/>
                  </a:lnTo>
                  <a:lnTo>
                    <a:pt x="5785" y="61343"/>
                  </a:lnTo>
                  <a:lnTo>
                    <a:pt x="3833" y="60719"/>
                  </a:lnTo>
                  <a:lnTo>
                    <a:pt x="2442" y="59675"/>
                  </a:lnTo>
                  <a:lnTo>
                    <a:pt x="2144" y="58265"/>
                  </a:lnTo>
                  <a:lnTo>
                    <a:pt x="1408" y="56909"/>
                  </a:lnTo>
                  <a:lnTo>
                    <a:pt x="156" y="55663"/>
                  </a:lnTo>
                  <a:lnTo>
                    <a:pt x="0" y="54301"/>
                  </a:lnTo>
                  <a:lnTo>
                    <a:pt x="1428" y="53580"/>
                  </a:lnTo>
                  <a:lnTo>
                    <a:pt x="3375" y="53552"/>
                  </a:lnTo>
                  <a:lnTo>
                    <a:pt x="4745" y="53817"/>
                  </a:lnTo>
                  <a:lnTo>
                    <a:pt x="7817" y="51629"/>
                  </a:lnTo>
                  <a:lnTo>
                    <a:pt x="8949" y="51436"/>
                  </a:lnTo>
                  <a:lnTo>
                    <a:pt x="9964" y="50961"/>
                  </a:lnTo>
                  <a:lnTo>
                    <a:pt x="10814" y="47971"/>
                  </a:lnTo>
                  <a:lnTo>
                    <a:pt x="11469" y="47073"/>
                  </a:lnTo>
                  <a:lnTo>
                    <a:pt x="11624" y="46546"/>
                  </a:lnTo>
                  <a:lnTo>
                    <a:pt x="11019" y="45922"/>
                  </a:lnTo>
                  <a:lnTo>
                    <a:pt x="8534" y="43813"/>
                  </a:lnTo>
                  <a:lnTo>
                    <a:pt x="7401" y="41612"/>
                  </a:lnTo>
                  <a:lnTo>
                    <a:pt x="5610" y="39142"/>
                  </a:lnTo>
                  <a:lnTo>
                    <a:pt x="3948" y="38050"/>
                  </a:lnTo>
                  <a:lnTo>
                    <a:pt x="3609" y="37201"/>
                  </a:lnTo>
                  <a:lnTo>
                    <a:pt x="3570" y="36121"/>
                  </a:lnTo>
                  <a:lnTo>
                    <a:pt x="3909" y="35171"/>
                  </a:lnTo>
                  <a:lnTo>
                    <a:pt x="6923" y="33687"/>
                  </a:lnTo>
                  <a:lnTo>
                    <a:pt x="8698" y="32103"/>
                  </a:lnTo>
                  <a:lnTo>
                    <a:pt x="9465" y="32710"/>
                  </a:lnTo>
                  <a:lnTo>
                    <a:pt x="11084" y="33354"/>
                  </a:lnTo>
                  <a:lnTo>
                    <a:pt x="15483" y="32473"/>
                  </a:lnTo>
                  <a:lnTo>
                    <a:pt x="18217" y="31588"/>
                  </a:lnTo>
                  <a:lnTo>
                    <a:pt x="20141" y="30657"/>
                  </a:lnTo>
                  <a:lnTo>
                    <a:pt x="21335" y="30822"/>
                  </a:lnTo>
                  <a:lnTo>
                    <a:pt x="25654" y="32212"/>
                  </a:lnTo>
                  <a:lnTo>
                    <a:pt x="27079" y="31505"/>
                  </a:lnTo>
                  <a:lnTo>
                    <a:pt x="30193" y="29615"/>
                  </a:lnTo>
                  <a:lnTo>
                    <a:pt x="30659" y="28621"/>
                  </a:lnTo>
                  <a:lnTo>
                    <a:pt x="33112" y="25606"/>
                  </a:lnTo>
                  <a:lnTo>
                    <a:pt x="33158" y="24869"/>
                  </a:lnTo>
                  <a:lnTo>
                    <a:pt x="32147" y="22975"/>
                  </a:lnTo>
                  <a:lnTo>
                    <a:pt x="32460" y="22559"/>
                  </a:lnTo>
                  <a:lnTo>
                    <a:pt x="35473" y="20615"/>
                  </a:lnTo>
                  <a:lnTo>
                    <a:pt x="36945" y="18890"/>
                  </a:lnTo>
                  <a:lnTo>
                    <a:pt x="38541" y="17734"/>
                  </a:lnTo>
                  <a:lnTo>
                    <a:pt x="39687" y="17708"/>
                  </a:lnTo>
                  <a:lnTo>
                    <a:pt x="40003" y="18101"/>
                  </a:lnTo>
                  <a:lnTo>
                    <a:pt x="40139" y="18908"/>
                  </a:lnTo>
                  <a:lnTo>
                    <a:pt x="40040" y="22232"/>
                  </a:lnTo>
                  <a:lnTo>
                    <a:pt x="40480" y="23255"/>
                  </a:lnTo>
                  <a:lnTo>
                    <a:pt x="42847" y="25637"/>
                  </a:lnTo>
                  <a:lnTo>
                    <a:pt x="44533" y="26993"/>
                  </a:lnTo>
                  <a:lnTo>
                    <a:pt x="48444" y="27923"/>
                  </a:lnTo>
                  <a:lnTo>
                    <a:pt x="48625" y="28368"/>
                  </a:lnTo>
                  <a:lnTo>
                    <a:pt x="47548" y="30160"/>
                  </a:lnTo>
                  <a:lnTo>
                    <a:pt x="49917" y="32299"/>
                  </a:lnTo>
                  <a:lnTo>
                    <a:pt x="50340" y="33864"/>
                  </a:lnTo>
                  <a:lnTo>
                    <a:pt x="51432" y="34744"/>
                  </a:lnTo>
                  <a:lnTo>
                    <a:pt x="52981" y="34312"/>
                  </a:lnTo>
                  <a:lnTo>
                    <a:pt x="53488" y="33488"/>
                  </a:lnTo>
                  <a:lnTo>
                    <a:pt x="52879" y="32039"/>
                  </a:lnTo>
                  <a:lnTo>
                    <a:pt x="52432" y="30521"/>
                  </a:lnTo>
                  <a:lnTo>
                    <a:pt x="52523" y="29643"/>
                  </a:lnTo>
                  <a:lnTo>
                    <a:pt x="52951" y="28633"/>
                  </a:lnTo>
                  <a:lnTo>
                    <a:pt x="54026" y="27224"/>
                  </a:lnTo>
                  <a:lnTo>
                    <a:pt x="56954" y="23993"/>
                  </a:lnTo>
                  <a:lnTo>
                    <a:pt x="58008" y="22123"/>
                  </a:lnTo>
                  <a:lnTo>
                    <a:pt x="58200" y="19228"/>
                  </a:lnTo>
                  <a:lnTo>
                    <a:pt x="58209" y="16899"/>
                  </a:lnTo>
                  <a:lnTo>
                    <a:pt x="59187" y="16334"/>
                  </a:lnTo>
                  <a:lnTo>
                    <a:pt x="61286" y="16747"/>
                  </a:lnTo>
                  <a:lnTo>
                    <a:pt x="61912" y="16701"/>
                  </a:lnTo>
                  <a:lnTo>
                    <a:pt x="62199" y="18131"/>
                  </a:lnTo>
                  <a:lnTo>
                    <a:pt x="63093" y="20405"/>
                  </a:lnTo>
                  <a:lnTo>
                    <a:pt x="64147" y="21585"/>
                  </a:lnTo>
                  <a:lnTo>
                    <a:pt x="65272" y="21865"/>
                  </a:lnTo>
                  <a:lnTo>
                    <a:pt x="66596" y="21871"/>
                  </a:lnTo>
                  <a:lnTo>
                    <a:pt x="69876" y="20481"/>
                  </a:lnTo>
                  <a:lnTo>
                    <a:pt x="72014" y="19879"/>
                  </a:lnTo>
                  <a:lnTo>
                    <a:pt x="73225" y="20044"/>
                  </a:lnTo>
                  <a:lnTo>
                    <a:pt x="73942" y="20990"/>
                  </a:lnTo>
                  <a:lnTo>
                    <a:pt x="75475" y="23471"/>
                  </a:lnTo>
                  <a:lnTo>
                    <a:pt x="76349" y="23751"/>
                  </a:lnTo>
                  <a:lnTo>
                    <a:pt x="77406" y="23467"/>
                  </a:lnTo>
                  <a:lnTo>
                    <a:pt x="77779" y="23044"/>
                  </a:lnTo>
                  <a:lnTo>
                    <a:pt x="77440" y="22090"/>
                  </a:lnTo>
                  <a:lnTo>
                    <a:pt x="76993" y="20015"/>
                  </a:lnTo>
                  <a:lnTo>
                    <a:pt x="76380" y="18410"/>
                  </a:lnTo>
                  <a:lnTo>
                    <a:pt x="75577" y="17657"/>
                  </a:lnTo>
                  <a:lnTo>
                    <a:pt x="75415" y="16677"/>
                  </a:lnTo>
                  <a:lnTo>
                    <a:pt x="75922" y="14912"/>
                  </a:lnTo>
                  <a:lnTo>
                    <a:pt x="76492" y="13436"/>
                  </a:lnTo>
                  <a:lnTo>
                    <a:pt x="77609" y="13034"/>
                  </a:lnTo>
                  <a:lnTo>
                    <a:pt x="78891" y="12847"/>
                  </a:lnTo>
                  <a:lnTo>
                    <a:pt x="80588" y="14410"/>
                  </a:lnTo>
                  <a:lnTo>
                    <a:pt x="82597" y="14904"/>
                  </a:lnTo>
                  <a:lnTo>
                    <a:pt x="84091" y="14821"/>
                  </a:lnTo>
                  <a:lnTo>
                    <a:pt x="84352" y="13909"/>
                  </a:lnTo>
                  <a:lnTo>
                    <a:pt x="84259" y="12909"/>
                  </a:lnTo>
                  <a:lnTo>
                    <a:pt x="83368" y="11625"/>
                  </a:lnTo>
                  <a:lnTo>
                    <a:pt x="83547" y="9683"/>
                  </a:lnTo>
                  <a:lnTo>
                    <a:pt x="84581" y="6060"/>
                  </a:lnTo>
                  <a:lnTo>
                    <a:pt x="85169" y="6334"/>
                  </a:lnTo>
                  <a:lnTo>
                    <a:pt x="87388" y="6373"/>
                  </a:lnTo>
                  <a:lnTo>
                    <a:pt x="89809" y="6577"/>
                  </a:lnTo>
                  <a:lnTo>
                    <a:pt x="91368" y="8056"/>
                  </a:lnTo>
                  <a:lnTo>
                    <a:pt x="92897" y="8559"/>
                  </a:lnTo>
                  <a:lnTo>
                    <a:pt x="95074" y="8719"/>
                  </a:lnTo>
                  <a:lnTo>
                    <a:pt x="96531" y="8510"/>
                  </a:lnTo>
                  <a:lnTo>
                    <a:pt x="97235" y="7954"/>
                  </a:lnTo>
                  <a:lnTo>
                    <a:pt x="98084" y="6222"/>
                  </a:lnTo>
                  <a:lnTo>
                    <a:pt x="99641" y="4074"/>
                  </a:lnTo>
                  <a:lnTo>
                    <a:pt x="102085" y="2972"/>
                  </a:lnTo>
                  <a:lnTo>
                    <a:pt x="106259" y="2766"/>
                  </a:lnTo>
                  <a:lnTo>
                    <a:pt x="108345" y="2366"/>
                  </a:lnTo>
                  <a:lnTo>
                    <a:pt x="110511" y="2389"/>
                  </a:lnTo>
                  <a:lnTo>
                    <a:pt x="112146" y="2721"/>
                  </a:lnTo>
                  <a:lnTo>
                    <a:pt x="113832" y="2682"/>
                  </a:lnTo>
                  <a:lnTo>
                    <a:pt x="118119" y="1185"/>
                  </a:lnTo>
                  <a:close/>
                </a:path>
              </a:pathLst>
            </a:custGeom>
            <a:grpFill/>
            <a:ln w="3175"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36" name="ee4p_SK_1_92573">
              <a:extLst>
                <a:ext uri="{FF2B5EF4-FFF2-40B4-BE49-F238E27FC236}">
                  <a16:creationId xmlns:a16="http://schemas.microsoft.com/office/drawing/2014/main" id="{C9C71EE7-76C9-47F5-9EB8-57CA4E7339A5}"/>
                </a:ext>
              </a:extLst>
            </p:cNvPr>
            <p:cNvSpPr>
              <a:spLocks noChangeAspect="1"/>
            </p:cNvSpPr>
            <p:nvPr>
              <p:custDataLst>
                <p:tags r:id="rId30"/>
              </p:custDataLst>
            </p:nvPr>
          </p:nvSpPr>
          <p:spPr>
            <a:xfrm>
              <a:off x="5249854" y="4577530"/>
              <a:ext cx="497547" cy="206750"/>
            </a:xfrm>
            <a:custGeom>
              <a:avLst/>
              <a:gdLst/>
              <a:ahLst/>
              <a:cxnLst/>
              <a:rect l="0" t="0" r="0" b="0"/>
              <a:pathLst>
                <a:path w="125509" h="52154">
                  <a:moveTo>
                    <a:pt x="125508" y="15038"/>
                  </a:moveTo>
                  <a:lnTo>
                    <a:pt x="125186" y="16218"/>
                  </a:lnTo>
                  <a:lnTo>
                    <a:pt x="124281" y="17591"/>
                  </a:lnTo>
                  <a:lnTo>
                    <a:pt x="123150" y="19009"/>
                  </a:lnTo>
                  <a:lnTo>
                    <a:pt x="122208" y="20721"/>
                  </a:lnTo>
                  <a:lnTo>
                    <a:pt x="120951" y="24378"/>
                  </a:lnTo>
                  <a:lnTo>
                    <a:pt x="120124" y="26062"/>
                  </a:lnTo>
                  <a:lnTo>
                    <a:pt x="116756" y="29396"/>
                  </a:lnTo>
                  <a:lnTo>
                    <a:pt x="116512" y="34025"/>
                  </a:lnTo>
                  <a:lnTo>
                    <a:pt x="116058" y="34364"/>
                  </a:lnTo>
                  <a:lnTo>
                    <a:pt x="108444" y="35930"/>
                  </a:lnTo>
                  <a:lnTo>
                    <a:pt x="107438" y="35690"/>
                  </a:lnTo>
                  <a:lnTo>
                    <a:pt x="106401" y="34789"/>
                  </a:lnTo>
                  <a:lnTo>
                    <a:pt x="105827" y="34134"/>
                  </a:lnTo>
                  <a:lnTo>
                    <a:pt x="105471" y="33651"/>
                  </a:lnTo>
                  <a:lnTo>
                    <a:pt x="104810" y="32371"/>
                  </a:lnTo>
                  <a:lnTo>
                    <a:pt x="103938" y="31462"/>
                  </a:lnTo>
                  <a:lnTo>
                    <a:pt x="102644" y="30720"/>
                  </a:lnTo>
                  <a:lnTo>
                    <a:pt x="101465" y="29857"/>
                  </a:lnTo>
                  <a:lnTo>
                    <a:pt x="99940" y="29823"/>
                  </a:lnTo>
                  <a:lnTo>
                    <a:pt x="95827" y="31039"/>
                  </a:lnTo>
                  <a:lnTo>
                    <a:pt x="92972" y="31172"/>
                  </a:lnTo>
                  <a:lnTo>
                    <a:pt x="91067" y="30782"/>
                  </a:lnTo>
                  <a:lnTo>
                    <a:pt x="88535" y="30045"/>
                  </a:lnTo>
                  <a:lnTo>
                    <a:pt x="83594" y="29929"/>
                  </a:lnTo>
                  <a:lnTo>
                    <a:pt x="80208" y="30577"/>
                  </a:lnTo>
                  <a:lnTo>
                    <a:pt x="79875" y="31479"/>
                  </a:lnTo>
                  <a:lnTo>
                    <a:pt x="76753" y="37134"/>
                  </a:lnTo>
                  <a:lnTo>
                    <a:pt x="72216" y="39215"/>
                  </a:lnTo>
                  <a:lnTo>
                    <a:pt x="68275" y="41347"/>
                  </a:lnTo>
                  <a:lnTo>
                    <a:pt x="67131" y="41778"/>
                  </a:lnTo>
                  <a:lnTo>
                    <a:pt x="65172" y="41109"/>
                  </a:lnTo>
                  <a:lnTo>
                    <a:pt x="62942" y="39843"/>
                  </a:lnTo>
                  <a:lnTo>
                    <a:pt x="61089" y="39185"/>
                  </a:lnTo>
                  <a:lnTo>
                    <a:pt x="59737" y="39475"/>
                  </a:lnTo>
                  <a:lnTo>
                    <a:pt x="58260" y="40909"/>
                  </a:lnTo>
                  <a:lnTo>
                    <a:pt x="57586" y="42362"/>
                  </a:lnTo>
                  <a:lnTo>
                    <a:pt x="53123" y="43425"/>
                  </a:lnTo>
                  <a:lnTo>
                    <a:pt x="45362" y="44053"/>
                  </a:lnTo>
                  <a:lnTo>
                    <a:pt x="42658" y="45479"/>
                  </a:lnTo>
                  <a:lnTo>
                    <a:pt x="41734" y="47195"/>
                  </a:lnTo>
                  <a:lnTo>
                    <a:pt x="41695" y="48514"/>
                  </a:lnTo>
                  <a:lnTo>
                    <a:pt x="42352" y="49635"/>
                  </a:lnTo>
                  <a:lnTo>
                    <a:pt x="41525" y="50941"/>
                  </a:lnTo>
                  <a:lnTo>
                    <a:pt x="41162" y="51486"/>
                  </a:lnTo>
                  <a:lnTo>
                    <a:pt x="35679" y="51772"/>
                  </a:lnTo>
                  <a:lnTo>
                    <a:pt x="28368" y="52153"/>
                  </a:lnTo>
                  <a:lnTo>
                    <a:pt x="23997" y="52056"/>
                  </a:lnTo>
                  <a:lnTo>
                    <a:pt x="19883" y="51964"/>
                  </a:lnTo>
                  <a:lnTo>
                    <a:pt x="17083" y="50845"/>
                  </a:lnTo>
                  <a:lnTo>
                    <a:pt x="13664" y="48657"/>
                  </a:lnTo>
                  <a:lnTo>
                    <a:pt x="10052" y="45743"/>
                  </a:lnTo>
                  <a:lnTo>
                    <a:pt x="9704" y="45675"/>
                  </a:lnTo>
                  <a:lnTo>
                    <a:pt x="9167" y="45365"/>
                  </a:lnTo>
                  <a:lnTo>
                    <a:pt x="6897" y="45147"/>
                  </a:lnTo>
                  <a:lnTo>
                    <a:pt x="6294" y="45319"/>
                  </a:lnTo>
                  <a:lnTo>
                    <a:pt x="4936" y="44371"/>
                  </a:lnTo>
                  <a:lnTo>
                    <a:pt x="4537" y="43137"/>
                  </a:lnTo>
                  <a:lnTo>
                    <a:pt x="2431" y="39892"/>
                  </a:lnTo>
                  <a:lnTo>
                    <a:pt x="60" y="34547"/>
                  </a:lnTo>
                  <a:lnTo>
                    <a:pt x="0" y="33002"/>
                  </a:lnTo>
                  <a:lnTo>
                    <a:pt x="924" y="31241"/>
                  </a:lnTo>
                  <a:lnTo>
                    <a:pt x="1783" y="29895"/>
                  </a:lnTo>
                  <a:lnTo>
                    <a:pt x="1904" y="28826"/>
                  </a:lnTo>
                  <a:lnTo>
                    <a:pt x="2000" y="28535"/>
                  </a:lnTo>
                  <a:lnTo>
                    <a:pt x="2710" y="26316"/>
                  </a:lnTo>
                  <a:lnTo>
                    <a:pt x="4435" y="23362"/>
                  </a:lnTo>
                  <a:lnTo>
                    <a:pt x="6035" y="21645"/>
                  </a:lnTo>
                  <a:lnTo>
                    <a:pt x="7203" y="21078"/>
                  </a:lnTo>
                  <a:lnTo>
                    <a:pt x="9600" y="21595"/>
                  </a:lnTo>
                  <a:lnTo>
                    <a:pt x="13708" y="22023"/>
                  </a:lnTo>
                  <a:lnTo>
                    <a:pt x="16865" y="21622"/>
                  </a:lnTo>
                  <a:lnTo>
                    <a:pt x="19808" y="20304"/>
                  </a:lnTo>
                  <a:lnTo>
                    <a:pt x="21408" y="19150"/>
                  </a:lnTo>
                  <a:lnTo>
                    <a:pt x="22775" y="17937"/>
                  </a:lnTo>
                  <a:lnTo>
                    <a:pt x="23230" y="17150"/>
                  </a:lnTo>
                  <a:lnTo>
                    <a:pt x="23837" y="16772"/>
                  </a:lnTo>
                  <a:lnTo>
                    <a:pt x="26273" y="16071"/>
                  </a:lnTo>
                  <a:lnTo>
                    <a:pt x="27048" y="15254"/>
                  </a:lnTo>
                  <a:lnTo>
                    <a:pt x="27368" y="13706"/>
                  </a:lnTo>
                  <a:lnTo>
                    <a:pt x="27579" y="11978"/>
                  </a:lnTo>
                  <a:lnTo>
                    <a:pt x="28081" y="10698"/>
                  </a:lnTo>
                  <a:lnTo>
                    <a:pt x="28707" y="9759"/>
                  </a:lnTo>
                  <a:lnTo>
                    <a:pt x="33215" y="7501"/>
                  </a:lnTo>
                  <a:lnTo>
                    <a:pt x="33619" y="6708"/>
                  </a:lnTo>
                  <a:lnTo>
                    <a:pt x="34343" y="5934"/>
                  </a:lnTo>
                  <a:lnTo>
                    <a:pt x="35675" y="5069"/>
                  </a:lnTo>
                  <a:lnTo>
                    <a:pt x="36968" y="3819"/>
                  </a:lnTo>
                  <a:lnTo>
                    <a:pt x="38338" y="3051"/>
                  </a:lnTo>
                  <a:lnTo>
                    <a:pt x="40100" y="3137"/>
                  </a:lnTo>
                  <a:lnTo>
                    <a:pt x="41725" y="2978"/>
                  </a:lnTo>
                  <a:lnTo>
                    <a:pt x="42993" y="2541"/>
                  </a:lnTo>
                  <a:lnTo>
                    <a:pt x="43550" y="2496"/>
                  </a:lnTo>
                  <a:lnTo>
                    <a:pt x="45893" y="2855"/>
                  </a:lnTo>
                  <a:lnTo>
                    <a:pt x="46314" y="4290"/>
                  </a:lnTo>
                  <a:lnTo>
                    <a:pt x="46560" y="5782"/>
                  </a:lnTo>
                  <a:lnTo>
                    <a:pt x="50564" y="5674"/>
                  </a:lnTo>
                  <a:lnTo>
                    <a:pt x="52793" y="2478"/>
                  </a:lnTo>
                  <a:lnTo>
                    <a:pt x="53946" y="2092"/>
                  </a:lnTo>
                  <a:lnTo>
                    <a:pt x="55801" y="979"/>
                  </a:lnTo>
                  <a:lnTo>
                    <a:pt x="57025" y="0"/>
                  </a:lnTo>
                  <a:lnTo>
                    <a:pt x="57867" y="613"/>
                  </a:lnTo>
                  <a:lnTo>
                    <a:pt x="59085" y="2669"/>
                  </a:lnTo>
                  <a:lnTo>
                    <a:pt x="60374" y="4323"/>
                  </a:lnTo>
                  <a:lnTo>
                    <a:pt x="61117" y="4976"/>
                  </a:lnTo>
                  <a:lnTo>
                    <a:pt x="61197" y="5484"/>
                  </a:lnTo>
                  <a:lnTo>
                    <a:pt x="61946" y="5788"/>
                  </a:lnTo>
                  <a:lnTo>
                    <a:pt x="63404" y="5972"/>
                  </a:lnTo>
                  <a:lnTo>
                    <a:pt x="64373" y="6472"/>
                  </a:lnTo>
                  <a:lnTo>
                    <a:pt x="64663" y="8008"/>
                  </a:lnTo>
                  <a:lnTo>
                    <a:pt x="64684" y="9399"/>
                  </a:lnTo>
                  <a:lnTo>
                    <a:pt x="64229" y="10393"/>
                  </a:lnTo>
                  <a:lnTo>
                    <a:pt x="63991" y="11275"/>
                  </a:lnTo>
                  <a:lnTo>
                    <a:pt x="65000" y="11620"/>
                  </a:lnTo>
                  <a:lnTo>
                    <a:pt x="66474" y="11286"/>
                  </a:lnTo>
                  <a:lnTo>
                    <a:pt x="67517" y="10789"/>
                  </a:lnTo>
                  <a:lnTo>
                    <a:pt x="70646" y="11935"/>
                  </a:lnTo>
                  <a:lnTo>
                    <a:pt x="71752" y="9376"/>
                  </a:lnTo>
                  <a:lnTo>
                    <a:pt x="72991" y="8069"/>
                  </a:lnTo>
                  <a:lnTo>
                    <a:pt x="74602" y="7461"/>
                  </a:lnTo>
                  <a:lnTo>
                    <a:pt x="76062" y="6662"/>
                  </a:lnTo>
                  <a:lnTo>
                    <a:pt x="77399" y="6097"/>
                  </a:lnTo>
                  <a:lnTo>
                    <a:pt x="78321" y="6130"/>
                  </a:lnTo>
                  <a:lnTo>
                    <a:pt x="78718" y="5894"/>
                  </a:lnTo>
                  <a:lnTo>
                    <a:pt x="79865" y="5955"/>
                  </a:lnTo>
                  <a:lnTo>
                    <a:pt x="81193" y="6213"/>
                  </a:lnTo>
                  <a:lnTo>
                    <a:pt x="82996" y="5912"/>
                  </a:lnTo>
                  <a:lnTo>
                    <a:pt x="85492" y="6536"/>
                  </a:lnTo>
                  <a:lnTo>
                    <a:pt x="87051" y="7718"/>
                  </a:lnTo>
                  <a:lnTo>
                    <a:pt x="88576" y="8118"/>
                  </a:lnTo>
                  <a:lnTo>
                    <a:pt x="90318" y="8049"/>
                  </a:lnTo>
                  <a:lnTo>
                    <a:pt x="91510" y="7398"/>
                  </a:lnTo>
                  <a:lnTo>
                    <a:pt x="93240" y="5150"/>
                  </a:lnTo>
                  <a:lnTo>
                    <a:pt x="94495" y="5186"/>
                  </a:lnTo>
                  <a:lnTo>
                    <a:pt x="96460" y="4830"/>
                  </a:lnTo>
                  <a:lnTo>
                    <a:pt x="99234" y="4850"/>
                  </a:lnTo>
                  <a:lnTo>
                    <a:pt x="105628" y="5331"/>
                  </a:lnTo>
                  <a:lnTo>
                    <a:pt x="107231" y="6192"/>
                  </a:lnTo>
                  <a:lnTo>
                    <a:pt x="111167" y="7294"/>
                  </a:lnTo>
                  <a:lnTo>
                    <a:pt x="112882" y="8565"/>
                  </a:lnTo>
                  <a:lnTo>
                    <a:pt x="113644" y="10082"/>
                  </a:lnTo>
                  <a:lnTo>
                    <a:pt x="114041" y="11128"/>
                  </a:lnTo>
                  <a:lnTo>
                    <a:pt x="118075" y="12738"/>
                  </a:lnTo>
                  <a:lnTo>
                    <a:pt x="124056" y="14793"/>
                  </a:lnTo>
                  <a:close/>
                </a:path>
              </a:pathLst>
            </a:custGeom>
            <a:grpFill/>
            <a:ln w="3175"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37" name="ee4p_SI_1_92573">
              <a:extLst>
                <a:ext uri="{FF2B5EF4-FFF2-40B4-BE49-F238E27FC236}">
                  <a16:creationId xmlns:a16="http://schemas.microsoft.com/office/drawing/2014/main" id="{A0989CE4-6936-48F9-94A6-451F9C8D8B0C}"/>
                </a:ext>
              </a:extLst>
            </p:cNvPr>
            <p:cNvSpPr>
              <a:spLocks noChangeAspect="1"/>
            </p:cNvSpPr>
            <p:nvPr>
              <p:custDataLst>
                <p:tags r:id="rId31"/>
              </p:custDataLst>
            </p:nvPr>
          </p:nvSpPr>
          <p:spPr>
            <a:xfrm>
              <a:off x="4944414" y="4884207"/>
              <a:ext cx="275070" cy="157332"/>
            </a:xfrm>
            <a:custGeom>
              <a:avLst/>
              <a:gdLst/>
              <a:ahLst/>
              <a:cxnLst/>
              <a:rect l="0" t="0" r="0" b="0"/>
              <a:pathLst>
                <a:path w="69388" h="39688">
                  <a:moveTo>
                    <a:pt x="69387" y="10107"/>
                  </a:moveTo>
                  <a:lnTo>
                    <a:pt x="67429" y="9427"/>
                  </a:lnTo>
                  <a:lnTo>
                    <a:pt x="65075" y="9143"/>
                  </a:lnTo>
                  <a:lnTo>
                    <a:pt x="64632" y="9511"/>
                  </a:lnTo>
                  <a:lnTo>
                    <a:pt x="63686" y="9885"/>
                  </a:lnTo>
                  <a:lnTo>
                    <a:pt x="63207" y="10553"/>
                  </a:lnTo>
                  <a:lnTo>
                    <a:pt x="63574" y="13181"/>
                  </a:lnTo>
                  <a:lnTo>
                    <a:pt x="63002" y="13632"/>
                  </a:lnTo>
                  <a:lnTo>
                    <a:pt x="60326" y="13372"/>
                  </a:lnTo>
                  <a:lnTo>
                    <a:pt x="59443" y="13674"/>
                  </a:lnTo>
                  <a:lnTo>
                    <a:pt x="57988" y="15502"/>
                  </a:lnTo>
                  <a:lnTo>
                    <a:pt x="56498" y="16270"/>
                  </a:lnTo>
                  <a:lnTo>
                    <a:pt x="54602" y="16818"/>
                  </a:lnTo>
                  <a:lnTo>
                    <a:pt x="53203" y="17479"/>
                  </a:lnTo>
                  <a:lnTo>
                    <a:pt x="51432" y="18053"/>
                  </a:lnTo>
                  <a:lnTo>
                    <a:pt x="49922" y="18399"/>
                  </a:lnTo>
                  <a:lnTo>
                    <a:pt x="49327" y="19197"/>
                  </a:lnTo>
                  <a:lnTo>
                    <a:pt x="48964" y="20080"/>
                  </a:lnTo>
                  <a:lnTo>
                    <a:pt x="49059" y="20930"/>
                  </a:lnTo>
                  <a:lnTo>
                    <a:pt x="50592" y="22609"/>
                  </a:lnTo>
                  <a:lnTo>
                    <a:pt x="50799" y="24399"/>
                  </a:lnTo>
                  <a:lnTo>
                    <a:pt x="50633" y="26586"/>
                  </a:lnTo>
                  <a:lnTo>
                    <a:pt x="50281" y="27752"/>
                  </a:lnTo>
                  <a:lnTo>
                    <a:pt x="49676" y="28527"/>
                  </a:lnTo>
                  <a:lnTo>
                    <a:pt x="45902" y="29532"/>
                  </a:lnTo>
                  <a:lnTo>
                    <a:pt x="41987" y="31322"/>
                  </a:lnTo>
                  <a:lnTo>
                    <a:pt x="41896" y="31732"/>
                  </a:lnTo>
                  <a:lnTo>
                    <a:pt x="43682" y="33323"/>
                  </a:lnTo>
                  <a:lnTo>
                    <a:pt x="43753" y="33720"/>
                  </a:lnTo>
                  <a:lnTo>
                    <a:pt x="42276" y="34624"/>
                  </a:lnTo>
                  <a:lnTo>
                    <a:pt x="42131" y="35530"/>
                  </a:lnTo>
                  <a:lnTo>
                    <a:pt x="42300" y="36578"/>
                  </a:lnTo>
                  <a:lnTo>
                    <a:pt x="43084" y="37657"/>
                  </a:lnTo>
                  <a:lnTo>
                    <a:pt x="43367" y="38625"/>
                  </a:lnTo>
                  <a:lnTo>
                    <a:pt x="41214" y="39329"/>
                  </a:lnTo>
                  <a:lnTo>
                    <a:pt x="38303" y="39072"/>
                  </a:lnTo>
                  <a:lnTo>
                    <a:pt x="34857" y="37723"/>
                  </a:lnTo>
                  <a:lnTo>
                    <a:pt x="33649" y="37921"/>
                  </a:lnTo>
                  <a:lnTo>
                    <a:pt x="32479" y="38617"/>
                  </a:lnTo>
                  <a:lnTo>
                    <a:pt x="31285" y="38318"/>
                  </a:lnTo>
                  <a:lnTo>
                    <a:pt x="29970" y="37487"/>
                  </a:lnTo>
                  <a:lnTo>
                    <a:pt x="28111" y="35756"/>
                  </a:lnTo>
                  <a:lnTo>
                    <a:pt x="27206" y="34693"/>
                  </a:lnTo>
                  <a:lnTo>
                    <a:pt x="26834" y="33561"/>
                  </a:lnTo>
                  <a:lnTo>
                    <a:pt x="26327" y="33397"/>
                  </a:lnTo>
                  <a:lnTo>
                    <a:pt x="25556" y="33726"/>
                  </a:lnTo>
                  <a:lnTo>
                    <a:pt x="24919" y="35103"/>
                  </a:lnTo>
                  <a:lnTo>
                    <a:pt x="23198" y="37562"/>
                  </a:lnTo>
                  <a:lnTo>
                    <a:pt x="21928" y="38230"/>
                  </a:lnTo>
                  <a:lnTo>
                    <a:pt x="20006" y="38088"/>
                  </a:lnTo>
                  <a:lnTo>
                    <a:pt x="17314" y="38128"/>
                  </a:lnTo>
                  <a:lnTo>
                    <a:pt x="15640" y="38329"/>
                  </a:lnTo>
                  <a:lnTo>
                    <a:pt x="13589" y="37461"/>
                  </a:lnTo>
                  <a:lnTo>
                    <a:pt x="13092" y="37628"/>
                  </a:lnTo>
                  <a:lnTo>
                    <a:pt x="13088" y="38198"/>
                  </a:lnTo>
                  <a:lnTo>
                    <a:pt x="12325" y="39098"/>
                  </a:lnTo>
                  <a:lnTo>
                    <a:pt x="11067" y="39687"/>
                  </a:lnTo>
                  <a:lnTo>
                    <a:pt x="5241" y="38359"/>
                  </a:lnTo>
                  <a:lnTo>
                    <a:pt x="4416" y="37256"/>
                  </a:lnTo>
                  <a:lnTo>
                    <a:pt x="5729" y="36732"/>
                  </a:lnTo>
                  <a:lnTo>
                    <a:pt x="7553" y="35312"/>
                  </a:lnTo>
                  <a:lnTo>
                    <a:pt x="8795" y="35467"/>
                  </a:lnTo>
                  <a:lnTo>
                    <a:pt x="10315" y="35167"/>
                  </a:lnTo>
                  <a:lnTo>
                    <a:pt x="10978" y="34563"/>
                  </a:lnTo>
                  <a:lnTo>
                    <a:pt x="10015" y="32759"/>
                  </a:lnTo>
                  <a:lnTo>
                    <a:pt x="7594" y="30532"/>
                  </a:lnTo>
                  <a:lnTo>
                    <a:pt x="6307" y="29686"/>
                  </a:lnTo>
                  <a:lnTo>
                    <a:pt x="4536" y="29125"/>
                  </a:lnTo>
                  <a:lnTo>
                    <a:pt x="4232" y="28525"/>
                  </a:lnTo>
                  <a:lnTo>
                    <a:pt x="5212" y="25007"/>
                  </a:lnTo>
                  <a:lnTo>
                    <a:pt x="4917" y="24507"/>
                  </a:lnTo>
                  <a:lnTo>
                    <a:pt x="2895" y="24672"/>
                  </a:lnTo>
                  <a:lnTo>
                    <a:pt x="2420" y="24304"/>
                  </a:lnTo>
                  <a:lnTo>
                    <a:pt x="2256" y="23694"/>
                  </a:lnTo>
                  <a:lnTo>
                    <a:pt x="2392" y="22856"/>
                  </a:lnTo>
                  <a:lnTo>
                    <a:pt x="3755" y="21486"/>
                  </a:lnTo>
                  <a:lnTo>
                    <a:pt x="5271" y="20270"/>
                  </a:lnTo>
                  <a:lnTo>
                    <a:pt x="5677" y="19588"/>
                  </a:lnTo>
                  <a:lnTo>
                    <a:pt x="5623" y="19055"/>
                  </a:lnTo>
                  <a:lnTo>
                    <a:pt x="3681" y="18514"/>
                  </a:lnTo>
                  <a:lnTo>
                    <a:pt x="2511" y="17960"/>
                  </a:lnTo>
                  <a:lnTo>
                    <a:pt x="1583" y="17768"/>
                  </a:lnTo>
                  <a:lnTo>
                    <a:pt x="946" y="18079"/>
                  </a:lnTo>
                  <a:lnTo>
                    <a:pt x="473" y="17729"/>
                  </a:lnTo>
                  <a:lnTo>
                    <a:pt x="0" y="16714"/>
                  </a:lnTo>
                  <a:lnTo>
                    <a:pt x="470" y="15165"/>
                  </a:lnTo>
                  <a:lnTo>
                    <a:pt x="2218" y="13733"/>
                  </a:lnTo>
                  <a:lnTo>
                    <a:pt x="4092" y="12461"/>
                  </a:lnTo>
                  <a:lnTo>
                    <a:pt x="5724" y="11533"/>
                  </a:lnTo>
                  <a:lnTo>
                    <a:pt x="6666" y="11135"/>
                  </a:lnTo>
                  <a:lnTo>
                    <a:pt x="7115" y="9542"/>
                  </a:lnTo>
                  <a:lnTo>
                    <a:pt x="8087" y="9708"/>
                  </a:lnTo>
                  <a:lnTo>
                    <a:pt x="10019" y="9793"/>
                  </a:lnTo>
                  <a:lnTo>
                    <a:pt x="12174" y="10155"/>
                  </a:lnTo>
                  <a:lnTo>
                    <a:pt x="14183" y="10599"/>
                  </a:lnTo>
                  <a:lnTo>
                    <a:pt x="15949" y="11162"/>
                  </a:lnTo>
                  <a:lnTo>
                    <a:pt x="19659" y="11750"/>
                  </a:lnTo>
                  <a:lnTo>
                    <a:pt x="23034" y="12105"/>
                  </a:lnTo>
                  <a:lnTo>
                    <a:pt x="24051" y="12432"/>
                  </a:lnTo>
                  <a:lnTo>
                    <a:pt x="24882" y="12407"/>
                  </a:lnTo>
                  <a:lnTo>
                    <a:pt x="25906" y="12887"/>
                  </a:lnTo>
                  <a:lnTo>
                    <a:pt x="26511" y="12520"/>
                  </a:lnTo>
                  <a:lnTo>
                    <a:pt x="26949" y="11878"/>
                  </a:lnTo>
                  <a:lnTo>
                    <a:pt x="28789" y="11120"/>
                  </a:lnTo>
                  <a:lnTo>
                    <a:pt x="30482" y="10129"/>
                  </a:lnTo>
                  <a:lnTo>
                    <a:pt x="31672" y="8867"/>
                  </a:lnTo>
                  <a:lnTo>
                    <a:pt x="32337" y="7870"/>
                  </a:lnTo>
                  <a:lnTo>
                    <a:pt x="33501" y="7163"/>
                  </a:lnTo>
                  <a:lnTo>
                    <a:pt x="34742" y="6959"/>
                  </a:lnTo>
                  <a:lnTo>
                    <a:pt x="35876" y="6605"/>
                  </a:lnTo>
                  <a:lnTo>
                    <a:pt x="40659" y="6133"/>
                  </a:lnTo>
                  <a:lnTo>
                    <a:pt x="45573" y="6503"/>
                  </a:lnTo>
                  <a:lnTo>
                    <a:pt x="47919" y="5808"/>
                  </a:lnTo>
                  <a:lnTo>
                    <a:pt x="49849" y="4590"/>
                  </a:lnTo>
                  <a:lnTo>
                    <a:pt x="52671" y="4248"/>
                  </a:lnTo>
                  <a:lnTo>
                    <a:pt x="52818" y="4233"/>
                  </a:lnTo>
                  <a:lnTo>
                    <a:pt x="57036" y="5169"/>
                  </a:lnTo>
                  <a:lnTo>
                    <a:pt x="57360" y="4624"/>
                  </a:lnTo>
                  <a:lnTo>
                    <a:pt x="57541" y="4384"/>
                  </a:lnTo>
                  <a:lnTo>
                    <a:pt x="57461" y="1725"/>
                  </a:lnTo>
                  <a:lnTo>
                    <a:pt x="58796" y="514"/>
                  </a:lnTo>
                  <a:lnTo>
                    <a:pt x="60031" y="0"/>
                  </a:lnTo>
                  <a:lnTo>
                    <a:pt x="64244" y="168"/>
                  </a:lnTo>
                  <a:lnTo>
                    <a:pt x="64794" y="984"/>
                  </a:lnTo>
                  <a:lnTo>
                    <a:pt x="65015" y="2250"/>
                  </a:lnTo>
                  <a:lnTo>
                    <a:pt x="65390" y="3945"/>
                  </a:lnTo>
                  <a:lnTo>
                    <a:pt x="66092" y="4413"/>
                  </a:lnTo>
                  <a:lnTo>
                    <a:pt x="66476" y="5080"/>
                  </a:lnTo>
                  <a:lnTo>
                    <a:pt x="66403" y="6252"/>
                  </a:lnTo>
                  <a:lnTo>
                    <a:pt x="67226" y="7126"/>
                  </a:lnTo>
                  <a:lnTo>
                    <a:pt x="69154" y="9492"/>
                  </a:lnTo>
                  <a:close/>
                </a:path>
              </a:pathLst>
            </a:custGeom>
            <a:grpFill/>
            <a:ln w="3175"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38" name="ee4p_SE_1_92573">
              <a:extLst>
                <a:ext uri="{FF2B5EF4-FFF2-40B4-BE49-F238E27FC236}">
                  <a16:creationId xmlns:a16="http://schemas.microsoft.com/office/drawing/2014/main" id="{6867B242-0EE0-4F63-B7C0-0ABB0B77EC56}"/>
                </a:ext>
              </a:extLst>
            </p:cNvPr>
            <p:cNvSpPr>
              <a:spLocks noChangeAspect="1"/>
            </p:cNvSpPr>
            <p:nvPr>
              <p:custDataLst>
                <p:tags r:id="rId32"/>
              </p:custDataLst>
            </p:nvPr>
          </p:nvSpPr>
          <p:spPr>
            <a:xfrm>
              <a:off x="4748846" y="2030905"/>
              <a:ext cx="1140275" cy="1868306"/>
            </a:xfrm>
            <a:custGeom>
              <a:avLst/>
              <a:gdLst>
                <a:gd name="connsiteX0" fmla="*/ 129980 w 287641"/>
                <a:gd name="connsiteY0" fmla="*/ 408700 h 471291"/>
                <a:gd name="connsiteX1" fmla="*/ 131392 w 287641"/>
                <a:gd name="connsiteY1" fmla="*/ 409106 h 471291"/>
                <a:gd name="connsiteX2" fmla="*/ 132021 w 287641"/>
                <a:gd name="connsiteY2" fmla="*/ 409502 h 471291"/>
                <a:gd name="connsiteX3" fmla="*/ 130533 w 287641"/>
                <a:gd name="connsiteY3" fmla="*/ 410751 h 471291"/>
                <a:gd name="connsiteX4" fmla="*/ 130706 w 287641"/>
                <a:gd name="connsiteY4" fmla="*/ 412376 h 471291"/>
                <a:gd name="connsiteX5" fmla="*/ 130602 w 287641"/>
                <a:gd name="connsiteY5" fmla="*/ 413049 h 471291"/>
                <a:gd name="connsiteX6" fmla="*/ 126847 w 287641"/>
                <a:gd name="connsiteY6" fmla="*/ 420100 h 471291"/>
                <a:gd name="connsiteX7" fmla="*/ 125843 w 287641"/>
                <a:gd name="connsiteY7" fmla="*/ 424667 h 471291"/>
                <a:gd name="connsiteX8" fmla="*/ 124511 w 287641"/>
                <a:gd name="connsiteY8" fmla="*/ 425780 h 471291"/>
                <a:gd name="connsiteX9" fmla="*/ 118993 w 287641"/>
                <a:gd name="connsiteY9" fmla="*/ 441942 h 471291"/>
                <a:gd name="connsiteX10" fmla="*/ 117858 w 287641"/>
                <a:gd name="connsiteY10" fmla="*/ 443517 h 471291"/>
                <a:gd name="connsiteX11" fmla="*/ 116851 w 287641"/>
                <a:gd name="connsiteY11" fmla="*/ 443406 h 471291"/>
                <a:gd name="connsiteX12" fmla="*/ 116180 w 287641"/>
                <a:gd name="connsiteY12" fmla="*/ 441305 h 471291"/>
                <a:gd name="connsiteX13" fmla="*/ 116022 w 287641"/>
                <a:gd name="connsiteY13" fmla="*/ 435892 h 471291"/>
                <a:gd name="connsiteX14" fmla="*/ 116424 w 287641"/>
                <a:gd name="connsiteY14" fmla="*/ 433213 h 471291"/>
                <a:gd name="connsiteX15" fmla="*/ 121246 w 287641"/>
                <a:gd name="connsiteY15" fmla="*/ 423521 h 471291"/>
                <a:gd name="connsiteX16" fmla="*/ 123398 w 287641"/>
                <a:gd name="connsiteY16" fmla="*/ 422728 h 471291"/>
                <a:gd name="connsiteX17" fmla="*/ 126426 w 287641"/>
                <a:gd name="connsiteY17" fmla="*/ 416765 h 471291"/>
                <a:gd name="connsiteX18" fmla="*/ 127242 w 287641"/>
                <a:gd name="connsiteY18" fmla="*/ 414108 h 471291"/>
                <a:gd name="connsiteX19" fmla="*/ 128555 w 287641"/>
                <a:gd name="connsiteY19" fmla="*/ 411712 h 471291"/>
                <a:gd name="connsiteX20" fmla="*/ 129330 w 287641"/>
                <a:gd name="connsiteY20" fmla="*/ 409567 h 471291"/>
                <a:gd name="connsiteX21" fmla="*/ 171445 w 287641"/>
                <a:gd name="connsiteY21" fmla="*/ 390509 h 471291"/>
                <a:gd name="connsiteX22" fmla="*/ 172680 w 287641"/>
                <a:gd name="connsiteY22" fmla="*/ 391004 h 471291"/>
                <a:gd name="connsiteX23" fmla="*/ 175334 w 287641"/>
                <a:gd name="connsiteY23" fmla="*/ 393055 h 471291"/>
                <a:gd name="connsiteX24" fmla="*/ 173505 w 287641"/>
                <a:gd name="connsiteY24" fmla="*/ 393817 h 471291"/>
                <a:gd name="connsiteX25" fmla="*/ 172429 w 287641"/>
                <a:gd name="connsiteY25" fmla="*/ 396070 h 471291"/>
                <a:gd name="connsiteX26" fmla="*/ 170948 w 287641"/>
                <a:gd name="connsiteY26" fmla="*/ 396450 h 471291"/>
                <a:gd name="connsiteX27" fmla="*/ 169527 w 287641"/>
                <a:gd name="connsiteY27" fmla="*/ 397201 h 471291"/>
                <a:gd name="connsiteX28" fmla="*/ 169020 w 287641"/>
                <a:gd name="connsiteY28" fmla="*/ 404312 h 471291"/>
                <a:gd name="connsiteX29" fmla="*/ 171607 w 287641"/>
                <a:gd name="connsiteY29" fmla="*/ 407008 h 471291"/>
                <a:gd name="connsiteX30" fmla="*/ 170186 w 287641"/>
                <a:gd name="connsiteY30" fmla="*/ 407385 h 471291"/>
                <a:gd name="connsiteX31" fmla="*/ 168886 w 287641"/>
                <a:gd name="connsiteY31" fmla="*/ 408192 h 471291"/>
                <a:gd name="connsiteX32" fmla="*/ 167957 w 287641"/>
                <a:gd name="connsiteY32" fmla="*/ 409384 h 471291"/>
                <a:gd name="connsiteX33" fmla="*/ 167007 w 287641"/>
                <a:gd name="connsiteY33" fmla="*/ 411948 h 471291"/>
                <a:gd name="connsiteX34" fmla="*/ 163438 w 287641"/>
                <a:gd name="connsiteY34" fmla="*/ 413400 h 471291"/>
                <a:gd name="connsiteX35" fmla="*/ 162086 w 287641"/>
                <a:gd name="connsiteY35" fmla="*/ 414474 h 471291"/>
                <a:gd name="connsiteX36" fmla="*/ 160093 w 287641"/>
                <a:gd name="connsiteY36" fmla="*/ 416861 h 471291"/>
                <a:gd name="connsiteX37" fmla="*/ 159054 w 287641"/>
                <a:gd name="connsiteY37" fmla="*/ 420321 h 471291"/>
                <a:gd name="connsiteX38" fmla="*/ 157035 w 287641"/>
                <a:gd name="connsiteY38" fmla="*/ 421795 h 471291"/>
                <a:gd name="connsiteX39" fmla="*/ 154768 w 287641"/>
                <a:gd name="connsiteY39" fmla="*/ 422144 h 471291"/>
                <a:gd name="connsiteX40" fmla="*/ 156098 w 287641"/>
                <a:gd name="connsiteY40" fmla="*/ 419312 h 471291"/>
                <a:gd name="connsiteX41" fmla="*/ 157841 w 287641"/>
                <a:gd name="connsiteY41" fmla="*/ 417002 h 471291"/>
                <a:gd name="connsiteX42" fmla="*/ 156165 w 287641"/>
                <a:gd name="connsiteY42" fmla="*/ 415416 h 471291"/>
                <a:gd name="connsiteX43" fmla="*/ 155156 w 287641"/>
                <a:gd name="connsiteY43" fmla="*/ 412931 h 471291"/>
                <a:gd name="connsiteX44" fmla="*/ 153855 w 287641"/>
                <a:gd name="connsiteY44" fmla="*/ 411024 h 471291"/>
                <a:gd name="connsiteX45" fmla="*/ 154891 w 287641"/>
                <a:gd name="connsiteY45" fmla="*/ 408891 h 471291"/>
                <a:gd name="connsiteX46" fmla="*/ 154381 w 287641"/>
                <a:gd name="connsiteY46" fmla="*/ 405391 h 471291"/>
                <a:gd name="connsiteX47" fmla="*/ 154550 w 287641"/>
                <a:gd name="connsiteY47" fmla="*/ 401970 h 471291"/>
                <a:gd name="connsiteX48" fmla="*/ 156061 w 287641"/>
                <a:gd name="connsiteY48" fmla="*/ 400241 h 471291"/>
                <a:gd name="connsiteX49" fmla="*/ 157793 w 287641"/>
                <a:gd name="connsiteY49" fmla="*/ 398831 h 471291"/>
                <a:gd name="connsiteX50" fmla="*/ 160490 w 287641"/>
                <a:gd name="connsiteY50" fmla="*/ 395583 h 471291"/>
                <a:gd name="connsiteX51" fmla="*/ 163414 w 287641"/>
                <a:gd name="connsiteY51" fmla="*/ 393226 h 471291"/>
                <a:gd name="connsiteX52" fmla="*/ 167493 w 287641"/>
                <a:gd name="connsiteY52" fmla="*/ 392166 h 471291"/>
                <a:gd name="connsiteX53" fmla="*/ 169335 w 287641"/>
                <a:gd name="connsiteY53" fmla="*/ 393143 h 471291"/>
                <a:gd name="connsiteX54" fmla="*/ 170130 w 287641"/>
                <a:gd name="connsiteY54" fmla="*/ 390998 h 471291"/>
                <a:gd name="connsiteX55" fmla="*/ 176625 w 287641"/>
                <a:gd name="connsiteY55" fmla="*/ 388398 h 471291"/>
                <a:gd name="connsiteX56" fmla="*/ 179860 w 287641"/>
                <a:gd name="connsiteY56" fmla="*/ 388520 h 471291"/>
                <a:gd name="connsiteX57" fmla="*/ 180972 w 287641"/>
                <a:gd name="connsiteY57" fmla="*/ 388990 h 471291"/>
                <a:gd name="connsiteX58" fmla="*/ 177100 w 287641"/>
                <a:gd name="connsiteY58" fmla="*/ 390280 h 471291"/>
                <a:gd name="connsiteX59" fmla="*/ 176703 w 287641"/>
                <a:gd name="connsiteY59" fmla="*/ 392277 h 471291"/>
                <a:gd name="connsiteX60" fmla="*/ 175556 w 287641"/>
                <a:gd name="connsiteY60" fmla="*/ 392125 h 471291"/>
                <a:gd name="connsiteX61" fmla="*/ 174511 w 287641"/>
                <a:gd name="connsiteY61" fmla="*/ 390651 h 471291"/>
                <a:gd name="connsiteX62" fmla="*/ 161812 w 287641"/>
                <a:gd name="connsiteY62" fmla="*/ 351984 h 471291"/>
                <a:gd name="connsiteX63" fmla="*/ 162267 w 287641"/>
                <a:gd name="connsiteY63" fmla="*/ 352091 h 471291"/>
                <a:gd name="connsiteX64" fmla="*/ 160734 w 287641"/>
                <a:gd name="connsiteY64" fmla="*/ 354550 h 471291"/>
                <a:gd name="connsiteX65" fmla="*/ 159754 w 287641"/>
                <a:gd name="connsiteY65" fmla="*/ 354860 h 471291"/>
                <a:gd name="connsiteX66" fmla="*/ 159268 w 287641"/>
                <a:gd name="connsiteY66" fmla="*/ 354762 h 471291"/>
                <a:gd name="connsiteX67" fmla="*/ 159873 w 287641"/>
                <a:gd name="connsiteY67" fmla="*/ 353249 h 471291"/>
                <a:gd name="connsiteX68" fmla="*/ 160322 w 287641"/>
                <a:gd name="connsiteY68" fmla="*/ 352596 h 471291"/>
                <a:gd name="connsiteX69" fmla="*/ 165261 w 287641"/>
                <a:gd name="connsiteY69" fmla="*/ 337596 h 471291"/>
                <a:gd name="connsiteX70" fmla="*/ 166975 w 287641"/>
                <a:gd name="connsiteY70" fmla="*/ 338028 h 471291"/>
                <a:gd name="connsiteX71" fmla="*/ 166964 w 287641"/>
                <a:gd name="connsiteY71" fmla="*/ 338356 h 471291"/>
                <a:gd name="connsiteX72" fmla="*/ 165325 w 287641"/>
                <a:gd name="connsiteY72" fmla="*/ 339420 h 471291"/>
                <a:gd name="connsiteX73" fmla="*/ 164697 w 287641"/>
                <a:gd name="connsiteY73" fmla="*/ 340135 h 471291"/>
                <a:gd name="connsiteX74" fmla="*/ 164142 w 287641"/>
                <a:gd name="connsiteY74" fmla="*/ 341220 h 471291"/>
                <a:gd name="connsiteX75" fmla="*/ 163585 w 287641"/>
                <a:gd name="connsiteY75" fmla="*/ 339890 h 471291"/>
                <a:gd name="connsiteX76" fmla="*/ 163807 w 287641"/>
                <a:gd name="connsiteY76" fmla="*/ 339630 h 471291"/>
                <a:gd name="connsiteX77" fmla="*/ 164187 w 287641"/>
                <a:gd name="connsiteY77" fmla="*/ 338316 h 471291"/>
                <a:gd name="connsiteX78" fmla="*/ 209512 w 287641"/>
                <a:gd name="connsiteY78" fmla="*/ 0 h 471291"/>
                <a:gd name="connsiteX79" fmla="*/ 215548 w 287641"/>
                <a:gd name="connsiteY79" fmla="*/ 2210 h 471291"/>
                <a:gd name="connsiteX80" fmla="*/ 215812 w 287641"/>
                <a:gd name="connsiteY80" fmla="*/ 2688 h 471291"/>
                <a:gd name="connsiteX81" fmla="*/ 215855 w 287641"/>
                <a:gd name="connsiteY81" fmla="*/ 3839 h 471291"/>
                <a:gd name="connsiteX82" fmla="*/ 216066 w 287641"/>
                <a:gd name="connsiteY82" fmla="*/ 5031 h 471291"/>
                <a:gd name="connsiteX83" fmla="*/ 221923 w 287641"/>
                <a:gd name="connsiteY83" fmla="*/ 8050 h 471291"/>
                <a:gd name="connsiteX84" fmla="*/ 223611 w 287641"/>
                <a:gd name="connsiteY84" fmla="*/ 9646 h 471291"/>
                <a:gd name="connsiteX85" fmla="*/ 227207 w 287641"/>
                <a:gd name="connsiteY85" fmla="*/ 12069 h 471291"/>
                <a:gd name="connsiteX86" fmla="*/ 228159 w 287641"/>
                <a:gd name="connsiteY86" fmla="*/ 13376 h 471291"/>
                <a:gd name="connsiteX87" fmla="*/ 231489 w 287641"/>
                <a:gd name="connsiteY87" fmla="*/ 14904 h 471291"/>
                <a:gd name="connsiteX88" fmla="*/ 233877 w 287641"/>
                <a:gd name="connsiteY88" fmla="*/ 16536 h 471291"/>
                <a:gd name="connsiteX89" fmla="*/ 236667 w 287641"/>
                <a:gd name="connsiteY89" fmla="*/ 17859 h 471291"/>
                <a:gd name="connsiteX90" fmla="*/ 239923 w 287641"/>
                <a:gd name="connsiteY90" fmla="*/ 19914 h 471291"/>
                <a:gd name="connsiteX91" fmla="*/ 244294 w 287641"/>
                <a:gd name="connsiteY91" fmla="*/ 21549 h 471291"/>
                <a:gd name="connsiteX92" fmla="*/ 247986 w 287641"/>
                <a:gd name="connsiteY92" fmla="*/ 22082 h 471291"/>
                <a:gd name="connsiteX93" fmla="*/ 257280 w 287641"/>
                <a:gd name="connsiteY93" fmla="*/ 24881 h 471291"/>
                <a:gd name="connsiteX94" fmla="*/ 258865 w 287641"/>
                <a:gd name="connsiteY94" fmla="*/ 25787 h 471291"/>
                <a:gd name="connsiteX95" fmla="*/ 261547 w 287641"/>
                <a:gd name="connsiteY95" fmla="*/ 27732 h 471291"/>
                <a:gd name="connsiteX96" fmla="*/ 264255 w 287641"/>
                <a:gd name="connsiteY96" fmla="*/ 29982 h 471291"/>
                <a:gd name="connsiteX97" fmla="*/ 266127 w 287641"/>
                <a:gd name="connsiteY97" fmla="*/ 34594 h 471291"/>
                <a:gd name="connsiteX98" fmla="*/ 269136 w 287641"/>
                <a:gd name="connsiteY98" fmla="*/ 34834 h 471291"/>
                <a:gd name="connsiteX99" fmla="*/ 269952 w 287641"/>
                <a:gd name="connsiteY99" fmla="*/ 36419 h 471291"/>
                <a:gd name="connsiteX100" fmla="*/ 272578 w 287641"/>
                <a:gd name="connsiteY100" fmla="*/ 39132 h 471291"/>
                <a:gd name="connsiteX101" fmla="*/ 276218 w 287641"/>
                <a:gd name="connsiteY101" fmla="*/ 41522 h 471291"/>
                <a:gd name="connsiteX102" fmla="*/ 276087 w 287641"/>
                <a:gd name="connsiteY102" fmla="*/ 42326 h 471291"/>
                <a:gd name="connsiteX103" fmla="*/ 273189 w 287641"/>
                <a:gd name="connsiteY103" fmla="*/ 44525 h 471291"/>
                <a:gd name="connsiteX104" fmla="*/ 272878 w 287641"/>
                <a:gd name="connsiteY104" fmla="*/ 47502 h 471291"/>
                <a:gd name="connsiteX105" fmla="*/ 273152 w 287641"/>
                <a:gd name="connsiteY105" fmla="*/ 51297 h 471291"/>
                <a:gd name="connsiteX106" fmla="*/ 274061 w 287641"/>
                <a:gd name="connsiteY106" fmla="*/ 54386 h 471291"/>
                <a:gd name="connsiteX107" fmla="*/ 273966 w 287641"/>
                <a:gd name="connsiteY107" fmla="*/ 55288 h 471291"/>
                <a:gd name="connsiteX108" fmla="*/ 273247 w 287641"/>
                <a:gd name="connsiteY108" fmla="*/ 56351 h 471291"/>
                <a:gd name="connsiteX109" fmla="*/ 272383 w 287641"/>
                <a:gd name="connsiteY109" fmla="*/ 58019 h 471291"/>
                <a:gd name="connsiteX110" fmla="*/ 272075 w 287641"/>
                <a:gd name="connsiteY110" fmla="*/ 59473 h 471291"/>
                <a:gd name="connsiteX111" fmla="*/ 272150 w 287641"/>
                <a:gd name="connsiteY111" fmla="*/ 60186 h 471291"/>
                <a:gd name="connsiteX112" fmla="*/ 272442 w 287641"/>
                <a:gd name="connsiteY112" fmla="*/ 60573 h 471291"/>
                <a:gd name="connsiteX113" fmla="*/ 273968 w 287641"/>
                <a:gd name="connsiteY113" fmla="*/ 60602 h 471291"/>
                <a:gd name="connsiteX114" fmla="*/ 276704 w 287641"/>
                <a:gd name="connsiteY114" fmla="*/ 60945 h 471291"/>
                <a:gd name="connsiteX115" fmla="*/ 278313 w 287641"/>
                <a:gd name="connsiteY115" fmla="*/ 61590 h 471291"/>
                <a:gd name="connsiteX116" fmla="*/ 279226 w 287641"/>
                <a:gd name="connsiteY116" fmla="*/ 65128 h 471291"/>
                <a:gd name="connsiteX117" fmla="*/ 278918 w 287641"/>
                <a:gd name="connsiteY117" fmla="*/ 65807 h 471291"/>
                <a:gd name="connsiteX118" fmla="*/ 276611 w 287641"/>
                <a:gd name="connsiteY118" fmla="*/ 67406 h 471291"/>
                <a:gd name="connsiteX119" fmla="*/ 275935 w 287641"/>
                <a:gd name="connsiteY119" fmla="*/ 68675 h 471291"/>
                <a:gd name="connsiteX120" fmla="*/ 275869 w 287641"/>
                <a:gd name="connsiteY120" fmla="*/ 70538 h 471291"/>
                <a:gd name="connsiteX121" fmla="*/ 276277 w 287641"/>
                <a:gd name="connsiteY121" fmla="*/ 72584 h 471291"/>
                <a:gd name="connsiteX122" fmla="*/ 277069 w 287641"/>
                <a:gd name="connsiteY122" fmla="*/ 74871 h 471291"/>
                <a:gd name="connsiteX123" fmla="*/ 278874 w 287641"/>
                <a:gd name="connsiteY123" fmla="*/ 77315 h 471291"/>
                <a:gd name="connsiteX124" fmla="*/ 281314 w 287641"/>
                <a:gd name="connsiteY124" fmla="*/ 79867 h 471291"/>
                <a:gd name="connsiteX125" fmla="*/ 282917 w 287641"/>
                <a:gd name="connsiteY125" fmla="*/ 81958 h 471291"/>
                <a:gd name="connsiteX126" fmla="*/ 283675 w 287641"/>
                <a:gd name="connsiteY126" fmla="*/ 83430 h 471291"/>
                <a:gd name="connsiteX127" fmla="*/ 283951 w 287641"/>
                <a:gd name="connsiteY127" fmla="*/ 84458 h 471291"/>
                <a:gd name="connsiteX128" fmla="*/ 282852 w 287641"/>
                <a:gd name="connsiteY128" fmla="*/ 85750 h 471291"/>
                <a:gd name="connsiteX129" fmla="*/ 281863 w 287641"/>
                <a:gd name="connsiteY129" fmla="*/ 88303 h 471291"/>
                <a:gd name="connsiteX130" fmla="*/ 281679 w 287641"/>
                <a:gd name="connsiteY130" fmla="*/ 91223 h 471291"/>
                <a:gd name="connsiteX131" fmla="*/ 281230 w 287641"/>
                <a:gd name="connsiteY131" fmla="*/ 93125 h 471291"/>
                <a:gd name="connsiteX132" fmla="*/ 279081 w 287641"/>
                <a:gd name="connsiteY132" fmla="*/ 95739 h 471291"/>
                <a:gd name="connsiteX133" fmla="*/ 277596 w 287641"/>
                <a:gd name="connsiteY133" fmla="*/ 96665 h 471291"/>
                <a:gd name="connsiteX134" fmla="*/ 277173 w 287641"/>
                <a:gd name="connsiteY134" fmla="*/ 98043 h 471291"/>
                <a:gd name="connsiteX135" fmla="*/ 276991 w 287641"/>
                <a:gd name="connsiteY135" fmla="*/ 100353 h 471291"/>
                <a:gd name="connsiteX136" fmla="*/ 277427 w 287641"/>
                <a:gd name="connsiteY136" fmla="*/ 103166 h 471291"/>
                <a:gd name="connsiteX137" fmla="*/ 277577 w 287641"/>
                <a:gd name="connsiteY137" fmla="*/ 105065 h 471291"/>
                <a:gd name="connsiteX138" fmla="*/ 278034 w 287641"/>
                <a:gd name="connsiteY138" fmla="*/ 106431 h 471291"/>
                <a:gd name="connsiteX139" fmla="*/ 278708 w 287641"/>
                <a:gd name="connsiteY139" fmla="*/ 107322 h 471291"/>
                <a:gd name="connsiteX140" fmla="*/ 282155 w 287641"/>
                <a:gd name="connsiteY140" fmla="*/ 108897 h 471291"/>
                <a:gd name="connsiteX141" fmla="*/ 284085 w 287641"/>
                <a:gd name="connsiteY141" fmla="*/ 112118 h 471291"/>
                <a:gd name="connsiteX142" fmla="*/ 285288 w 287641"/>
                <a:gd name="connsiteY142" fmla="*/ 114698 h 471291"/>
                <a:gd name="connsiteX143" fmla="*/ 287641 w 287641"/>
                <a:gd name="connsiteY143" fmla="*/ 121435 h 471291"/>
                <a:gd name="connsiteX144" fmla="*/ 281783 w 287641"/>
                <a:gd name="connsiteY144" fmla="*/ 122275 h 471291"/>
                <a:gd name="connsiteX145" fmla="*/ 277380 w 287641"/>
                <a:gd name="connsiteY145" fmla="*/ 120588 h 471291"/>
                <a:gd name="connsiteX146" fmla="*/ 275184 w 287641"/>
                <a:gd name="connsiteY146" fmla="*/ 121433 h 471291"/>
                <a:gd name="connsiteX147" fmla="*/ 271342 w 287641"/>
                <a:gd name="connsiteY147" fmla="*/ 121469 h 471291"/>
                <a:gd name="connsiteX148" fmla="*/ 266980 w 287641"/>
                <a:gd name="connsiteY148" fmla="*/ 122133 h 471291"/>
                <a:gd name="connsiteX149" fmla="*/ 265510 w 287641"/>
                <a:gd name="connsiteY149" fmla="*/ 123452 h 471291"/>
                <a:gd name="connsiteX150" fmla="*/ 264354 w 287641"/>
                <a:gd name="connsiteY150" fmla="*/ 123982 h 471291"/>
                <a:gd name="connsiteX151" fmla="*/ 260308 w 287641"/>
                <a:gd name="connsiteY151" fmla="*/ 122120 h 471291"/>
                <a:gd name="connsiteX152" fmla="*/ 256488 w 287641"/>
                <a:gd name="connsiteY152" fmla="*/ 119040 h 471291"/>
                <a:gd name="connsiteX153" fmla="*/ 253696 w 287641"/>
                <a:gd name="connsiteY153" fmla="*/ 121389 h 471291"/>
                <a:gd name="connsiteX154" fmla="*/ 251889 w 287641"/>
                <a:gd name="connsiteY154" fmla="*/ 121834 h 471291"/>
                <a:gd name="connsiteX155" fmla="*/ 250265 w 287641"/>
                <a:gd name="connsiteY155" fmla="*/ 119708 h 471291"/>
                <a:gd name="connsiteX156" fmla="*/ 248846 w 287641"/>
                <a:gd name="connsiteY156" fmla="*/ 119363 h 471291"/>
                <a:gd name="connsiteX157" fmla="*/ 248079 w 287641"/>
                <a:gd name="connsiteY157" fmla="*/ 120072 h 471291"/>
                <a:gd name="connsiteX158" fmla="*/ 247408 w 287641"/>
                <a:gd name="connsiteY158" fmla="*/ 121949 h 471291"/>
                <a:gd name="connsiteX159" fmla="*/ 246339 w 287641"/>
                <a:gd name="connsiteY159" fmla="*/ 123425 h 471291"/>
                <a:gd name="connsiteX160" fmla="*/ 246060 w 287641"/>
                <a:gd name="connsiteY160" fmla="*/ 124359 h 471291"/>
                <a:gd name="connsiteX161" fmla="*/ 245875 w 287641"/>
                <a:gd name="connsiteY161" fmla="*/ 128120 h 471291"/>
                <a:gd name="connsiteX162" fmla="*/ 245596 w 287641"/>
                <a:gd name="connsiteY162" fmla="*/ 128991 h 471291"/>
                <a:gd name="connsiteX163" fmla="*/ 241886 w 287641"/>
                <a:gd name="connsiteY163" fmla="*/ 128505 h 471291"/>
                <a:gd name="connsiteX164" fmla="*/ 242109 w 287641"/>
                <a:gd name="connsiteY164" fmla="*/ 129491 h 471291"/>
                <a:gd name="connsiteX165" fmla="*/ 242916 w 287641"/>
                <a:gd name="connsiteY165" fmla="*/ 129987 h 471291"/>
                <a:gd name="connsiteX166" fmla="*/ 243242 w 287641"/>
                <a:gd name="connsiteY166" fmla="*/ 130612 h 471291"/>
                <a:gd name="connsiteX167" fmla="*/ 241897 w 287641"/>
                <a:gd name="connsiteY167" fmla="*/ 131433 h 471291"/>
                <a:gd name="connsiteX168" fmla="*/ 238213 w 287641"/>
                <a:gd name="connsiteY168" fmla="*/ 131356 h 471291"/>
                <a:gd name="connsiteX169" fmla="*/ 237837 w 287641"/>
                <a:gd name="connsiteY169" fmla="*/ 132227 h 471291"/>
                <a:gd name="connsiteX170" fmla="*/ 238874 w 287641"/>
                <a:gd name="connsiteY170" fmla="*/ 133603 h 471291"/>
                <a:gd name="connsiteX171" fmla="*/ 238066 w 287641"/>
                <a:gd name="connsiteY171" fmla="*/ 134807 h 471291"/>
                <a:gd name="connsiteX172" fmla="*/ 237317 w 287641"/>
                <a:gd name="connsiteY172" fmla="*/ 135281 h 471291"/>
                <a:gd name="connsiteX173" fmla="*/ 232918 w 287641"/>
                <a:gd name="connsiteY173" fmla="*/ 136028 h 471291"/>
                <a:gd name="connsiteX174" fmla="*/ 230372 w 287641"/>
                <a:gd name="connsiteY174" fmla="*/ 135857 h 471291"/>
                <a:gd name="connsiteX175" fmla="*/ 229645 w 287641"/>
                <a:gd name="connsiteY175" fmla="*/ 136636 h 471291"/>
                <a:gd name="connsiteX176" fmla="*/ 229441 w 287641"/>
                <a:gd name="connsiteY176" fmla="*/ 137647 h 471291"/>
                <a:gd name="connsiteX177" fmla="*/ 229923 w 287641"/>
                <a:gd name="connsiteY177" fmla="*/ 138639 h 471291"/>
                <a:gd name="connsiteX178" fmla="*/ 231046 w 287641"/>
                <a:gd name="connsiteY178" fmla="*/ 139167 h 471291"/>
                <a:gd name="connsiteX179" fmla="*/ 231415 w 287641"/>
                <a:gd name="connsiteY179" fmla="*/ 139796 h 471291"/>
                <a:gd name="connsiteX180" fmla="*/ 231338 w 287641"/>
                <a:gd name="connsiteY180" fmla="*/ 141158 h 471291"/>
                <a:gd name="connsiteX181" fmla="*/ 230403 w 287641"/>
                <a:gd name="connsiteY181" fmla="*/ 141405 h 471291"/>
                <a:gd name="connsiteX182" fmla="*/ 227749 w 287641"/>
                <a:gd name="connsiteY182" fmla="*/ 139012 h 471291"/>
                <a:gd name="connsiteX183" fmla="*/ 226941 w 287641"/>
                <a:gd name="connsiteY183" fmla="*/ 139135 h 471291"/>
                <a:gd name="connsiteX184" fmla="*/ 227548 w 287641"/>
                <a:gd name="connsiteY184" fmla="*/ 140380 h 471291"/>
                <a:gd name="connsiteX185" fmla="*/ 229064 w 287641"/>
                <a:gd name="connsiteY185" fmla="*/ 141736 h 471291"/>
                <a:gd name="connsiteX186" fmla="*/ 229940 w 287641"/>
                <a:gd name="connsiteY186" fmla="*/ 143120 h 471291"/>
                <a:gd name="connsiteX187" fmla="*/ 230707 w 287641"/>
                <a:gd name="connsiteY187" fmla="*/ 144785 h 471291"/>
                <a:gd name="connsiteX188" fmla="*/ 230558 w 287641"/>
                <a:gd name="connsiteY188" fmla="*/ 146046 h 471291"/>
                <a:gd name="connsiteX189" fmla="*/ 227263 w 287641"/>
                <a:gd name="connsiteY189" fmla="*/ 150112 h 471291"/>
                <a:gd name="connsiteX190" fmla="*/ 224363 w 287641"/>
                <a:gd name="connsiteY190" fmla="*/ 152677 h 471291"/>
                <a:gd name="connsiteX191" fmla="*/ 222199 w 287641"/>
                <a:gd name="connsiteY191" fmla="*/ 154984 h 471291"/>
                <a:gd name="connsiteX192" fmla="*/ 220923 w 287641"/>
                <a:gd name="connsiteY192" fmla="*/ 157427 h 471291"/>
                <a:gd name="connsiteX193" fmla="*/ 222400 w 287641"/>
                <a:gd name="connsiteY193" fmla="*/ 158658 h 471291"/>
                <a:gd name="connsiteX194" fmla="*/ 224043 w 287641"/>
                <a:gd name="connsiteY194" fmla="*/ 160431 h 471291"/>
                <a:gd name="connsiteX195" fmla="*/ 225198 w 287641"/>
                <a:gd name="connsiteY195" fmla="*/ 163837 h 471291"/>
                <a:gd name="connsiteX196" fmla="*/ 226576 w 287641"/>
                <a:gd name="connsiteY196" fmla="*/ 166868 h 471291"/>
                <a:gd name="connsiteX197" fmla="*/ 229357 w 287641"/>
                <a:gd name="connsiteY197" fmla="*/ 169760 h 471291"/>
                <a:gd name="connsiteX198" fmla="*/ 228798 w 287641"/>
                <a:gd name="connsiteY198" fmla="*/ 171430 h 471291"/>
                <a:gd name="connsiteX199" fmla="*/ 228150 w 287641"/>
                <a:gd name="connsiteY199" fmla="*/ 172728 h 471291"/>
                <a:gd name="connsiteX200" fmla="*/ 223523 w 287641"/>
                <a:gd name="connsiteY200" fmla="*/ 175583 h 471291"/>
                <a:gd name="connsiteX201" fmla="*/ 218276 w 287641"/>
                <a:gd name="connsiteY201" fmla="*/ 179878 h 471291"/>
                <a:gd name="connsiteX202" fmla="*/ 212620 w 287641"/>
                <a:gd name="connsiteY202" fmla="*/ 190827 h 471291"/>
                <a:gd name="connsiteX203" fmla="*/ 210739 w 287641"/>
                <a:gd name="connsiteY203" fmla="*/ 192290 h 471291"/>
                <a:gd name="connsiteX204" fmla="*/ 205788 w 287641"/>
                <a:gd name="connsiteY204" fmla="*/ 194137 h 471291"/>
                <a:gd name="connsiteX205" fmla="*/ 203967 w 287641"/>
                <a:gd name="connsiteY205" fmla="*/ 195923 h 471291"/>
                <a:gd name="connsiteX206" fmla="*/ 200281 w 287641"/>
                <a:gd name="connsiteY206" fmla="*/ 198045 h 471291"/>
                <a:gd name="connsiteX207" fmla="*/ 193846 w 287641"/>
                <a:gd name="connsiteY207" fmla="*/ 199865 h 471291"/>
                <a:gd name="connsiteX208" fmla="*/ 190927 w 287641"/>
                <a:gd name="connsiteY208" fmla="*/ 202400 h 471291"/>
                <a:gd name="connsiteX209" fmla="*/ 189609 w 287641"/>
                <a:gd name="connsiteY209" fmla="*/ 205019 h 471291"/>
                <a:gd name="connsiteX210" fmla="*/ 188143 w 287641"/>
                <a:gd name="connsiteY210" fmla="*/ 205205 h 471291"/>
                <a:gd name="connsiteX211" fmla="*/ 186690 w 287641"/>
                <a:gd name="connsiteY211" fmla="*/ 204182 h 471291"/>
                <a:gd name="connsiteX212" fmla="*/ 184751 w 287641"/>
                <a:gd name="connsiteY212" fmla="*/ 203420 h 471291"/>
                <a:gd name="connsiteX213" fmla="*/ 184498 w 287641"/>
                <a:gd name="connsiteY213" fmla="*/ 205128 h 471291"/>
                <a:gd name="connsiteX214" fmla="*/ 184580 w 287641"/>
                <a:gd name="connsiteY214" fmla="*/ 206381 h 471291"/>
                <a:gd name="connsiteX215" fmla="*/ 181477 w 287641"/>
                <a:gd name="connsiteY215" fmla="*/ 204524 h 471291"/>
                <a:gd name="connsiteX216" fmla="*/ 180013 w 287641"/>
                <a:gd name="connsiteY216" fmla="*/ 206227 h 471291"/>
                <a:gd name="connsiteX217" fmla="*/ 178869 w 287641"/>
                <a:gd name="connsiteY217" fmla="*/ 209070 h 471291"/>
                <a:gd name="connsiteX218" fmla="*/ 174403 w 287641"/>
                <a:gd name="connsiteY218" fmla="*/ 212891 h 471291"/>
                <a:gd name="connsiteX219" fmla="*/ 169590 w 287641"/>
                <a:gd name="connsiteY219" fmla="*/ 212204 h 471291"/>
                <a:gd name="connsiteX220" fmla="*/ 169050 w 287641"/>
                <a:gd name="connsiteY220" fmla="*/ 212878 h 471291"/>
                <a:gd name="connsiteX221" fmla="*/ 170331 w 287641"/>
                <a:gd name="connsiteY221" fmla="*/ 213366 h 471291"/>
                <a:gd name="connsiteX222" fmla="*/ 170525 w 287641"/>
                <a:gd name="connsiteY222" fmla="*/ 213976 h 471291"/>
                <a:gd name="connsiteX223" fmla="*/ 169651 w 287641"/>
                <a:gd name="connsiteY223" fmla="*/ 214301 h 471291"/>
                <a:gd name="connsiteX224" fmla="*/ 168327 w 287641"/>
                <a:gd name="connsiteY224" fmla="*/ 214267 h 471291"/>
                <a:gd name="connsiteX225" fmla="*/ 166284 w 287641"/>
                <a:gd name="connsiteY225" fmla="*/ 215021 h 471291"/>
                <a:gd name="connsiteX226" fmla="*/ 164941 w 287641"/>
                <a:gd name="connsiteY226" fmla="*/ 214962 h 471291"/>
                <a:gd name="connsiteX227" fmla="*/ 164304 w 287641"/>
                <a:gd name="connsiteY227" fmla="*/ 216765 h 471291"/>
                <a:gd name="connsiteX228" fmla="*/ 163265 w 287641"/>
                <a:gd name="connsiteY228" fmla="*/ 218950 h 471291"/>
                <a:gd name="connsiteX229" fmla="*/ 160546 w 287641"/>
                <a:gd name="connsiteY229" fmla="*/ 219854 h 471291"/>
                <a:gd name="connsiteX230" fmla="*/ 159143 w 287641"/>
                <a:gd name="connsiteY230" fmla="*/ 220040 h 471291"/>
                <a:gd name="connsiteX231" fmla="*/ 158450 w 287641"/>
                <a:gd name="connsiteY231" fmla="*/ 221281 h 471291"/>
                <a:gd name="connsiteX232" fmla="*/ 162632 w 287641"/>
                <a:gd name="connsiteY232" fmla="*/ 221541 h 471291"/>
                <a:gd name="connsiteX233" fmla="*/ 162298 w 287641"/>
                <a:gd name="connsiteY233" fmla="*/ 222591 h 471291"/>
                <a:gd name="connsiteX234" fmla="*/ 162203 w 287641"/>
                <a:gd name="connsiteY234" fmla="*/ 223640 h 471291"/>
                <a:gd name="connsiteX235" fmla="*/ 161771 w 287641"/>
                <a:gd name="connsiteY235" fmla="*/ 224765 h 471291"/>
                <a:gd name="connsiteX236" fmla="*/ 157016 w 287641"/>
                <a:gd name="connsiteY236" fmla="*/ 226384 h 471291"/>
                <a:gd name="connsiteX237" fmla="*/ 156284 w 287641"/>
                <a:gd name="connsiteY237" fmla="*/ 227659 h 471291"/>
                <a:gd name="connsiteX238" fmla="*/ 155291 w 287641"/>
                <a:gd name="connsiteY238" fmla="*/ 228449 h 471291"/>
                <a:gd name="connsiteX239" fmla="*/ 153176 w 287641"/>
                <a:gd name="connsiteY239" fmla="*/ 228404 h 471291"/>
                <a:gd name="connsiteX240" fmla="*/ 153254 w 287641"/>
                <a:gd name="connsiteY240" fmla="*/ 227668 h 471291"/>
                <a:gd name="connsiteX241" fmla="*/ 153600 w 287641"/>
                <a:gd name="connsiteY241" fmla="*/ 226835 h 471291"/>
                <a:gd name="connsiteX242" fmla="*/ 150449 w 287641"/>
                <a:gd name="connsiteY242" fmla="*/ 226910 h 471291"/>
                <a:gd name="connsiteX243" fmla="*/ 149467 w 287641"/>
                <a:gd name="connsiteY243" fmla="*/ 225080 h 471291"/>
                <a:gd name="connsiteX244" fmla="*/ 148869 w 287641"/>
                <a:gd name="connsiteY244" fmla="*/ 225549 h 471291"/>
                <a:gd name="connsiteX245" fmla="*/ 149223 w 287641"/>
                <a:gd name="connsiteY245" fmla="*/ 227026 h 471291"/>
                <a:gd name="connsiteX246" fmla="*/ 150048 w 287641"/>
                <a:gd name="connsiteY246" fmla="*/ 228561 h 471291"/>
                <a:gd name="connsiteX247" fmla="*/ 150965 w 287641"/>
                <a:gd name="connsiteY247" fmla="*/ 230809 h 471291"/>
                <a:gd name="connsiteX248" fmla="*/ 150220 w 287641"/>
                <a:gd name="connsiteY248" fmla="*/ 232230 h 471291"/>
                <a:gd name="connsiteX249" fmla="*/ 149387 w 287641"/>
                <a:gd name="connsiteY249" fmla="*/ 232934 h 471291"/>
                <a:gd name="connsiteX250" fmla="*/ 149994 w 287641"/>
                <a:gd name="connsiteY250" fmla="*/ 233584 h 471291"/>
                <a:gd name="connsiteX251" fmla="*/ 151676 w 287641"/>
                <a:gd name="connsiteY251" fmla="*/ 234079 h 471291"/>
                <a:gd name="connsiteX252" fmla="*/ 152356 w 287641"/>
                <a:gd name="connsiteY252" fmla="*/ 234966 h 471291"/>
                <a:gd name="connsiteX253" fmla="*/ 150361 w 287641"/>
                <a:gd name="connsiteY253" fmla="*/ 235726 h 471291"/>
                <a:gd name="connsiteX254" fmla="*/ 147871 w 287641"/>
                <a:gd name="connsiteY254" fmla="*/ 238333 h 471291"/>
                <a:gd name="connsiteX255" fmla="*/ 145290 w 287641"/>
                <a:gd name="connsiteY255" fmla="*/ 238397 h 471291"/>
                <a:gd name="connsiteX256" fmla="*/ 143712 w 287641"/>
                <a:gd name="connsiteY256" fmla="*/ 240117 h 471291"/>
                <a:gd name="connsiteX257" fmla="*/ 142036 w 287641"/>
                <a:gd name="connsiteY257" fmla="*/ 240111 h 471291"/>
                <a:gd name="connsiteX258" fmla="*/ 140674 w 287641"/>
                <a:gd name="connsiteY258" fmla="*/ 239028 h 471291"/>
                <a:gd name="connsiteX259" fmla="*/ 138490 w 287641"/>
                <a:gd name="connsiteY259" fmla="*/ 238138 h 471291"/>
                <a:gd name="connsiteX260" fmla="*/ 137787 w 287641"/>
                <a:gd name="connsiteY260" fmla="*/ 239707 h 471291"/>
                <a:gd name="connsiteX261" fmla="*/ 137674 w 287641"/>
                <a:gd name="connsiteY261" fmla="*/ 240954 h 471291"/>
                <a:gd name="connsiteX262" fmla="*/ 138905 w 287641"/>
                <a:gd name="connsiteY262" fmla="*/ 244105 h 471291"/>
                <a:gd name="connsiteX263" fmla="*/ 141255 w 287641"/>
                <a:gd name="connsiteY263" fmla="*/ 246541 h 471291"/>
                <a:gd name="connsiteX264" fmla="*/ 143431 w 287641"/>
                <a:gd name="connsiteY264" fmla="*/ 247592 h 471291"/>
                <a:gd name="connsiteX265" fmla="*/ 141865 w 287641"/>
                <a:gd name="connsiteY265" fmla="*/ 248301 h 471291"/>
                <a:gd name="connsiteX266" fmla="*/ 140700 w 287641"/>
                <a:gd name="connsiteY266" fmla="*/ 249875 h 471291"/>
                <a:gd name="connsiteX267" fmla="*/ 139294 w 287641"/>
                <a:gd name="connsiteY267" fmla="*/ 254783 h 471291"/>
                <a:gd name="connsiteX268" fmla="*/ 138529 w 287641"/>
                <a:gd name="connsiteY268" fmla="*/ 256712 h 471291"/>
                <a:gd name="connsiteX269" fmla="*/ 137700 w 287641"/>
                <a:gd name="connsiteY269" fmla="*/ 260113 h 471291"/>
                <a:gd name="connsiteX270" fmla="*/ 138225 w 287641"/>
                <a:gd name="connsiteY270" fmla="*/ 262978 h 471291"/>
                <a:gd name="connsiteX271" fmla="*/ 138646 w 287641"/>
                <a:gd name="connsiteY271" fmla="*/ 264385 h 471291"/>
                <a:gd name="connsiteX272" fmla="*/ 139711 w 287641"/>
                <a:gd name="connsiteY272" fmla="*/ 266294 h 471291"/>
                <a:gd name="connsiteX273" fmla="*/ 136817 w 287641"/>
                <a:gd name="connsiteY273" fmla="*/ 266048 h 471291"/>
                <a:gd name="connsiteX274" fmla="*/ 133761 w 287641"/>
                <a:gd name="connsiteY274" fmla="*/ 264933 h 471291"/>
                <a:gd name="connsiteX275" fmla="*/ 134187 w 287641"/>
                <a:gd name="connsiteY275" fmla="*/ 267248 h 471291"/>
                <a:gd name="connsiteX276" fmla="*/ 132310 w 287641"/>
                <a:gd name="connsiteY276" fmla="*/ 269981 h 471291"/>
                <a:gd name="connsiteX277" fmla="*/ 132660 w 287641"/>
                <a:gd name="connsiteY277" fmla="*/ 272389 h 471291"/>
                <a:gd name="connsiteX278" fmla="*/ 133051 w 287641"/>
                <a:gd name="connsiteY278" fmla="*/ 273956 h 471291"/>
                <a:gd name="connsiteX279" fmla="*/ 132470 w 287641"/>
                <a:gd name="connsiteY279" fmla="*/ 276546 h 471291"/>
                <a:gd name="connsiteX280" fmla="*/ 133353 w 287641"/>
                <a:gd name="connsiteY280" fmla="*/ 277359 h 471291"/>
                <a:gd name="connsiteX281" fmla="*/ 133833 w 287641"/>
                <a:gd name="connsiteY281" fmla="*/ 278899 h 471291"/>
                <a:gd name="connsiteX282" fmla="*/ 133042 w 287641"/>
                <a:gd name="connsiteY282" fmla="*/ 280036 h 471291"/>
                <a:gd name="connsiteX283" fmla="*/ 133394 w 287641"/>
                <a:gd name="connsiteY283" fmla="*/ 281014 h 471291"/>
                <a:gd name="connsiteX284" fmla="*/ 133526 w 287641"/>
                <a:gd name="connsiteY284" fmla="*/ 284473 h 471291"/>
                <a:gd name="connsiteX285" fmla="*/ 134126 w 287641"/>
                <a:gd name="connsiteY285" fmla="*/ 289873 h 471291"/>
                <a:gd name="connsiteX286" fmla="*/ 133906 w 287641"/>
                <a:gd name="connsiteY286" fmla="*/ 291014 h 471291"/>
                <a:gd name="connsiteX287" fmla="*/ 135586 w 287641"/>
                <a:gd name="connsiteY287" fmla="*/ 295695 h 471291"/>
                <a:gd name="connsiteX288" fmla="*/ 135195 w 287641"/>
                <a:gd name="connsiteY288" fmla="*/ 297333 h 471291"/>
                <a:gd name="connsiteX289" fmla="*/ 134969 w 287641"/>
                <a:gd name="connsiteY289" fmla="*/ 299419 h 471291"/>
                <a:gd name="connsiteX290" fmla="*/ 137376 w 287641"/>
                <a:gd name="connsiteY290" fmla="*/ 301421 h 471291"/>
                <a:gd name="connsiteX291" fmla="*/ 139525 w 287641"/>
                <a:gd name="connsiteY291" fmla="*/ 301389 h 471291"/>
                <a:gd name="connsiteX292" fmla="*/ 141702 w 287641"/>
                <a:gd name="connsiteY292" fmla="*/ 301358 h 471291"/>
                <a:gd name="connsiteX293" fmla="*/ 142533 w 287641"/>
                <a:gd name="connsiteY293" fmla="*/ 301860 h 471291"/>
                <a:gd name="connsiteX294" fmla="*/ 143367 w 287641"/>
                <a:gd name="connsiteY294" fmla="*/ 303275 h 471291"/>
                <a:gd name="connsiteX295" fmla="*/ 144038 w 287641"/>
                <a:gd name="connsiteY295" fmla="*/ 304945 h 471291"/>
                <a:gd name="connsiteX296" fmla="*/ 145830 w 287641"/>
                <a:gd name="connsiteY296" fmla="*/ 304807 h 471291"/>
                <a:gd name="connsiteX297" fmla="*/ 148691 w 287641"/>
                <a:gd name="connsiteY297" fmla="*/ 303448 h 471291"/>
                <a:gd name="connsiteX298" fmla="*/ 150553 w 287641"/>
                <a:gd name="connsiteY298" fmla="*/ 303124 h 471291"/>
                <a:gd name="connsiteX299" fmla="*/ 151782 w 287641"/>
                <a:gd name="connsiteY299" fmla="*/ 305736 h 471291"/>
                <a:gd name="connsiteX300" fmla="*/ 155124 w 287641"/>
                <a:gd name="connsiteY300" fmla="*/ 309182 h 471291"/>
                <a:gd name="connsiteX301" fmla="*/ 157070 w 287641"/>
                <a:gd name="connsiteY301" fmla="*/ 310724 h 471291"/>
                <a:gd name="connsiteX302" fmla="*/ 160376 w 287641"/>
                <a:gd name="connsiteY302" fmla="*/ 311535 h 471291"/>
                <a:gd name="connsiteX303" fmla="*/ 163859 w 287641"/>
                <a:gd name="connsiteY303" fmla="*/ 314308 h 471291"/>
                <a:gd name="connsiteX304" fmla="*/ 163371 w 287641"/>
                <a:gd name="connsiteY304" fmla="*/ 317646 h 471291"/>
                <a:gd name="connsiteX305" fmla="*/ 164824 w 287641"/>
                <a:gd name="connsiteY305" fmla="*/ 318760 h 471291"/>
                <a:gd name="connsiteX306" fmla="*/ 168934 w 287641"/>
                <a:gd name="connsiteY306" fmla="*/ 320076 h 471291"/>
                <a:gd name="connsiteX307" fmla="*/ 170387 w 287641"/>
                <a:gd name="connsiteY307" fmla="*/ 321849 h 471291"/>
                <a:gd name="connsiteX308" fmla="*/ 171084 w 287641"/>
                <a:gd name="connsiteY308" fmla="*/ 323359 h 471291"/>
                <a:gd name="connsiteX309" fmla="*/ 172166 w 287641"/>
                <a:gd name="connsiteY309" fmla="*/ 324611 h 471291"/>
                <a:gd name="connsiteX310" fmla="*/ 173431 w 287641"/>
                <a:gd name="connsiteY310" fmla="*/ 328388 h 471291"/>
                <a:gd name="connsiteX311" fmla="*/ 172991 w 287641"/>
                <a:gd name="connsiteY311" fmla="*/ 330712 h 471291"/>
                <a:gd name="connsiteX312" fmla="*/ 171335 w 287641"/>
                <a:gd name="connsiteY312" fmla="*/ 331510 h 471291"/>
                <a:gd name="connsiteX313" fmla="*/ 167424 w 287641"/>
                <a:gd name="connsiteY313" fmla="*/ 333997 h 471291"/>
                <a:gd name="connsiteX314" fmla="*/ 165681 w 287641"/>
                <a:gd name="connsiteY314" fmla="*/ 335851 h 471291"/>
                <a:gd name="connsiteX315" fmla="*/ 164314 w 287641"/>
                <a:gd name="connsiteY315" fmla="*/ 337006 h 471291"/>
                <a:gd name="connsiteX316" fmla="*/ 160430 w 287641"/>
                <a:gd name="connsiteY316" fmla="*/ 339479 h 471291"/>
                <a:gd name="connsiteX317" fmla="*/ 159007 w 287641"/>
                <a:gd name="connsiteY317" fmla="*/ 339923 h 471291"/>
                <a:gd name="connsiteX318" fmla="*/ 157644 w 287641"/>
                <a:gd name="connsiteY318" fmla="*/ 341207 h 471291"/>
                <a:gd name="connsiteX319" fmla="*/ 156327 w 287641"/>
                <a:gd name="connsiteY319" fmla="*/ 341769 h 471291"/>
                <a:gd name="connsiteX320" fmla="*/ 155148 w 287641"/>
                <a:gd name="connsiteY320" fmla="*/ 341446 h 471291"/>
                <a:gd name="connsiteX321" fmla="*/ 150740 w 287641"/>
                <a:gd name="connsiteY321" fmla="*/ 343770 h 471291"/>
                <a:gd name="connsiteX322" fmla="*/ 151084 w 287641"/>
                <a:gd name="connsiteY322" fmla="*/ 344762 h 471291"/>
                <a:gd name="connsiteX323" fmla="*/ 154464 w 287641"/>
                <a:gd name="connsiteY323" fmla="*/ 345182 h 471291"/>
                <a:gd name="connsiteX324" fmla="*/ 156187 w 287641"/>
                <a:gd name="connsiteY324" fmla="*/ 344684 h 471291"/>
                <a:gd name="connsiteX325" fmla="*/ 157513 w 287641"/>
                <a:gd name="connsiteY325" fmla="*/ 343516 h 471291"/>
                <a:gd name="connsiteX326" fmla="*/ 158961 w 287641"/>
                <a:gd name="connsiteY326" fmla="*/ 343248 h 471291"/>
                <a:gd name="connsiteX327" fmla="*/ 160283 w 287641"/>
                <a:gd name="connsiteY327" fmla="*/ 343468 h 471291"/>
                <a:gd name="connsiteX328" fmla="*/ 161684 w 287641"/>
                <a:gd name="connsiteY328" fmla="*/ 342548 h 471291"/>
                <a:gd name="connsiteX329" fmla="*/ 162784 w 287641"/>
                <a:gd name="connsiteY329" fmla="*/ 342180 h 471291"/>
                <a:gd name="connsiteX330" fmla="*/ 163920 w 287641"/>
                <a:gd name="connsiteY330" fmla="*/ 342621 h 471291"/>
                <a:gd name="connsiteX331" fmla="*/ 165187 w 287641"/>
                <a:gd name="connsiteY331" fmla="*/ 344828 h 471291"/>
                <a:gd name="connsiteX332" fmla="*/ 162557 w 287641"/>
                <a:gd name="connsiteY332" fmla="*/ 345976 h 471291"/>
                <a:gd name="connsiteX333" fmla="*/ 160691 w 287641"/>
                <a:gd name="connsiteY333" fmla="*/ 346028 h 471291"/>
                <a:gd name="connsiteX334" fmla="*/ 159780 w 287641"/>
                <a:gd name="connsiteY334" fmla="*/ 349640 h 471291"/>
                <a:gd name="connsiteX335" fmla="*/ 158650 w 287641"/>
                <a:gd name="connsiteY335" fmla="*/ 351190 h 471291"/>
                <a:gd name="connsiteX336" fmla="*/ 157841 w 287641"/>
                <a:gd name="connsiteY336" fmla="*/ 351935 h 471291"/>
                <a:gd name="connsiteX337" fmla="*/ 153701 w 287641"/>
                <a:gd name="connsiteY337" fmla="*/ 353469 h 471291"/>
                <a:gd name="connsiteX338" fmla="*/ 150970 w 287641"/>
                <a:gd name="connsiteY338" fmla="*/ 355412 h 471291"/>
                <a:gd name="connsiteX339" fmla="*/ 147750 w 287641"/>
                <a:gd name="connsiteY339" fmla="*/ 356975 h 471291"/>
                <a:gd name="connsiteX340" fmla="*/ 146344 w 287641"/>
                <a:gd name="connsiteY340" fmla="*/ 356635 h 471291"/>
                <a:gd name="connsiteX341" fmla="*/ 144226 w 287641"/>
                <a:gd name="connsiteY341" fmla="*/ 358223 h 471291"/>
                <a:gd name="connsiteX342" fmla="*/ 139518 w 287641"/>
                <a:gd name="connsiteY342" fmla="*/ 360101 h 471291"/>
                <a:gd name="connsiteX343" fmla="*/ 137106 w 287641"/>
                <a:gd name="connsiteY343" fmla="*/ 362629 h 471291"/>
                <a:gd name="connsiteX344" fmla="*/ 131693 w 287641"/>
                <a:gd name="connsiteY344" fmla="*/ 364888 h 471291"/>
                <a:gd name="connsiteX345" fmla="*/ 128935 w 287641"/>
                <a:gd name="connsiteY345" fmla="*/ 366724 h 471291"/>
                <a:gd name="connsiteX346" fmla="*/ 121444 w 287641"/>
                <a:gd name="connsiteY346" fmla="*/ 366820 h 471291"/>
                <a:gd name="connsiteX347" fmla="*/ 114290 w 287641"/>
                <a:gd name="connsiteY347" fmla="*/ 366417 h 471291"/>
                <a:gd name="connsiteX348" fmla="*/ 112044 w 287641"/>
                <a:gd name="connsiteY348" fmla="*/ 367290 h 471291"/>
                <a:gd name="connsiteX349" fmla="*/ 114340 w 287641"/>
                <a:gd name="connsiteY349" fmla="*/ 367560 h 471291"/>
                <a:gd name="connsiteX350" fmla="*/ 115948 w 287641"/>
                <a:gd name="connsiteY350" fmla="*/ 368416 h 471291"/>
                <a:gd name="connsiteX351" fmla="*/ 117877 w 287641"/>
                <a:gd name="connsiteY351" fmla="*/ 368059 h 471291"/>
                <a:gd name="connsiteX352" fmla="*/ 122410 w 287641"/>
                <a:gd name="connsiteY352" fmla="*/ 368487 h 471291"/>
                <a:gd name="connsiteX353" fmla="*/ 124742 w 287641"/>
                <a:gd name="connsiteY353" fmla="*/ 368953 h 471291"/>
                <a:gd name="connsiteX354" fmla="*/ 127735 w 287641"/>
                <a:gd name="connsiteY354" fmla="*/ 371949 h 471291"/>
                <a:gd name="connsiteX355" fmla="*/ 125534 w 287641"/>
                <a:gd name="connsiteY355" fmla="*/ 373013 h 471291"/>
                <a:gd name="connsiteX356" fmla="*/ 121723 w 287641"/>
                <a:gd name="connsiteY356" fmla="*/ 373829 h 471291"/>
                <a:gd name="connsiteX357" fmla="*/ 123152 w 287641"/>
                <a:gd name="connsiteY357" fmla="*/ 378067 h 471291"/>
                <a:gd name="connsiteX358" fmla="*/ 124331 w 287641"/>
                <a:gd name="connsiteY358" fmla="*/ 380919 h 471291"/>
                <a:gd name="connsiteX359" fmla="*/ 122788 w 287641"/>
                <a:gd name="connsiteY359" fmla="*/ 382639 h 471291"/>
                <a:gd name="connsiteX360" fmla="*/ 122673 w 287641"/>
                <a:gd name="connsiteY360" fmla="*/ 390443 h 471291"/>
                <a:gd name="connsiteX361" fmla="*/ 120507 w 287641"/>
                <a:gd name="connsiteY361" fmla="*/ 390592 h 471291"/>
                <a:gd name="connsiteX362" fmla="*/ 119587 w 287641"/>
                <a:gd name="connsiteY362" fmla="*/ 393812 h 471291"/>
                <a:gd name="connsiteX363" fmla="*/ 120269 w 287641"/>
                <a:gd name="connsiteY363" fmla="*/ 395452 h 471291"/>
                <a:gd name="connsiteX364" fmla="*/ 120216 w 287641"/>
                <a:gd name="connsiteY364" fmla="*/ 399257 h 471291"/>
                <a:gd name="connsiteX365" fmla="*/ 120667 w 287641"/>
                <a:gd name="connsiteY365" fmla="*/ 401599 h 471291"/>
                <a:gd name="connsiteX366" fmla="*/ 121729 w 287641"/>
                <a:gd name="connsiteY366" fmla="*/ 403752 h 471291"/>
                <a:gd name="connsiteX367" fmla="*/ 121256 w 287641"/>
                <a:gd name="connsiteY367" fmla="*/ 405996 h 471291"/>
                <a:gd name="connsiteX368" fmla="*/ 117832 w 287641"/>
                <a:gd name="connsiteY368" fmla="*/ 411238 h 471291"/>
                <a:gd name="connsiteX369" fmla="*/ 117910 w 287641"/>
                <a:gd name="connsiteY369" fmla="*/ 413693 h 471291"/>
                <a:gd name="connsiteX370" fmla="*/ 118525 w 287641"/>
                <a:gd name="connsiteY370" fmla="*/ 415150 h 471291"/>
                <a:gd name="connsiteX371" fmla="*/ 118980 w 287641"/>
                <a:gd name="connsiteY371" fmla="*/ 417477 h 471291"/>
                <a:gd name="connsiteX372" fmla="*/ 117424 w 287641"/>
                <a:gd name="connsiteY372" fmla="*/ 421945 h 471291"/>
                <a:gd name="connsiteX373" fmla="*/ 116324 w 287641"/>
                <a:gd name="connsiteY373" fmla="*/ 425671 h 471291"/>
                <a:gd name="connsiteX374" fmla="*/ 115018 w 287641"/>
                <a:gd name="connsiteY374" fmla="*/ 428802 h 471291"/>
                <a:gd name="connsiteX375" fmla="*/ 112094 w 287641"/>
                <a:gd name="connsiteY375" fmla="*/ 432553 h 471291"/>
                <a:gd name="connsiteX376" fmla="*/ 110639 w 287641"/>
                <a:gd name="connsiteY376" fmla="*/ 435353 h 471291"/>
                <a:gd name="connsiteX377" fmla="*/ 107233 w 287641"/>
                <a:gd name="connsiteY377" fmla="*/ 444067 h 471291"/>
                <a:gd name="connsiteX378" fmla="*/ 105545 w 287641"/>
                <a:gd name="connsiteY378" fmla="*/ 445792 h 471291"/>
                <a:gd name="connsiteX379" fmla="*/ 103474 w 287641"/>
                <a:gd name="connsiteY379" fmla="*/ 447117 h 471291"/>
                <a:gd name="connsiteX380" fmla="*/ 101166 w 287641"/>
                <a:gd name="connsiteY380" fmla="*/ 445891 h 471291"/>
                <a:gd name="connsiteX381" fmla="*/ 99049 w 287641"/>
                <a:gd name="connsiteY381" fmla="*/ 445223 h 471291"/>
                <a:gd name="connsiteX382" fmla="*/ 96464 w 287641"/>
                <a:gd name="connsiteY382" fmla="*/ 445304 h 471291"/>
                <a:gd name="connsiteX383" fmla="*/ 92416 w 287641"/>
                <a:gd name="connsiteY383" fmla="*/ 446309 h 471291"/>
                <a:gd name="connsiteX384" fmla="*/ 86326 w 287641"/>
                <a:gd name="connsiteY384" fmla="*/ 445641 h 471291"/>
                <a:gd name="connsiteX385" fmla="*/ 80375 w 287641"/>
                <a:gd name="connsiteY385" fmla="*/ 445963 h 471291"/>
                <a:gd name="connsiteX386" fmla="*/ 78870 w 287641"/>
                <a:gd name="connsiteY386" fmla="*/ 446831 h 471291"/>
                <a:gd name="connsiteX387" fmla="*/ 79772 w 287641"/>
                <a:gd name="connsiteY387" fmla="*/ 449981 h 471291"/>
                <a:gd name="connsiteX388" fmla="*/ 77579 w 287641"/>
                <a:gd name="connsiteY388" fmla="*/ 450394 h 471291"/>
                <a:gd name="connsiteX389" fmla="*/ 75434 w 287641"/>
                <a:gd name="connsiteY389" fmla="*/ 449498 h 471291"/>
                <a:gd name="connsiteX390" fmla="*/ 73547 w 287641"/>
                <a:gd name="connsiteY390" fmla="*/ 450567 h 471291"/>
                <a:gd name="connsiteX391" fmla="*/ 71970 w 287641"/>
                <a:gd name="connsiteY391" fmla="*/ 451739 h 471291"/>
                <a:gd name="connsiteX392" fmla="*/ 68874 w 287641"/>
                <a:gd name="connsiteY392" fmla="*/ 454516 h 471291"/>
                <a:gd name="connsiteX393" fmla="*/ 67837 w 287641"/>
                <a:gd name="connsiteY393" fmla="*/ 456225 h 471291"/>
                <a:gd name="connsiteX394" fmla="*/ 67570 w 287641"/>
                <a:gd name="connsiteY394" fmla="*/ 459439 h 471291"/>
                <a:gd name="connsiteX395" fmla="*/ 69196 w 287641"/>
                <a:gd name="connsiteY395" fmla="*/ 462318 h 471291"/>
                <a:gd name="connsiteX396" fmla="*/ 70638 w 287641"/>
                <a:gd name="connsiteY396" fmla="*/ 465684 h 471291"/>
                <a:gd name="connsiteX397" fmla="*/ 66924 w 287641"/>
                <a:gd name="connsiteY397" fmla="*/ 469739 h 471291"/>
                <a:gd name="connsiteX398" fmla="*/ 64851 w 287641"/>
                <a:gd name="connsiteY398" fmla="*/ 469876 h 471291"/>
                <a:gd name="connsiteX399" fmla="*/ 58800 w 287641"/>
                <a:gd name="connsiteY399" fmla="*/ 468752 h 471291"/>
                <a:gd name="connsiteX400" fmla="*/ 48077 w 287641"/>
                <a:gd name="connsiteY400" fmla="*/ 471291 h 471291"/>
                <a:gd name="connsiteX401" fmla="*/ 38446 w 287641"/>
                <a:gd name="connsiteY401" fmla="*/ 469283 h 471291"/>
                <a:gd name="connsiteX402" fmla="*/ 39657 w 287641"/>
                <a:gd name="connsiteY402" fmla="*/ 467112 h 471291"/>
                <a:gd name="connsiteX403" fmla="*/ 39617 w 287641"/>
                <a:gd name="connsiteY403" fmla="*/ 465514 h 471291"/>
                <a:gd name="connsiteX404" fmla="*/ 40161 w 287641"/>
                <a:gd name="connsiteY404" fmla="*/ 463055 h 471291"/>
                <a:gd name="connsiteX405" fmla="*/ 40484 w 287641"/>
                <a:gd name="connsiteY405" fmla="*/ 460536 h 471291"/>
                <a:gd name="connsiteX406" fmla="*/ 40394 w 287641"/>
                <a:gd name="connsiteY406" fmla="*/ 458849 h 471291"/>
                <a:gd name="connsiteX407" fmla="*/ 39688 w 287641"/>
                <a:gd name="connsiteY407" fmla="*/ 457050 h 471291"/>
                <a:gd name="connsiteX408" fmla="*/ 37313 w 287641"/>
                <a:gd name="connsiteY408" fmla="*/ 454694 h 471291"/>
                <a:gd name="connsiteX409" fmla="*/ 31961 w 287641"/>
                <a:gd name="connsiteY409" fmla="*/ 446722 h 471291"/>
                <a:gd name="connsiteX410" fmla="*/ 30378 w 287641"/>
                <a:gd name="connsiteY410" fmla="*/ 443349 h 471291"/>
                <a:gd name="connsiteX411" fmla="*/ 29277 w 287641"/>
                <a:gd name="connsiteY411" fmla="*/ 441942 h 471291"/>
                <a:gd name="connsiteX412" fmla="*/ 30070 w 287641"/>
                <a:gd name="connsiteY412" fmla="*/ 441866 h 471291"/>
                <a:gd name="connsiteX413" fmla="*/ 34477 w 287641"/>
                <a:gd name="connsiteY413" fmla="*/ 443679 h 471291"/>
                <a:gd name="connsiteX414" fmla="*/ 35505 w 287641"/>
                <a:gd name="connsiteY414" fmla="*/ 443456 h 471291"/>
                <a:gd name="connsiteX415" fmla="*/ 36585 w 287641"/>
                <a:gd name="connsiteY415" fmla="*/ 442775 h 471291"/>
                <a:gd name="connsiteX416" fmla="*/ 35270 w 287641"/>
                <a:gd name="connsiteY416" fmla="*/ 440179 h 471291"/>
                <a:gd name="connsiteX417" fmla="*/ 34140 w 287641"/>
                <a:gd name="connsiteY417" fmla="*/ 439003 h 471291"/>
                <a:gd name="connsiteX418" fmla="*/ 33374 w 287641"/>
                <a:gd name="connsiteY418" fmla="*/ 437243 h 471291"/>
                <a:gd name="connsiteX419" fmla="*/ 35954 w 287641"/>
                <a:gd name="connsiteY419" fmla="*/ 436767 h 471291"/>
                <a:gd name="connsiteX420" fmla="*/ 37818 w 287641"/>
                <a:gd name="connsiteY420" fmla="*/ 436872 h 471291"/>
                <a:gd name="connsiteX421" fmla="*/ 39191 w 287641"/>
                <a:gd name="connsiteY421" fmla="*/ 434890 h 471291"/>
                <a:gd name="connsiteX422" fmla="*/ 38399 w 287641"/>
                <a:gd name="connsiteY422" fmla="*/ 431681 h 471291"/>
                <a:gd name="connsiteX423" fmla="*/ 36397 w 287641"/>
                <a:gd name="connsiteY423" fmla="*/ 430693 h 471291"/>
                <a:gd name="connsiteX424" fmla="*/ 34725 w 287641"/>
                <a:gd name="connsiteY424" fmla="*/ 430263 h 471291"/>
                <a:gd name="connsiteX425" fmla="*/ 31521 w 287641"/>
                <a:gd name="connsiteY425" fmla="*/ 425210 h 471291"/>
                <a:gd name="connsiteX426" fmla="*/ 28178 w 287641"/>
                <a:gd name="connsiteY426" fmla="*/ 422589 h 471291"/>
                <a:gd name="connsiteX427" fmla="*/ 22216 w 287641"/>
                <a:gd name="connsiteY427" fmla="*/ 412449 h 471291"/>
                <a:gd name="connsiteX428" fmla="*/ 20035 w 287641"/>
                <a:gd name="connsiteY428" fmla="*/ 405461 h 471291"/>
                <a:gd name="connsiteX429" fmla="*/ 18008 w 287641"/>
                <a:gd name="connsiteY429" fmla="*/ 406126 h 471291"/>
                <a:gd name="connsiteX430" fmla="*/ 17023 w 287641"/>
                <a:gd name="connsiteY430" fmla="*/ 403076 h 471291"/>
                <a:gd name="connsiteX431" fmla="*/ 16317 w 287641"/>
                <a:gd name="connsiteY431" fmla="*/ 400184 h 471291"/>
                <a:gd name="connsiteX432" fmla="*/ 16176 w 287641"/>
                <a:gd name="connsiteY432" fmla="*/ 398055 h 471291"/>
                <a:gd name="connsiteX433" fmla="*/ 12998 w 287641"/>
                <a:gd name="connsiteY433" fmla="*/ 396834 h 471291"/>
                <a:gd name="connsiteX434" fmla="*/ 12868 w 287641"/>
                <a:gd name="connsiteY434" fmla="*/ 395340 h 471291"/>
                <a:gd name="connsiteX435" fmla="*/ 12296 w 287641"/>
                <a:gd name="connsiteY435" fmla="*/ 388660 h 471291"/>
                <a:gd name="connsiteX436" fmla="*/ 8886 w 287641"/>
                <a:gd name="connsiteY436" fmla="*/ 387761 h 471291"/>
                <a:gd name="connsiteX437" fmla="*/ 6681 w 287641"/>
                <a:gd name="connsiteY437" fmla="*/ 384002 h 471291"/>
                <a:gd name="connsiteX438" fmla="*/ 6288 w 287641"/>
                <a:gd name="connsiteY438" fmla="*/ 376872 h 471291"/>
                <a:gd name="connsiteX439" fmla="*/ 4043 w 287641"/>
                <a:gd name="connsiteY439" fmla="*/ 375571 h 471291"/>
                <a:gd name="connsiteX440" fmla="*/ 2235 w 287641"/>
                <a:gd name="connsiteY440" fmla="*/ 375932 h 471291"/>
                <a:gd name="connsiteX441" fmla="*/ 2320 w 287641"/>
                <a:gd name="connsiteY441" fmla="*/ 374160 h 471291"/>
                <a:gd name="connsiteX442" fmla="*/ 2751 w 287641"/>
                <a:gd name="connsiteY442" fmla="*/ 372496 h 471291"/>
                <a:gd name="connsiteX443" fmla="*/ 1696 w 287641"/>
                <a:gd name="connsiteY443" fmla="*/ 365889 h 471291"/>
                <a:gd name="connsiteX444" fmla="*/ 1343 w 287641"/>
                <a:gd name="connsiteY444" fmla="*/ 359841 h 471291"/>
                <a:gd name="connsiteX445" fmla="*/ 486 w 287641"/>
                <a:gd name="connsiteY445" fmla="*/ 358012 h 471291"/>
                <a:gd name="connsiteX446" fmla="*/ 0 w 287641"/>
                <a:gd name="connsiteY446" fmla="*/ 355868 h 471291"/>
                <a:gd name="connsiteX447" fmla="*/ 436 w 287641"/>
                <a:gd name="connsiteY447" fmla="*/ 354014 h 471291"/>
                <a:gd name="connsiteX448" fmla="*/ 1076 w 287641"/>
                <a:gd name="connsiteY448" fmla="*/ 352949 h 471291"/>
                <a:gd name="connsiteX449" fmla="*/ 3276 w 287641"/>
                <a:gd name="connsiteY449" fmla="*/ 352669 h 471291"/>
                <a:gd name="connsiteX450" fmla="*/ 5332 w 287641"/>
                <a:gd name="connsiteY450" fmla="*/ 354309 h 471291"/>
                <a:gd name="connsiteX451" fmla="*/ 7154 w 287641"/>
                <a:gd name="connsiteY451" fmla="*/ 358440 h 471291"/>
                <a:gd name="connsiteX452" fmla="*/ 8765 w 287641"/>
                <a:gd name="connsiteY452" fmla="*/ 358977 h 471291"/>
                <a:gd name="connsiteX453" fmla="*/ 10959 w 287641"/>
                <a:gd name="connsiteY453" fmla="*/ 357902 h 471291"/>
                <a:gd name="connsiteX454" fmla="*/ 12495 w 287641"/>
                <a:gd name="connsiteY454" fmla="*/ 354890 h 471291"/>
                <a:gd name="connsiteX455" fmla="*/ 13371 w 287641"/>
                <a:gd name="connsiteY455" fmla="*/ 350363 h 471291"/>
                <a:gd name="connsiteX456" fmla="*/ 14395 w 287641"/>
                <a:gd name="connsiteY456" fmla="*/ 346042 h 471291"/>
                <a:gd name="connsiteX457" fmla="*/ 13183 w 287641"/>
                <a:gd name="connsiteY457" fmla="*/ 341411 h 471291"/>
                <a:gd name="connsiteX458" fmla="*/ 11890 w 287641"/>
                <a:gd name="connsiteY458" fmla="*/ 337334 h 471291"/>
                <a:gd name="connsiteX459" fmla="*/ 11799 w 287641"/>
                <a:gd name="connsiteY459" fmla="*/ 336135 h 471291"/>
                <a:gd name="connsiteX460" fmla="*/ 15194 w 287641"/>
                <a:gd name="connsiteY460" fmla="*/ 332688 h 471291"/>
                <a:gd name="connsiteX461" fmla="*/ 16232 w 287641"/>
                <a:gd name="connsiteY461" fmla="*/ 329881 h 471291"/>
                <a:gd name="connsiteX462" fmla="*/ 17358 w 287641"/>
                <a:gd name="connsiteY462" fmla="*/ 327204 h 471291"/>
                <a:gd name="connsiteX463" fmla="*/ 18599 w 287641"/>
                <a:gd name="connsiteY463" fmla="*/ 326293 h 471291"/>
                <a:gd name="connsiteX464" fmla="*/ 20448 w 287641"/>
                <a:gd name="connsiteY464" fmla="*/ 326085 h 471291"/>
                <a:gd name="connsiteX465" fmla="*/ 22601 w 287641"/>
                <a:gd name="connsiteY465" fmla="*/ 325581 h 471291"/>
                <a:gd name="connsiteX466" fmla="*/ 25315 w 287641"/>
                <a:gd name="connsiteY466" fmla="*/ 323786 h 471291"/>
                <a:gd name="connsiteX467" fmla="*/ 27748 w 287641"/>
                <a:gd name="connsiteY467" fmla="*/ 321381 h 471291"/>
                <a:gd name="connsiteX468" fmla="*/ 29608 w 287641"/>
                <a:gd name="connsiteY468" fmla="*/ 319172 h 471291"/>
                <a:gd name="connsiteX469" fmla="*/ 30238 w 287641"/>
                <a:gd name="connsiteY469" fmla="*/ 314796 h 471291"/>
                <a:gd name="connsiteX470" fmla="*/ 30264 w 287641"/>
                <a:gd name="connsiteY470" fmla="*/ 312594 h 471291"/>
                <a:gd name="connsiteX471" fmla="*/ 31083 w 287641"/>
                <a:gd name="connsiteY471" fmla="*/ 310957 h 471291"/>
                <a:gd name="connsiteX472" fmla="*/ 31875 w 287641"/>
                <a:gd name="connsiteY472" fmla="*/ 307757 h 471291"/>
                <a:gd name="connsiteX473" fmla="*/ 31104 w 287641"/>
                <a:gd name="connsiteY473" fmla="*/ 304595 h 471291"/>
                <a:gd name="connsiteX474" fmla="*/ 28705 w 287641"/>
                <a:gd name="connsiteY474" fmla="*/ 299791 h 471291"/>
                <a:gd name="connsiteX475" fmla="*/ 25816 w 287641"/>
                <a:gd name="connsiteY475" fmla="*/ 293016 h 471291"/>
                <a:gd name="connsiteX476" fmla="*/ 25362 w 287641"/>
                <a:gd name="connsiteY476" fmla="*/ 289308 h 471291"/>
                <a:gd name="connsiteX477" fmla="*/ 26679 w 287641"/>
                <a:gd name="connsiteY477" fmla="*/ 288619 h 471291"/>
                <a:gd name="connsiteX478" fmla="*/ 29198 w 287641"/>
                <a:gd name="connsiteY478" fmla="*/ 288004 h 471291"/>
                <a:gd name="connsiteX479" fmla="*/ 33961 w 287641"/>
                <a:gd name="connsiteY479" fmla="*/ 287826 h 471291"/>
                <a:gd name="connsiteX480" fmla="*/ 34471 w 287641"/>
                <a:gd name="connsiteY480" fmla="*/ 287388 h 471291"/>
                <a:gd name="connsiteX481" fmla="*/ 34952 w 287641"/>
                <a:gd name="connsiteY481" fmla="*/ 285761 h 471291"/>
                <a:gd name="connsiteX482" fmla="*/ 36025 w 287641"/>
                <a:gd name="connsiteY482" fmla="*/ 283550 h 471291"/>
                <a:gd name="connsiteX483" fmla="*/ 37172 w 287641"/>
                <a:gd name="connsiteY483" fmla="*/ 281938 h 471291"/>
                <a:gd name="connsiteX484" fmla="*/ 37956 w 287641"/>
                <a:gd name="connsiteY484" fmla="*/ 279631 h 471291"/>
                <a:gd name="connsiteX485" fmla="*/ 38334 w 287641"/>
                <a:gd name="connsiteY485" fmla="*/ 277538 h 471291"/>
                <a:gd name="connsiteX486" fmla="*/ 35609 w 287641"/>
                <a:gd name="connsiteY486" fmla="*/ 274382 h 471291"/>
                <a:gd name="connsiteX487" fmla="*/ 32039 w 287641"/>
                <a:gd name="connsiteY487" fmla="*/ 271147 h 471291"/>
                <a:gd name="connsiteX488" fmla="*/ 29623 w 287641"/>
                <a:gd name="connsiteY488" fmla="*/ 270074 h 471291"/>
                <a:gd name="connsiteX489" fmla="*/ 25317 w 287641"/>
                <a:gd name="connsiteY489" fmla="*/ 267346 h 471291"/>
                <a:gd name="connsiteX490" fmla="*/ 22294 w 287641"/>
                <a:gd name="connsiteY490" fmla="*/ 265062 h 471291"/>
                <a:gd name="connsiteX491" fmla="*/ 24026 w 287641"/>
                <a:gd name="connsiteY491" fmla="*/ 256346 h 471291"/>
                <a:gd name="connsiteX492" fmla="*/ 25315 w 287641"/>
                <a:gd name="connsiteY492" fmla="*/ 249836 h 471291"/>
                <a:gd name="connsiteX493" fmla="*/ 25522 w 287641"/>
                <a:gd name="connsiteY493" fmla="*/ 248251 h 471291"/>
                <a:gd name="connsiteX494" fmla="*/ 25570 w 287641"/>
                <a:gd name="connsiteY494" fmla="*/ 245790 h 471291"/>
                <a:gd name="connsiteX495" fmla="*/ 21391 w 287641"/>
                <a:gd name="connsiteY495" fmla="*/ 235264 h 471291"/>
                <a:gd name="connsiteX496" fmla="*/ 21553 w 287641"/>
                <a:gd name="connsiteY496" fmla="*/ 232916 h 471291"/>
                <a:gd name="connsiteX497" fmla="*/ 21951 w 287641"/>
                <a:gd name="connsiteY497" fmla="*/ 230799 h 471291"/>
                <a:gd name="connsiteX498" fmla="*/ 21503 w 287641"/>
                <a:gd name="connsiteY498" fmla="*/ 227185 h 471291"/>
                <a:gd name="connsiteX499" fmla="*/ 21260 w 287641"/>
                <a:gd name="connsiteY499" fmla="*/ 223946 h 471291"/>
                <a:gd name="connsiteX500" fmla="*/ 21977 w 287641"/>
                <a:gd name="connsiteY500" fmla="*/ 222963 h 471291"/>
                <a:gd name="connsiteX501" fmla="*/ 23682 w 287641"/>
                <a:gd name="connsiteY501" fmla="*/ 221133 h 471291"/>
                <a:gd name="connsiteX502" fmla="*/ 22056 w 287641"/>
                <a:gd name="connsiteY502" fmla="*/ 218291 h 471291"/>
                <a:gd name="connsiteX503" fmla="*/ 21925 w 287641"/>
                <a:gd name="connsiteY503" fmla="*/ 218060 h 471291"/>
                <a:gd name="connsiteX504" fmla="*/ 18856 w 287641"/>
                <a:gd name="connsiteY504" fmla="*/ 211011 h 471291"/>
                <a:gd name="connsiteX505" fmla="*/ 23549 w 287641"/>
                <a:gd name="connsiteY505" fmla="*/ 204008 h 471291"/>
                <a:gd name="connsiteX506" fmla="*/ 22732 w 287641"/>
                <a:gd name="connsiteY506" fmla="*/ 200377 h 471291"/>
                <a:gd name="connsiteX507" fmla="*/ 25535 w 287641"/>
                <a:gd name="connsiteY507" fmla="*/ 197738 h 471291"/>
                <a:gd name="connsiteX508" fmla="*/ 30638 w 287641"/>
                <a:gd name="connsiteY508" fmla="*/ 191681 h 471291"/>
                <a:gd name="connsiteX509" fmla="*/ 33508 w 287641"/>
                <a:gd name="connsiteY509" fmla="*/ 188267 h 471291"/>
                <a:gd name="connsiteX510" fmla="*/ 34117 w 287641"/>
                <a:gd name="connsiteY510" fmla="*/ 187670 h 471291"/>
                <a:gd name="connsiteX511" fmla="*/ 36388 w 287641"/>
                <a:gd name="connsiteY511" fmla="*/ 186168 h 471291"/>
                <a:gd name="connsiteX512" fmla="*/ 40696 w 287641"/>
                <a:gd name="connsiteY512" fmla="*/ 184385 h 471291"/>
                <a:gd name="connsiteX513" fmla="*/ 45471 w 287641"/>
                <a:gd name="connsiteY513" fmla="*/ 183516 h 471291"/>
                <a:gd name="connsiteX514" fmla="*/ 47596 w 287641"/>
                <a:gd name="connsiteY514" fmla="*/ 183527 h 471291"/>
                <a:gd name="connsiteX515" fmla="*/ 55801 w 287641"/>
                <a:gd name="connsiteY515" fmla="*/ 184734 h 471291"/>
                <a:gd name="connsiteX516" fmla="*/ 62210 w 287641"/>
                <a:gd name="connsiteY516" fmla="*/ 185673 h 471291"/>
                <a:gd name="connsiteX517" fmla="*/ 63143 w 287641"/>
                <a:gd name="connsiteY517" fmla="*/ 184730 h 471291"/>
                <a:gd name="connsiteX518" fmla="*/ 64482 w 287641"/>
                <a:gd name="connsiteY518" fmla="*/ 182795 h 471291"/>
                <a:gd name="connsiteX519" fmla="*/ 66205 w 287641"/>
                <a:gd name="connsiteY519" fmla="*/ 180035 h 471291"/>
                <a:gd name="connsiteX520" fmla="*/ 66356 w 287641"/>
                <a:gd name="connsiteY520" fmla="*/ 176962 h 471291"/>
                <a:gd name="connsiteX521" fmla="*/ 65734 w 287641"/>
                <a:gd name="connsiteY521" fmla="*/ 172439 h 471291"/>
                <a:gd name="connsiteX522" fmla="*/ 64799 w 287641"/>
                <a:gd name="connsiteY522" fmla="*/ 169727 h 471291"/>
                <a:gd name="connsiteX523" fmla="*/ 60286 w 287641"/>
                <a:gd name="connsiteY523" fmla="*/ 167963 h 471291"/>
                <a:gd name="connsiteX524" fmla="*/ 55350 w 287641"/>
                <a:gd name="connsiteY524" fmla="*/ 165542 h 471291"/>
                <a:gd name="connsiteX525" fmla="*/ 61420 w 287641"/>
                <a:gd name="connsiteY525" fmla="*/ 157854 h 471291"/>
                <a:gd name="connsiteX526" fmla="*/ 65629 w 287641"/>
                <a:gd name="connsiteY526" fmla="*/ 152501 h 471291"/>
                <a:gd name="connsiteX527" fmla="*/ 70876 w 287641"/>
                <a:gd name="connsiteY527" fmla="*/ 144422 h 471291"/>
                <a:gd name="connsiteX528" fmla="*/ 72508 w 287641"/>
                <a:gd name="connsiteY528" fmla="*/ 141051 h 471291"/>
                <a:gd name="connsiteX529" fmla="*/ 73689 w 287641"/>
                <a:gd name="connsiteY529" fmla="*/ 139711 h 471291"/>
                <a:gd name="connsiteX530" fmla="*/ 75233 w 287641"/>
                <a:gd name="connsiteY530" fmla="*/ 127217 h 471291"/>
                <a:gd name="connsiteX531" fmla="*/ 76257 w 287641"/>
                <a:gd name="connsiteY531" fmla="*/ 123708 h 471291"/>
                <a:gd name="connsiteX532" fmla="*/ 77114 w 287641"/>
                <a:gd name="connsiteY532" fmla="*/ 121873 h 471291"/>
                <a:gd name="connsiteX533" fmla="*/ 77127 w 287641"/>
                <a:gd name="connsiteY533" fmla="*/ 119986 h 471291"/>
                <a:gd name="connsiteX534" fmla="*/ 76570 w 287641"/>
                <a:gd name="connsiteY534" fmla="*/ 116802 h 471291"/>
                <a:gd name="connsiteX535" fmla="*/ 75095 w 287641"/>
                <a:gd name="connsiteY535" fmla="*/ 109590 h 471291"/>
                <a:gd name="connsiteX536" fmla="*/ 83381 w 287641"/>
                <a:gd name="connsiteY536" fmla="*/ 108696 h 471291"/>
                <a:gd name="connsiteX537" fmla="*/ 86080 w 287641"/>
                <a:gd name="connsiteY537" fmla="*/ 108190 h 471291"/>
                <a:gd name="connsiteX538" fmla="*/ 88585 w 287641"/>
                <a:gd name="connsiteY538" fmla="*/ 107326 h 471291"/>
                <a:gd name="connsiteX539" fmla="*/ 93485 w 287641"/>
                <a:gd name="connsiteY539" fmla="*/ 105086 h 471291"/>
                <a:gd name="connsiteX540" fmla="*/ 95892 w 287641"/>
                <a:gd name="connsiteY540" fmla="*/ 103105 h 471291"/>
                <a:gd name="connsiteX541" fmla="*/ 94547 w 287641"/>
                <a:gd name="connsiteY541" fmla="*/ 96329 h 471291"/>
                <a:gd name="connsiteX542" fmla="*/ 97512 w 287641"/>
                <a:gd name="connsiteY542" fmla="*/ 94031 h 471291"/>
                <a:gd name="connsiteX543" fmla="*/ 104746 w 287641"/>
                <a:gd name="connsiteY543" fmla="*/ 86006 h 471291"/>
                <a:gd name="connsiteX544" fmla="*/ 112563 w 287641"/>
                <a:gd name="connsiteY544" fmla="*/ 78290 h 471291"/>
                <a:gd name="connsiteX545" fmla="*/ 116229 w 287641"/>
                <a:gd name="connsiteY545" fmla="*/ 75362 h 471291"/>
                <a:gd name="connsiteX546" fmla="*/ 116609 w 287641"/>
                <a:gd name="connsiteY546" fmla="*/ 73929 h 471291"/>
                <a:gd name="connsiteX547" fmla="*/ 116910 w 287641"/>
                <a:gd name="connsiteY547" fmla="*/ 71624 h 471291"/>
                <a:gd name="connsiteX548" fmla="*/ 115281 w 287641"/>
                <a:gd name="connsiteY548" fmla="*/ 67999 h 471291"/>
                <a:gd name="connsiteX549" fmla="*/ 113532 w 287641"/>
                <a:gd name="connsiteY549" fmla="*/ 65749 h 471291"/>
                <a:gd name="connsiteX550" fmla="*/ 110125 w 287641"/>
                <a:gd name="connsiteY550" fmla="*/ 61479 h 471291"/>
                <a:gd name="connsiteX551" fmla="*/ 111587 w 287641"/>
                <a:gd name="connsiteY551" fmla="*/ 58496 h 471291"/>
                <a:gd name="connsiteX552" fmla="*/ 114098 w 287641"/>
                <a:gd name="connsiteY552" fmla="*/ 57916 h 471291"/>
                <a:gd name="connsiteX553" fmla="*/ 117415 w 287641"/>
                <a:gd name="connsiteY553" fmla="*/ 56743 h 471291"/>
                <a:gd name="connsiteX554" fmla="*/ 120002 w 287641"/>
                <a:gd name="connsiteY554" fmla="*/ 54187 h 471291"/>
                <a:gd name="connsiteX555" fmla="*/ 120254 w 287641"/>
                <a:gd name="connsiteY555" fmla="*/ 53858 h 471291"/>
                <a:gd name="connsiteX556" fmla="*/ 124634 w 287641"/>
                <a:gd name="connsiteY556" fmla="*/ 43774 h 471291"/>
                <a:gd name="connsiteX557" fmla="*/ 133189 w 287641"/>
                <a:gd name="connsiteY557" fmla="*/ 38646 h 471291"/>
                <a:gd name="connsiteX558" fmla="*/ 136597 w 287641"/>
                <a:gd name="connsiteY558" fmla="*/ 35843 h 471291"/>
                <a:gd name="connsiteX559" fmla="*/ 141907 w 287641"/>
                <a:gd name="connsiteY559" fmla="*/ 37949 h 471291"/>
                <a:gd name="connsiteX560" fmla="*/ 149689 w 287641"/>
                <a:gd name="connsiteY560" fmla="*/ 41124 h 471291"/>
                <a:gd name="connsiteX561" fmla="*/ 153150 w 287641"/>
                <a:gd name="connsiteY561" fmla="*/ 36451 h 471291"/>
                <a:gd name="connsiteX562" fmla="*/ 154295 w 287641"/>
                <a:gd name="connsiteY562" fmla="*/ 34715 h 471291"/>
                <a:gd name="connsiteX563" fmla="*/ 155437 w 287641"/>
                <a:gd name="connsiteY563" fmla="*/ 32154 h 471291"/>
                <a:gd name="connsiteX564" fmla="*/ 154979 w 287641"/>
                <a:gd name="connsiteY564" fmla="*/ 27717 h 471291"/>
                <a:gd name="connsiteX565" fmla="*/ 154783 w 287641"/>
                <a:gd name="connsiteY565" fmla="*/ 21940 h 471291"/>
                <a:gd name="connsiteX566" fmla="*/ 155126 w 287641"/>
                <a:gd name="connsiteY566" fmla="*/ 19614 h 471291"/>
                <a:gd name="connsiteX567" fmla="*/ 158232 w 287641"/>
                <a:gd name="connsiteY567" fmla="*/ 18577 h 471291"/>
                <a:gd name="connsiteX568" fmla="*/ 159903 w 287641"/>
                <a:gd name="connsiteY568" fmla="*/ 18309 h 471291"/>
                <a:gd name="connsiteX569" fmla="*/ 168553 w 287641"/>
                <a:gd name="connsiteY569" fmla="*/ 20702 h 471291"/>
                <a:gd name="connsiteX570" fmla="*/ 170730 w 287641"/>
                <a:gd name="connsiteY570" fmla="*/ 20661 h 471291"/>
                <a:gd name="connsiteX571" fmla="*/ 174807 w 287641"/>
                <a:gd name="connsiteY571" fmla="*/ 20983 h 471291"/>
                <a:gd name="connsiteX572" fmla="*/ 179370 w 287641"/>
                <a:gd name="connsiteY572" fmla="*/ 22034 h 471291"/>
                <a:gd name="connsiteX573" fmla="*/ 188927 w 287641"/>
                <a:gd name="connsiteY573" fmla="*/ 24826 h 471291"/>
                <a:gd name="connsiteX574" fmla="*/ 192881 w 287641"/>
                <a:gd name="connsiteY574" fmla="*/ 25981 h 471291"/>
                <a:gd name="connsiteX575" fmla="*/ 195088 w 287641"/>
                <a:gd name="connsiteY575" fmla="*/ 26205 h 471291"/>
                <a:gd name="connsiteX576" fmla="*/ 196993 w 287641"/>
                <a:gd name="connsiteY576" fmla="*/ 24905 h 471291"/>
                <a:gd name="connsiteX577" fmla="*/ 201063 w 287641"/>
                <a:gd name="connsiteY577" fmla="*/ 21566 h 471291"/>
                <a:gd name="connsiteX578" fmla="*/ 195066 w 287641"/>
                <a:gd name="connsiteY578" fmla="*/ 19091 h 471291"/>
                <a:gd name="connsiteX579" fmla="*/ 199016 w 287641"/>
                <a:gd name="connsiteY579" fmla="*/ 16583 h 471291"/>
                <a:gd name="connsiteX580" fmla="*/ 201063 w 287641"/>
                <a:gd name="connsiteY580" fmla="*/ 14051 h 471291"/>
                <a:gd name="connsiteX581" fmla="*/ 202819 w 287641"/>
                <a:gd name="connsiteY581" fmla="*/ 10934 h 471291"/>
                <a:gd name="connsiteX582" fmla="*/ 203451 w 287641"/>
                <a:gd name="connsiteY582" fmla="*/ 7280 h 471291"/>
                <a:gd name="connsiteX583" fmla="*/ 203209 w 287641"/>
                <a:gd name="connsiteY583" fmla="*/ 5312 h 471291"/>
                <a:gd name="connsiteX584" fmla="*/ 201998 w 287641"/>
                <a:gd name="connsiteY584" fmla="*/ 3971 h 471291"/>
                <a:gd name="connsiteX585" fmla="*/ 198336 w 287641"/>
                <a:gd name="connsiteY585" fmla="*/ 619 h 471291"/>
                <a:gd name="connsiteX586" fmla="*/ 206634 w 287641"/>
                <a:gd name="connsiteY586" fmla="*/ 138 h 471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Lst>
              <a:rect l="l" t="t" r="r" b="b"/>
              <a:pathLst>
                <a:path w="287641" h="471291">
                  <a:moveTo>
                    <a:pt x="129980" y="408700"/>
                  </a:moveTo>
                  <a:lnTo>
                    <a:pt x="131392" y="409106"/>
                  </a:lnTo>
                  <a:lnTo>
                    <a:pt x="132021" y="409502"/>
                  </a:lnTo>
                  <a:lnTo>
                    <a:pt x="130533" y="410751"/>
                  </a:lnTo>
                  <a:lnTo>
                    <a:pt x="130706" y="412376"/>
                  </a:lnTo>
                  <a:lnTo>
                    <a:pt x="130602" y="413049"/>
                  </a:lnTo>
                  <a:lnTo>
                    <a:pt x="126847" y="420100"/>
                  </a:lnTo>
                  <a:lnTo>
                    <a:pt x="125843" y="424667"/>
                  </a:lnTo>
                  <a:lnTo>
                    <a:pt x="124511" y="425780"/>
                  </a:lnTo>
                  <a:lnTo>
                    <a:pt x="118993" y="441942"/>
                  </a:lnTo>
                  <a:lnTo>
                    <a:pt x="117858" y="443517"/>
                  </a:lnTo>
                  <a:lnTo>
                    <a:pt x="116851" y="443406"/>
                  </a:lnTo>
                  <a:lnTo>
                    <a:pt x="116180" y="441305"/>
                  </a:lnTo>
                  <a:lnTo>
                    <a:pt x="116022" y="435892"/>
                  </a:lnTo>
                  <a:lnTo>
                    <a:pt x="116424" y="433213"/>
                  </a:lnTo>
                  <a:lnTo>
                    <a:pt x="121246" y="423521"/>
                  </a:lnTo>
                  <a:lnTo>
                    <a:pt x="123398" y="422728"/>
                  </a:lnTo>
                  <a:lnTo>
                    <a:pt x="126426" y="416765"/>
                  </a:lnTo>
                  <a:lnTo>
                    <a:pt x="127242" y="414108"/>
                  </a:lnTo>
                  <a:lnTo>
                    <a:pt x="128555" y="411712"/>
                  </a:lnTo>
                  <a:lnTo>
                    <a:pt x="129330" y="409567"/>
                  </a:lnTo>
                  <a:close/>
                  <a:moveTo>
                    <a:pt x="171445" y="390509"/>
                  </a:moveTo>
                  <a:lnTo>
                    <a:pt x="172680" y="391004"/>
                  </a:lnTo>
                  <a:lnTo>
                    <a:pt x="175334" y="393055"/>
                  </a:lnTo>
                  <a:lnTo>
                    <a:pt x="173505" y="393817"/>
                  </a:lnTo>
                  <a:lnTo>
                    <a:pt x="172429" y="396070"/>
                  </a:lnTo>
                  <a:lnTo>
                    <a:pt x="170948" y="396450"/>
                  </a:lnTo>
                  <a:lnTo>
                    <a:pt x="169527" y="397201"/>
                  </a:lnTo>
                  <a:lnTo>
                    <a:pt x="169020" y="404312"/>
                  </a:lnTo>
                  <a:lnTo>
                    <a:pt x="171607" y="407008"/>
                  </a:lnTo>
                  <a:lnTo>
                    <a:pt x="170186" y="407385"/>
                  </a:lnTo>
                  <a:lnTo>
                    <a:pt x="168886" y="408192"/>
                  </a:lnTo>
                  <a:lnTo>
                    <a:pt x="167957" y="409384"/>
                  </a:lnTo>
                  <a:lnTo>
                    <a:pt x="167007" y="411948"/>
                  </a:lnTo>
                  <a:lnTo>
                    <a:pt x="163438" y="413400"/>
                  </a:lnTo>
                  <a:lnTo>
                    <a:pt x="162086" y="414474"/>
                  </a:lnTo>
                  <a:lnTo>
                    <a:pt x="160093" y="416861"/>
                  </a:lnTo>
                  <a:lnTo>
                    <a:pt x="159054" y="420321"/>
                  </a:lnTo>
                  <a:lnTo>
                    <a:pt x="157035" y="421795"/>
                  </a:lnTo>
                  <a:lnTo>
                    <a:pt x="154768" y="422144"/>
                  </a:lnTo>
                  <a:lnTo>
                    <a:pt x="156098" y="419312"/>
                  </a:lnTo>
                  <a:lnTo>
                    <a:pt x="157841" y="417002"/>
                  </a:lnTo>
                  <a:lnTo>
                    <a:pt x="156165" y="415416"/>
                  </a:lnTo>
                  <a:lnTo>
                    <a:pt x="155156" y="412931"/>
                  </a:lnTo>
                  <a:lnTo>
                    <a:pt x="153855" y="411024"/>
                  </a:lnTo>
                  <a:lnTo>
                    <a:pt x="154891" y="408891"/>
                  </a:lnTo>
                  <a:lnTo>
                    <a:pt x="154381" y="405391"/>
                  </a:lnTo>
                  <a:lnTo>
                    <a:pt x="154550" y="401970"/>
                  </a:lnTo>
                  <a:lnTo>
                    <a:pt x="156061" y="400241"/>
                  </a:lnTo>
                  <a:lnTo>
                    <a:pt x="157793" y="398831"/>
                  </a:lnTo>
                  <a:lnTo>
                    <a:pt x="160490" y="395583"/>
                  </a:lnTo>
                  <a:lnTo>
                    <a:pt x="163414" y="393226"/>
                  </a:lnTo>
                  <a:lnTo>
                    <a:pt x="167493" y="392166"/>
                  </a:lnTo>
                  <a:lnTo>
                    <a:pt x="169335" y="393143"/>
                  </a:lnTo>
                  <a:lnTo>
                    <a:pt x="170130" y="390998"/>
                  </a:lnTo>
                  <a:close/>
                  <a:moveTo>
                    <a:pt x="176625" y="388398"/>
                  </a:moveTo>
                  <a:lnTo>
                    <a:pt x="179860" y="388520"/>
                  </a:lnTo>
                  <a:lnTo>
                    <a:pt x="180972" y="388990"/>
                  </a:lnTo>
                  <a:lnTo>
                    <a:pt x="177100" y="390280"/>
                  </a:lnTo>
                  <a:lnTo>
                    <a:pt x="176703" y="392277"/>
                  </a:lnTo>
                  <a:lnTo>
                    <a:pt x="175556" y="392125"/>
                  </a:lnTo>
                  <a:lnTo>
                    <a:pt x="174511" y="390651"/>
                  </a:lnTo>
                  <a:close/>
                  <a:moveTo>
                    <a:pt x="161812" y="351984"/>
                  </a:moveTo>
                  <a:lnTo>
                    <a:pt x="162267" y="352091"/>
                  </a:lnTo>
                  <a:lnTo>
                    <a:pt x="160734" y="354550"/>
                  </a:lnTo>
                  <a:lnTo>
                    <a:pt x="159754" y="354860"/>
                  </a:lnTo>
                  <a:lnTo>
                    <a:pt x="159268" y="354762"/>
                  </a:lnTo>
                  <a:lnTo>
                    <a:pt x="159873" y="353249"/>
                  </a:lnTo>
                  <a:lnTo>
                    <a:pt x="160322" y="352596"/>
                  </a:lnTo>
                  <a:close/>
                  <a:moveTo>
                    <a:pt x="165261" y="337596"/>
                  </a:moveTo>
                  <a:lnTo>
                    <a:pt x="166975" y="338028"/>
                  </a:lnTo>
                  <a:lnTo>
                    <a:pt x="166964" y="338356"/>
                  </a:lnTo>
                  <a:lnTo>
                    <a:pt x="165325" y="339420"/>
                  </a:lnTo>
                  <a:lnTo>
                    <a:pt x="164697" y="340135"/>
                  </a:lnTo>
                  <a:lnTo>
                    <a:pt x="164142" y="341220"/>
                  </a:lnTo>
                  <a:lnTo>
                    <a:pt x="163585" y="339890"/>
                  </a:lnTo>
                  <a:lnTo>
                    <a:pt x="163807" y="339630"/>
                  </a:lnTo>
                  <a:lnTo>
                    <a:pt x="164187" y="338316"/>
                  </a:lnTo>
                  <a:close/>
                  <a:moveTo>
                    <a:pt x="209512" y="0"/>
                  </a:moveTo>
                  <a:lnTo>
                    <a:pt x="215548" y="2210"/>
                  </a:lnTo>
                  <a:lnTo>
                    <a:pt x="215812" y="2688"/>
                  </a:lnTo>
                  <a:lnTo>
                    <a:pt x="215855" y="3839"/>
                  </a:lnTo>
                  <a:lnTo>
                    <a:pt x="216066" y="5031"/>
                  </a:lnTo>
                  <a:lnTo>
                    <a:pt x="221923" y="8050"/>
                  </a:lnTo>
                  <a:lnTo>
                    <a:pt x="223611" y="9646"/>
                  </a:lnTo>
                  <a:lnTo>
                    <a:pt x="227207" y="12069"/>
                  </a:lnTo>
                  <a:lnTo>
                    <a:pt x="228159" y="13376"/>
                  </a:lnTo>
                  <a:lnTo>
                    <a:pt x="231489" y="14904"/>
                  </a:lnTo>
                  <a:lnTo>
                    <a:pt x="233877" y="16536"/>
                  </a:lnTo>
                  <a:lnTo>
                    <a:pt x="236667" y="17859"/>
                  </a:lnTo>
                  <a:lnTo>
                    <a:pt x="239923" y="19914"/>
                  </a:lnTo>
                  <a:lnTo>
                    <a:pt x="244294" y="21549"/>
                  </a:lnTo>
                  <a:lnTo>
                    <a:pt x="247986" y="22082"/>
                  </a:lnTo>
                  <a:lnTo>
                    <a:pt x="257280" y="24881"/>
                  </a:lnTo>
                  <a:lnTo>
                    <a:pt x="258865" y="25787"/>
                  </a:lnTo>
                  <a:lnTo>
                    <a:pt x="261547" y="27732"/>
                  </a:lnTo>
                  <a:lnTo>
                    <a:pt x="264255" y="29982"/>
                  </a:lnTo>
                  <a:lnTo>
                    <a:pt x="266127" y="34594"/>
                  </a:lnTo>
                  <a:lnTo>
                    <a:pt x="269136" y="34834"/>
                  </a:lnTo>
                  <a:lnTo>
                    <a:pt x="269952" y="36419"/>
                  </a:lnTo>
                  <a:lnTo>
                    <a:pt x="272578" y="39132"/>
                  </a:lnTo>
                  <a:lnTo>
                    <a:pt x="276218" y="41522"/>
                  </a:lnTo>
                  <a:lnTo>
                    <a:pt x="276087" y="42326"/>
                  </a:lnTo>
                  <a:lnTo>
                    <a:pt x="273189" y="44525"/>
                  </a:lnTo>
                  <a:lnTo>
                    <a:pt x="272878" y="47502"/>
                  </a:lnTo>
                  <a:lnTo>
                    <a:pt x="273152" y="51297"/>
                  </a:lnTo>
                  <a:lnTo>
                    <a:pt x="274061" y="54386"/>
                  </a:lnTo>
                  <a:lnTo>
                    <a:pt x="273966" y="55288"/>
                  </a:lnTo>
                  <a:lnTo>
                    <a:pt x="273247" y="56351"/>
                  </a:lnTo>
                  <a:lnTo>
                    <a:pt x="272383" y="58019"/>
                  </a:lnTo>
                  <a:lnTo>
                    <a:pt x="272075" y="59473"/>
                  </a:lnTo>
                  <a:lnTo>
                    <a:pt x="272150" y="60186"/>
                  </a:lnTo>
                  <a:lnTo>
                    <a:pt x="272442" y="60573"/>
                  </a:lnTo>
                  <a:lnTo>
                    <a:pt x="273968" y="60602"/>
                  </a:lnTo>
                  <a:lnTo>
                    <a:pt x="276704" y="60945"/>
                  </a:lnTo>
                  <a:lnTo>
                    <a:pt x="278313" y="61590"/>
                  </a:lnTo>
                  <a:lnTo>
                    <a:pt x="279226" y="65128"/>
                  </a:lnTo>
                  <a:lnTo>
                    <a:pt x="278918" y="65807"/>
                  </a:lnTo>
                  <a:lnTo>
                    <a:pt x="276611" y="67406"/>
                  </a:lnTo>
                  <a:lnTo>
                    <a:pt x="275935" y="68675"/>
                  </a:lnTo>
                  <a:lnTo>
                    <a:pt x="275869" y="70538"/>
                  </a:lnTo>
                  <a:lnTo>
                    <a:pt x="276277" y="72584"/>
                  </a:lnTo>
                  <a:lnTo>
                    <a:pt x="277069" y="74871"/>
                  </a:lnTo>
                  <a:lnTo>
                    <a:pt x="278874" y="77315"/>
                  </a:lnTo>
                  <a:lnTo>
                    <a:pt x="281314" y="79867"/>
                  </a:lnTo>
                  <a:lnTo>
                    <a:pt x="282917" y="81958"/>
                  </a:lnTo>
                  <a:lnTo>
                    <a:pt x="283675" y="83430"/>
                  </a:lnTo>
                  <a:lnTo>
                    <a:pt x="283951" y="84458"/>
                  </a:lnTo>
                  <a:lnTo>
                    <a:pt x="282852" y="85750"/>
                  </a:lnTo>
                  <a:lnTo>
                    <a:pt x="281863" y="88303"/>
                  </a:lnTo>
                  <a:lnTo>
                    <a:pt x="281679" y="91223"/>
                  </a:lnTo>
                  <a:lnTo>
                    <a:pt x="281230" y="93125"/>
                  </a:lnTo>
                  <a:lnTo>
                    <a:pt x="279081" y="95739"/>
                  </a:lnTo>
                  <a:lnTo>
                    <a:pt x="277596" y="96665"/>
                  </a:lnTo>
                  <a:lnTo>
                    <a:pt x="277173" y="98043"/>
                  </a:lnTo>
                  <a:lnTo>
                    <a:pt x="276991" y="100353"/>
                  </a:lnTo>
                  <a:lnTo>
                    <a:pt x="277427" y="103166"/>
                  </a:lnTo>
                  <a:lnTo>
                    <a:pt x="277577" y="105065"/>
                  </a:lnTo>
                  <a:lnTo>
                    <a:pt x="278034" y="106431"/>
                  </a:lnTo>
                  <a:lnTo>
                    <a:pt x="278708" y="107322"/>
                  </a:lnTo>
                  <a:lnTo>
                    <a:pt x="282155" y="108897"/>
                  </a:lnTo>
                  <a:lnTo>
                    <a:pt x="284085" y="112118"/>
                  </a:lnTo>
                  <a:lnTo>
                    <a:pt x="285288" y="114698"/>
                  </a:lnTo>
                  <a:lnTo>
                    <a:pt x="287641" y="121435"/>
                  </a:lnTo>
                  <a:lnTo>
                    <a:pt x="281783" y="122275"/>
                  </a:lnTo>
                  <a:lnTo>
                    <a:pt x="277380" y="120588"/>
                  </a:lnTo>
                  <a:lnTo>
                    <a:pt x="275184" y="121433"/>
                  </a:lnTo>
                  <a:lnTo>
                    <a:pt x="271342" y="121469"/>
                  </a:lnTo>
                  <a:lnTo>
                    <a:pt x="266980" y="122133"/>
                  </a:lnTo>
                  <a:lnTo>
                    <a:pt x="265510" y="123452"/>
                  </a:lnTo>
                  <a:lnTo>
                    <a:pt x="264354" y="123982"/>
                  </a:lnTo>
                  <a:lnTo>
                    <a:pt x="260308" y="122120"/>
                  </a:lnTo>
                  <a:lnTo>
                    <a:pt x="256488" y="119040"/>
                  </a:lnTo>
                  <a:lnTo>
                    <a:pt x="253696" y="121389"/>
                  </a:lnTo>
                  <a:lnTo>
                    <a:pt x="251889" y="121834"/>
                  </a:lnTo>
                  <a:lnTo>
                    <a:pt x="250265" y="119708"/>
                  </a:lnTo>
                  <a:lnTo>
                    <a:pt x="248846" y="119363"/>
                  </a:lnTo>
                  <a:lnTo>
                    <a:pt x="248079" y="120072"/>
                  </a:lnTo>
                  <a:lnTo>
                    <a:pt x="247408" y="121949"/>
                  </a:lnTo>
                  <a:lnTo>
                    <a:pt x="246339" y="123425"/>
                  </a:lnTo>
                  <a:lnTo>
                    <a:pt x="246060" y="124359"/>
                  </a:lnTo>
                  <a:lnTo>
                    <a:pt x="245875" y="128120"/>
                  </a:lnTo>
                  <a:lnTo>
                    <a:pt x="245596" y="128991"/>
                  </a:lnTo>
                  <a:lnTo>
                    <a:pt x="241886" y="128505"/>
                  </a:lnTo>
                  <a:lnTo>
                    <a:pt x="242109" y="129491"/>
                  </a:lnTo>
                  <a:lnTo>
                    <a:pt x="242916" y="129987"/>
                  </a:lnTo>
                  <a:lnTo>
                    <a:pt x="243242" y="130612"/>
                  </a:lnTo>
                  <a:lnTo>
                    <a:pt x="241897" y="131433"/>
                  </a:lnTo>
                  <a:lnTo>
                    <a:pt x="238213" y="131356"/>
                  </a:lnTo>
                  <a:lnTo>
                    <a:pt x="237837" y="132227"/>
                  </a:lnTo>
                  <a:lnTo>
                    <a:pt x="238874" y="133603"/>
                  </a:lnTo>
                  <a:lnTo>
                    <a:pt x="238066" y="134807"/>
                  </a:lnTo>
                  <a:lnTo>
                    <a:pt x="237317" y="135281"/>
                  </a:lnTo>
                  <a:lnTo>
                    <a:pt x="232918" y="136028"/>
                  </a:lnTo>
                  <a:lnTo>
                    <a:pt x="230372" y="135857"/>
                  </a:lnTo>
                  <a:lnTo>
                    <a:pt x="229645" y="136636"/>
                  </a:lnTo>
                  <a:lnTo>
                    <a:pt x="229441" y="137647"/>
                  </a:lnTo>
                  <a:lnTo>
                    <a:pt x="229923" y="138639"/>
                  </a:lnTo>
                  <a:lnTo>
                    <a:pt x="231046" y="139167"/>
                  </a:lnTo>
                  <a:lnTo>
                    <a:pt x="231415" y="139796"/>
                  </a:lnTo>
                  <a:lnTo>
                    <a:pt x="231338" y="141158"/>
                  </a:lnTo>
                  <a:lnTo>
                    <a:pt x="230403" y="141405"/>
                  </a:lnTo>
                  <a:lnTo>
                    <a:pt x="227749" y="139012"/>
                  </a:lnTo>
                  <a:lnTo>
                    <a:pt x="226941" y="139135"/>
                  </a:lnTo>
                  <a:lnTo>
                    <a:pt x="227548" y="140380"/>
                  </a:lnTo>
                  <a:lnTo>
                    <a:pt x="229064" y="141736"/>
                  </a:lnTo>
                  <a:lnTo>
                    <a:pt x="229940" y="143120"/>
                  </a:lnTo>
                  <a:lnTo>
                    <a:pt x="230707" y="144785"/>
                  </a:lnTo>
                  <a:lnTo>
                    <a:pt x="230558" y="146046"/>
                  </a:lnTo>
                  <a:lnTo>
                    <a:pt x="227263" y="150112"/>
                  </a:lnTo>
                  <a:lnTo>
                    <a:pt x="224363" y="152677"/>
                  </a:lnTo>
                  <a:lnTo>
                    <a:pt x="222199" y="154984"/>
                  </a:lnTo>
                  <a:lnTo>
                    <a:pt x="220923" y="157427"/>
                  </a:lnTo>
                  <a:lnTo>
                    <a:pt x="222400" y="158658"/>
                  </a:lnTo>
                  <a:lnTo>
                    <a:pt x="224043" y="160431"/>
                  </a:lnTo>
                  <a:lnTo>
                    <a:pt x="225198" y="163837"/>
                  </a:lnTo>
                  <a:lnTo>
                    <a:pt x="226576" y="166868"/>
                  </a:lnTo>
                  <a:lnTo>
                    <a:pt x="229357" y="169760"/>
                  </a:lnTo>
                  <a:lnTo>
                    <a:pt x="228798" y="171430"/>
                  </a:lnTo>
                  <a:lnTo>
                    <a:pt x="228150" y="172728"/>
                  </a:lnTo>
                  <a:lnTo>
                    <a:pt x="223523" y="175583"/>
                  </a:lnTo>
                  <a:lnTo>
                    <a:pt x="218276" y="179878"/>
                  </a:lnTo>
                  <a:lnTo>
                    <a:pt x="212620" y="190827"/>
                  </a:lnTo>
                  <a:lnTo>
                    <a:pt x="210739" y="192290"/>
                  </a:lnTo>
                  <a:lnTo>
                    <a:pt x="205788" y="194137"/>
                  </a:lnTo>
                  <a:lnTo>
                    <a:pt x="203967" y="195923"/>
                  </a:lnTo>
                  <a:lnTo>
                    <a:pt x="200281" y="198045"/>
                  </a:lnTo>
                  <a:lnTo>
                    <a:pt x="193846" y="199865"/>
                  </a:lnTo>
                  <a:lnTo>
                    <a:pt x="190927" y="202400"/>
                  </a:lnTo>
                  <a:lnTo>
                    <a:pt x="189609" y="205019"/>
                  </a:lnTo>
                  <a:lnTo>
                    <a:pt x="188143" y="205205"/>
                  </a:lnTo>
                  <a:lnTo>
                    <a:pt x="186690" y="204182"/>
                  </a:lnTo>
                  <a:lnTo>
                    <a:pt x="184751" y="203420"/>
                  </a:lnTo>
                  <a:lnTo>
                    <a:pt x="184498" y="205128"/>
                  </a:lnTo>
                  <a:lnTo>
                    <a:pt x="184580" y="206381"/>
                  </a:lnTo>
                  <a:lnTo>
                    <a:pt x="181477" y="204524"/>
                  </a:lnTo>
                  <a:lnTo>
                    <a:pt x="180013" y="206227"/>
                  </a:lnTo>
                  <a:lnTo>
                    <a:pt x="178869" y="209070"/>
                  </a:lnTo>
                  <a:lnTo>
                    <a:pt x="174403" y="212891"/>
                  </a:lnTo>
                  <a:lnTo>
                    <a:pt x="169590" y="212204"/>
                  </a:lnTo>
                  <a:lnTo>
                    <a:pt x="169050" y="212878"/>
                  </a:lnTo>
                  <a:lnTo>
                    <a:pt x="170331" y="213366"/>
                  </a:lnTo>
                  <a:lnTo>
                    <a:pt x="170525" y="213976"/>
                  </a:lnTo>
                  <a:lnTo>
                    <a:pt x="169651" y="214301"/>
                  </a:lnTo>
                  <a:lnTo>
                    <a:pt x="168327" y="214267"/>
                  </a:lnTo>
                  <a:lnTo>
                    <a:pt x="166284" y="215021"/>
                  </a:lnTo>
                  <a:lnTo>
                    <a:pt x="164941" y="214962"/>
                  </a:lnTo>
                  <a:lnTo>
                    <a:pt x="164304" y="216765"/>
                  </a:lnTo>
                  <a:lnTo>
                    <a:pt x="163265" y="218950"/>
                  </a:lnTo>
                  <a:lnTo>
                    <a:pt x="160546" y="219854"/>
                  </a:lnTo>
                  <a:lnTo>
                    <a:pt x="159143" y="220040"/>
                  </a:lnTo>
                  <a:lnTo>
                    <a:pt x="158450" y="221281"/>
                  </a:lnTo>
                  <a:lnTo>
                    <a:pt x="162632" y="221541"/>
                  </a:lnTo>
                  <a:lnTo>
                    <a:pt x="162298" y="222591"/>
                  </a:lnTo>
                  <a:lnTo>
                    <a:pt x="162203" y="223640"/>
                  </a:lnTo>
                  <a:lnTo>
                    <a:pt x="161771" y="224765"/>
                  </a:lnTo>
                  <a:lnTo>
                    <a:pt x="157016" y="226384"/>
                  </a:lnTo>
                  <a:lnTo>
                    <a:pt x="156284" y="227659"/>
                  </a:lnTo>
                  <a:lnTo>
                    <a:pt x="155291" y="228449"/>
                  </a:lnTo>
                  <a:lnTo>
                    <a:pt x="153176" y="228404"/>
                  </a:lnTo>
                  <a:lnTo>
                    <a:pt x="153254" y="227668"/>
                  </a:lnTo>
                  <a:lnTo>
                    <a:pt x="153600" y="226835"/>
                  </a:lnTo>
                  <a:lnTo>
                    <a:pt x="150449" y="226910"/>
                  </a:lnTo>
                  <a:lnTo>
                    <a:pt x="149467" y="225080"/>
                  </a:lnTo>
                  <a:lnTo>
                    <a:pt x="148869" y="225549"/>
                  </a:lnTo>
                  <a:lnTo>
                    <a:pt x="149223" y="227026"/>
                  </a:lnTo>
                  <a:lnTo>
                    <a:pt x="150048" y="228561"/>
                  </a:lnTo>
                  <a:lnTo>
                    <a:pt x="150965" y="230809"/>
                  </a:lnTo>
                  <a:lnTo>
                    <a:pt x="150220" y="232230"/>
                  </a:lnTo>
                  <a:lnTo>
                    <a:pt x="149387" y="232934"/>
                  </a:lnTo>
                  <a:lnTo>
                    <a:pt x="149994" y="233584"/>
                  </a:lnTo>
                  <a:lnTo>
                    <a:pt x="151676" y="234079"/>
                  </a:lnTo>
                  <a:lnTo>
                    <a:pt x="152356" y="234966"/>
                  </a:lnTo>
                  <a:lnTo>
                    <a:pt x="150361" y="235726"/>
                  </a:lnTo>
                  <a:lnTo>
                    <a:pt x="147871" y="238333"/>
                  </a:lnTo>
                  <a:lnTo>
                    <a:pt x="145290" y="238397"/>
                  </a:lnTo>
                  <a:lnTo>
                    <a:pt x="143712" y="240117"/>
                  </a:lnTo>
                  <a:lnTo>
                    <a:pt x="142036" y="240111"/>
                  </a:lnTo>
                  <a:lnTo>
                    <a:pt x="140674" y="239028"/>
                  </a:lnTo>
                  <a:lnTo>
                    <a:pt x="138490" y="238138"/>
                  </a:lnTo>
                  <a:lnTo>
                    <a:pt x="137787" y="239707"/>
                  </a:lnTo>
                  <a:lnTo>
                    <a:pt x="137674" y="240954"/>
                  </a:lnTo>
                  <a:lnTo>
                    <a:pt x="138905" y="244105"/>
                  </a:lnTo>
                  <a:lnTo>
                    <a:pt x="141255" y="246541"/>
                  </a:lnTo>
                  <a:lnTo>
                    <a:pt x="143431" y="247592"/>
                  </a:lnTo>
                  <a:lnTo>
                    <a:pt x="141865" y="248301"/>
                  </a:lnTo>
                  <a:lnTo>
                    <a:pt x="140700" y="249875"/>
                  </a:lnTo>
                  <a:lnTo>
                    <a:pt x="139294" y="254783"/>
                  </a:lnTo>
                  <a:lnTo>
                    <a:pt x="138529" y="256712"/>
                  </a:lnTo>
                  <a:lnTo>
                    <a:pt x="137700" y="260113"/>
                  </a:lnTo>
                  <a:lnTo>
                    <a:pt x="138225" y="262978"/>
                  </a:lnTo>
                  <a:lnTo>
                    <a:pt x="138646" y="264385"/>
                  </a:lnTo>
                  <a:lnTo>
                    <a:pt x="139711" y="266294"/>
                  </a:lnTo>
                  <a:lnTo>
                    <a:pt x="136817" y="266048"/>
                  </a:lnTo>
                  <a:lnTo>
                    <a:pt x="133761" y="264933"/>
                  </a:lnTo>
                  <a:lnTo>
                    <a:pt x="134187" y="267248"/>
                  </a:lnTo>
                  <a:lnTo>
                    <a:pt x="132310" y="269981"/>
                  </a:lnTo>
                  <a:lnTo>
                    <a:pt x="132660" y="272389"/>
                  </a:lnTo>
                  <a:lnTo>
                    <a:pt x="133051" y="273956"/>
                  </a:lnTo>
                  <a:lnTo>
                    <a:pt x="132470" y="276546"/>
                  </a:lnTo>
                  <a:lnTo>
                    <a:pt x="133353" y="277359"/>
                  </a:lnTo>
                  <a:lnTo>
                    <a:pt x="133833" y="278899"/>
                  </a:lnTo>
                  <a:lnTo>
                    <a:pt x="133042" y="280036"/>
                  </a:lnTo>
                  <a:lnTo>
                    <a:pt x="133394" y="281014"/>
                  </a:lnTo>
                  <a:lnTo>
                    <a:pt x="133526" y="284473"/>
                  </a:lnTo>
                  <a:lnTo>
                    <a:pt x="134126" y="289873"/>
                  </a:lnTo>
                  <a:lnTo>
                    <a:pt x="133906" y="291014"/>
                  </a:lnTo>
                  <a:lnTo>
                    <a:pt x="135586" y="295695"/>
                  </a:lnTo>
                  <a:lnTo>
                    <a:pt x="135195" y="297333"/>
                  </a:lnTo>
                  <a:lnTo>
                    <a:pt x="134969" y="299419"/>
                  </a:lnTo>
                  <a:lnTo>
                    <a:pt x="137376" y="301421"/>
                  </a:lnTo>
                  <a:lnTo>
                    <a:pt x="139525" y="301389"/>
                  </a:lnTo>
                  <a:lnTo>
                    <a:pt x="141702" y="301358"/>
                  </a:lnTo>
                  <a:lnTo>
                    <a:pt x="142533" y="301860"/>
                  </a:lnTo>
                  <a:lnTo>
                    <a:pt x="143367" y="303275"/>
                  </a:lnTo>
                  <a:lnTo>
                    <a:pt x="144038" y="304945"/>
                  </a:lnTo>
                  <a:lnTo>
                    <a:pt x="145830" y="304807"/>
                  </a:lnTo>
                  <a:lnTo>
                    <a:pt x="148691" y="303448"/>
                  </a:lnTo>
                  <a:lnTo>
                    <a:pt x="150553" y="303124"/>
                  </a:lnTo>
                  <a:lnTo>
                    <a:pt x="151782" y="305736"/>
                  </a:lnTo>
                  <a:lnTo>
                    <a:pt x="155124" y="309182"/>
                  </a:lnTo>
                  <a:lnTo>
                    <a:pt x="157070" y="310724"/>
                  </a:lnTo>
                  <a:lnTo>
                    <a:pt x="160376" y="311535"/>
                  </a:lnTo>
                  <a:lnTo>
                    <a:pt x="163859" y="314308"/>
                  </a:lnTo>
                  <a:lnTo>
                    <a:pt x="163371" y="317646"/>
                  </a:lnTo>
                  <a:lnTo>
                    <a:pt x="164824" y="318760"/>
                  </a:lnTo>
                  <a:lnTo>
                    <a:pt x="168934" y="320076"/>
                  </a:lnTo>
                  <a:lnTo>
                    <a:pt x="170387" y="321849"/>
                  </a:lnTo>
                  <a:lnTo>
                    <a:pt x="171084" y="323359"/>
                  </a:lnTo>
                  <a:lnTo>
                    <a:pt x="172166" y="324611"/>
                  </a:lnTo>
                  <a:lnTo>
                    <a:pt x="173431" y="328388"/>
                  </a:lnTo>
                  <a:lnTo>
                    <a:pt x="172991" y="330712"/>
                  </a:lnTo>
                  <a:lnTo>
                    <a:pt x="171335" y="331510"/>
                  </a:lnTo>
                  <a:lnTo>
                    <a:pt x="167424" y="333997"/>
                  </a:lnTo>
                  <a:lnTo>
                    <a:pt x="165681" y="335851"/>
                  </a:lnTo>
                  <a:lnTo>
                    <a:pt x="164314" y="337006"/>
                  </a:lnTo>
                  <a:lnTo>
                    <a:pt x="160430" y="339479"/>
                  </a:lnTo>
                  <a:lnTo>
                    <a:pt x="159007" y="339923"/>
                  </a:lnTo>
                  <a:lnTo>
                    <a:pt x="157644" y="341207"/>
                  </a:lnTo>
                  <a:lnTo>
                    <a:pt x="156327" y="341769"/>
                  </a:lnTo>
                  <a:lnTo>
                    <a:pt x="155148" y="341446"/>
                  </a:lnTo>
                  <a:lnTo>
                    <a:pt x="150740" y="343770"/>
                  </a:lnTo>
                  <a:lnTo>
                    <a:pt x="151084" y="344762"/>
                  </a:lnTo>
                  <a:lnTo>
                    <a:pt x="154464" y="345182"/>
                  </a:lnTo>
                  <a:lnTo>
                    <a:pt x="156187" y="344684"/>
                  </a:lnTo>
                  <a:lnTo>
                    <a:pt x="157513" y="343516"/>
                  </a:lnTo>
                  <a:lnTo>
                    <a:pt x="158961" y="343248"/>
                  </a:lnTo>
                  <a:lnTo>
                    <a:pt x="160283" y="343468"/>
                  </a:lnTo>
                  <a:lnTo>
                    <a:pt x="161684" y="342548"/>
                  </a:lnTo>
                  <a:lnTo>
                    <a:pt x="162784" y="342180"/>
                  </a:lnTo>
                  <a:lnTo>
                    <a:pt x="163920" y="342621"/>
                  </a:lnTo>
                  <a:lnTo>
                    <a:pt x="165187" y="344828"/>
                  </a:lnTo>
                  <a:lnTo>
                    <a:pt x="162557" y="345976"/>
                  </a:lnTo>
                  <a:lnTo>
                    <a:pt x="160691" y="346028"/>
                  </a:lnTo>
                  <a:lnTo>
                    <a:pt x="159780" y="349640"/>
                  </a:lnTo>
                  <a:lnTo>
                    <a:pt x="158650" y="351190"/>
                  </a:lnTo>
                  <a:lnTo>
                    <a:pt x="157841" y="351935"/>
                  </a:lnTo>
                  <a:lnTo>
                    <a:pt x="153701" y="353469"/>
                  </a:lnTo>
                  <a:lnTo>
                    <a:pt x="150970" y="355412"/>
                  </a:lnTo>
                  <a:lnTo>
                    <a:pt x="147750" y="356975"/>
                  </a:lnTo>
                  <a:lnTo>
                    <a:pt x="146344" y="356635"/>
                  </a:lnTo>
                  <a:lnTo>
                    <a:pt x="144226" y="358223"/>
                  </a:lnTo>
                  <a:lnTo>
                    <a:pt x="139518" y="360101"/>
                  </a:lnTo>
                  <a:lnTo>
                    <a:pt x="137106" y="362629"/>
                  </a:lnTo>
                  <a:lnTo>
                    <a:pt x="131693" y="364888"/>
                  </a:lnTo>
                  <a:lnTo>
                    <a:pt x="128935" y="366724"/>
                  </a:lnTo>
                  <a:lnTo>
                    <a:pt x="121444" y="366820"/>
                  </a:lnTo>
                  <a:lnTo>
                    <a:pt x="114290" y="366417"/>
                  </a:lnTo>
                  <a:lnTo>
                    <a:pt x="112044" y="367290"/>
                  </a:lnTo>
                  <a:lnTo>
                    <a:pt x="114340" y="367560"/>
                  </a:lnTo>
                  <a:lnTo>
                    <a:pt x="115948" y="368416"/>
                  </a:lnTo>
                  <a:lnTo>
                    <a:pt x="117877" y="368059"/>
                  </a:lnTo>
                  <a:lnTo>
                    <a:pt x="122410" y="368487"/>
                  </a:lnTo>
                  <a:lnTo>
                    <a:pt x="124742" y="368953"/>
                  </a:lnTo>
                  <a:lnTo>
                    <a:pt x="127735" y="371949"/>
                  </a:lnTo>
                  <a:lnTo>
                    <a:pt x="125534" y="373013"/>
                  </a:lnTo>
                  <a:lnTo>
                    <a:pt x="121723" y="373829"/>
                  </a:lnTo>
                  <a:lnTo>
                    <a:pt x="123152" y="378067"/>
                  </a:lnTo>
                  <a:lnTo>
                    <a:pt x="124331" y="380919"/>
                  </a:lnTo>
                  <a:lnTo>
                    <a:pt x="122788" y="382639"/>
                  </a:lnTo>
                  <a:lnTo>
                    <a:pt x="122673" y="390443"/>
                  </a:lnTo>
                  <a:lnTo>
                    <a:pt x="120507" y="390592"/>
                  </a:lnTo>
                  <a:lnTo>
                    <a:pt x="119587" y="393812"/>
                  </a:lnTo>
                  <a:lnTo>
                    <a:pt x="120269" y="395452"/>
                  </a:lnTo>
                  <a:lnTo>
                    <a:pt x="120216" y="399257"/>
                  </a:lnTo>
                  <a:lnTo>
                    <a:pt x="120667" y="401599"/>
                  </a:lnTo>
                  <a:lnTo>
                    <a:pt x="121729" y="403752"/>
                  </a:lnTo>
                  <a:lnTo>
                    <a:pt x="121256" y="405996"/>
                  </a:lnTo>
                  <a:lnTo>
                    <a:pt x="117832" y="411238"/>
                  </a:lnTo>
                  <a:lnTo>
                    <a:pt x="117910" y="413693"/>
                  </a:lnTo>
                  <a:lnTo>
                    <a:pt x="118525" y="415150"/>
                  </a:lnTo>
                  <a:lnTo>
                    <a:pt x="118980" y="417477"/>
                  </a:lnTo>
                  <a:lnTo>
                    <a:pt x="117424" y="421945"/>
                  </a:lnTo>
                  <a:lnTo>
                    <a:pt x="116324" y="425671"/>
                  </a:lnTo>
                  <a:lnTo>
                    <a:pt x="115018" y="428802"/>
                  </a:lnTo>
                  <a:lnTo>
                    <a:pt x="112094" y="432553"/>
                  </a:lnTo>
                  <a:lnTo>
                    <a:pt x="110639" y="435353"/>
                  </a:lnTo>
                  <a:lnTo>
                    <a:pt x="107233" y="444067"/>
                  </a:lnTo>
                  <a:lnTo>
                    <a:pt x="105545" y="445792"/>
                  </a:lnTo>
                  <a:lnTo>
                    <a:pt x="103474" y="447117"/>
                  </a:lnTo>
                  <a:lnTo>
                    <a:pt x="101166" y="445891"/>
                  </a:lnTo>
                  <a:lnTo>
                    <a:pt x="99049" y="445223"/>
                  </a:lnTo>
                  <a:lnTo>
                    <a:pt x="96464" y="445304"/>
                  </a:lnTo>
                  <a:lnTo>
                    <a:pt x="92416" y="446309"/>
                  </a:lnTo>
                  <a:lnTo>
                    <a:pt x="86326" y="445641"/>
                  </a:lnTo>
                  <a:lnTo>
                    <a:pt x="80375" y="445963"/>
                  </a:lnTo>
                  <a:lnTo>
                    <a:pt x="78870" y="446831"/>
                  </a:lnTo>
                  <a:lnTo>
                    <a:pt x="79772" y="449981"/>
                  </a:lnTo>
                  <a:lnTo>
                    <a:pt x="77579" y="450394"/>
                  </a:lnTo>
                  <a:lnTo>
                    <a:pt x="75434" y="449498"/>
                  </a:lnTo>
                  <a:lnTo>
                    <a:pt x="73547" y="450567"/>
                  </a:lnTo>
                  <a:lnTo>
                    <a:pt x="71970" y="451739"/>
                  </a:lnTo>
                  <a:lnTo>
                    <a:pt x="68874" y="454516"/>
                  </a:lnTo>
                  <a:lnTo>
                    <a:pt x="67837" y="456225"/>
                  </a:lnTo>
                  <a:lnTo>
                    <a:pt x="67570" y="459439"/>
                  </a:lnTo>
                  <a:lnTo>
                    <a:pt x="69196" y="462318"/>
                  </a:lnTo>
                  <a:lnTo>
                    <a:pt x="70638" y="465684"/>
                  </a:lnTo>
                  <a:lnTo>
                    <a:pt x="66924" y="469739"/>
                  </a:lnTo>
                  <a:lnTo>
                    <a:pt x="64851" y="469876"/>
                  </a:lnTo>
                  <a:lnTo>
                    <a:pt x="58800" y="468752"/>
                  </a:lnTo>
                  <a:lnTo>
                    <a:pt x="48077" y="471291"/>
                  </a:lnTo>
                  <a:lnTo>
                    <a:pt x="38446" y="469283"/>
                  </a:lnTo>
                  <a:lnTo>
                    <a:pt x="39657" y="467112"/>
                  </a:lnTo>
                  <a:lnTo>
                    <a:pt x="39617" y="465514"/>
                  </a:lnTo>
                  <a:lnTo>
                    <a:pt x="40161" y="463055"/>
                  </a:lnTo>
                  <a:lnTo>
                    <a:pt x="40484" y="460536"/>
                  </a:lnTo>
                  <a:lnTo>
                    <a:pt x="40394" y="458849"/>
                  </a:lnTo>
                  <a:lnTo>
                    <a:pt x="39688" y="457050"/>
                  </a:lnTo>
                  <a:lnTo>
                    <a:pt x="37313" y="454694"/>
                  </a:lnTo>
                  <a:lnTo>
                    <a:pt x="31961" y="446722"/>
                  </a:lnTo>
                  <a:lnTo>
                    <a:pt x="30378" y="443349"/>
                  </a:lnTo>
                  <a:lnTo>
                    <a:pt x="29277" y="441942"/>
                  </a:lnTo>
                  <a:lnTo>
                    <a:pt x="30070" y="441866"/>
                  </a:lnTo>
                  <a:lnTo>
                    <a:pt x="34477" y="443679"/>
                  </a:lnTo>
                  <a:lnTo>
                    <a:pt x="35505" y="443456"/>
                  </a:lnTo>
                  <a:lnTo>
                    <a:pt x="36585" y="442775"/>
                  </a:lnTo>
                  <a:lnTo>
                    <a:pt x="35270" y="440179"/>
                  </a:lnTo>
                  <a:lnTo>
                    <a:pt x="34140" y="439003"/>
                  </a:lnTo>
                  <a:lnTo>
                    <a:pt x="33374" y="437243"/>
                  </a:lnTo>
                  <a:lnTo>
                    <a:pt x="35954" y="436767"/>
                  </a:lnTo>
                  <a:lnTo>
                    <a:pt x="37818" y="436872"/>
                  </a:lnTo>
                  <a:lnTo>
                    <a:pt x="39191" y="434890"/>
                  </a:lnTo>
                  <a:lnTo>
                    <a:pt x="38399" y="431681"/>
                  </a:lnTo>
                  <a:lnTo>
                    <a:pt x="36397" y="430693"/>
                  </a:lnTo>
                  <a:lnTo>
                    <a:pt x="34725" y="430263"/>
                  </a:lnTo>
                  <a:lnTo>
                    <a:pt x="31521" y="425210"/>
                  </a:lnTo>
                  <a:lnTo>
                    <a:pt x="28178" y="422589"/>
                  </a:lnTo>
                  <a:lnTo>
                    <a:pt x="22216" y="412449"/>
                  </a:lnTo>
                  <a:lnTo>
                    <a:pt x="20035" y="405461"/>
                  </a:lnTo>
                  <a:lnTo>
                    <a:pt x="18008" y="406126"/>
                  </a:lnTo>
                  <a:lnTo>
                    <a:pt x="17023" y="403076"/>
                  </a:lnTo>
                  <a:lnTo>
                    <a:pt x="16317" y="400184"/>
                  </a:lnTo>
                  <a:lnTo>
                    <a:pt x="16176" y="398055"/>
                  </a:lnTo>
                  <a:lnTo>
                    <a:pt x="12998" y="396834"/>
                  </a:lnTo>
                  <a:lnTo>
                    <a:pt x="12868" y="395340"/>
                  </a:lnTo>
                  <a:lnTo>
                    <a:pt x="12296" y="388660"/>
                  </a:lnTo>
                  <a:lnTo>
                    <a:pt x="8886" y="387761"/>
                  </a:lnTo>
                  <a:lnTo>
                    <a:pt x="6681" y="384002"/>
                  </a:lnTo>
                  <a:lnTo>
                    <a:pt x="6288" y="376872"/>
                  </a:lnTo>
                  <a:lnTo>
                    <a:pt x="4043" y="375571"/>
                  </a:lnTo>
                  <a:lnTo>
                    <a:pt x="2235" y="375932"/>
                  </a:lnTo>
                  <a:lnTo>
                    <a:pt x="2320" y="374160"/>
                  </a:lnTo>
                  <a:lnTo>
                    <a:pt x="2751" y="372496"/>
                  </a:lnTo>
                  <a:lnTo>
                    <a:pt x="1696" y="365889"/>
                  </a:lnTo>
                  <a:lnTo>
                    <a:pt x="1343" y="359841"/>
                  </a:lnTo>
                  <a:lnTo>
                    <a:pt x="486" y="358012"/>
                  </a:lnTo>
                  <a:lnTo>
                    <a:pt x="0" y="355868"/>
                  </a:lnTo>
                  <a:lnTo>
                    <a:pt x="436" y="354014"/>
                  </a:lnTo>
                  <a:lnTo>
                    <a:pt x="1076" y="352949"/>
                  </a:lnTo>
                  <a:lnTo>
                    <a:pt x="3276" y="352669"/>
                  </a:lnTo>
                  <a:lnTo>
                    <a:pt x="5332" y="354309"/>
                  </a:lnTo>
                  <a:lnTo>
                    <a:pt x="7154" y="358440"/>
                  </a:lnTo>
                  <a:lnTo>
                    <a:pt x="8765" y="358977"/>
                  </a:lnTo>
                  <a:lnTo>
                    <a:pt x="10959" y="357902"/>
                  </a:lnTo>
                  <a:lnTo>
                    <a:pt x="12495" y="354890"/>
                  </a:lnTo>
                  <a:lnTo>
                    <a:pt x="13371" y="350363"/>
                  </a:lnTo>
                  <a:lnTo>
                    <a:pt x="14395" y="346042"/>
                  </a:lnTo>
                  <a:lnTo>
                    <a:pt x="13183" y="341411"/>
                  </a:lnTo>
                  <a:lnTo>
                    <a:pt x="11890" y="337334"/>
                  </a:lnTo>
                  <a:lnTo>
                    <a:pt x="11799" y="336135"/>
                  </a:lnTo>
                  <a:lnTo>
                    <a:pt x="15194" y="332688"/>
                  </a:lnTo>
                  <a:lnTo>
                    <a:pt x="16232" y="329881"/>
                  </a:lnTo>
                  <a:lnTo>
                    <a:pt x="17358" y="327204"/>
                  </a:lnTo>
                  <a:lnTo>
                    <a:pt x="18599" y="326293"/>
                  </a:lnTo>
                  <a:lnTo>
                    <a:pt x="20448" y="326085"/>
                  </a:lnTo>
                  <a:lnTo>
                    <a:pt x="22601" y="325581"/>
                  </a:lnTo>
                  <a:lnTo>
                    <a:pt x="25315" y="323786"/>
                  </a:lnTo>
                  <a:lnTo>
                    <a:pt x="27748" y="321381"/>
                  </a:lnTo>
                  <a:lnTo>
                    <a:pt x="29608" y="319172"/>
                  </a:lnTo>
                  <a:lnTo>
                    <a:pt x="30238" y="314796"/>
                  </a:lnTo>
                  <a:lnTo>
                    <a:pt x="30264" y="312594"/>
                  </a:lnTo>
                  <a:lnTo>
                    <a:pt x="31083" y="310957"/>
                  </a:lnTo>
                  <a:lnTo>
                    <a:pt x="31875" y="307757"/>
                  </a:lnTo>
                  <a:lnTo>
                    <a:pt x="31104" y="304595"/>
                  </a:lnTo>
                  <a:lnTo>
                    <a:pt x="28705" y="299791"/>
                  </a:lnTo>
                  <a:lnTo>
                    <a:pt x="25816" y="293016"/>
                  </a:lnTo>
                  <a:lnTo>
                    <a:pt x="25362" y="289308"/>
                  </a:lnTo>
                  <a:lnTo>
                    <a:pt x="26679" y="288619"/>
                  </a:lnTo>
                  <a:lnTo>
                    <a:pt x="29198" y="288004"/>
                  </a:lnTo>
                  <a:lnTo>
                    <a:pt x="33961" y="287826"/>
                  </a:lnTo>
                  <a:lnTo>
                    <a:pt x="34471" y="287388"/>
                  </a:lnTo>
                  <a:lnTo>
                    <a:pt x="34952" y="285761"/>
                  </a:lnTo>
                  <a:lnTo>
                    <a:pt x="36025" y="283550"/>
                  </a:lnTo>
                  <a:lnTo>
                    <a:pt x="37172" y="281938"/>
                  </a:lnTo>
                  <a:lnTo>
                    <a:pt x="37956" y="279631"/>
                  </a:lnTo>
                  <a:lnTo>
                    <a:pt x="38334" y="277538"/>
                  </a:lnTo>
                  <a:lnTo>
                    <a:pt x="35609" y="274382"/>
                  </a:lnTo>
                  <a:lnTo>
                    <a:pt x="32039" y="271147"/>
                  </a:lnTo>
                  <a:lnTo>
                    <a:pt x="29623" y="270074"/>
                  </a:lnTo>
                  <a:lnTo>
                    <a:pt x="25317" y="267346"/>
                  </a:lnTo>
                  <a:lnTo>
                    <a:pt x="22294" y="265062"/>
                  </a:lnTo>
                  <a:lnTo>
                    <a:pt x="24026" y="256346"/>
                  </a:lnTo>
                  <a:lnTo>
                    <a:pt x="25315" y="249836"/>
                  </a:lnTo>
                  <a:lnTo>
                    <a:pt x="25522" y="248251"/>
                  </a:lnTo>
                  <a:lnTo>
                    <a:pt x="25570" y="245790"/>
                  </a:lnTo>
                  <a:lnTo>
                    <a:pt x="21391" y="235264"/>
                  </a:lnTo>
                  <a:lnTo>
                    <a:pt x="21553" y="232916"/>
                  </a:lnTo>
                  <a:lnTo>
                    <a:pt x="21951" y="230799"/>
                  </a:lnTo>
                  <a:lnTo>
                    <a:pt x="21503" y="227185"/>
                  </a:lnTo>
                  <a:lnTo>
                    <a:pt x="21260" y="223946"/>
                  </a:lnTo>
                  <a:lnTo>
                    <a:pt x="21977" y="222963"/>
                  </a:lnTo>
                  <a:lnTo>
                    <a:pt x="23682" y="221133"/>
                  </a:lnTo>
                  <a:lnTo>
                    <a:pt x="22056" y="218291"/>
                  </a:lnTo>
                  <a:lnTo>
                    <a:pt x="21925" y="218060"/>
                  </a:lnTo>
                  <a:lnTo>
                    <a:pt x="18856" y="211011"/>
                  </a:lnTo>
                  <a:lnTo>
                    <a:pt x="23549" y="204008"/>
                  </a:lnTo>
                  <a:lnTo>
                    <a:pt x="22732" y="200377"/>
                  </a:lnTo>
                  <a:lnTo>
                    <a:pt x="25535" y="197738"/>
                  </a:lnTo>
                  <a:lnTo>
                    <a:pt x="30638" y="191681"/>
                  </a:lnTo>
                  <a:lnTo>
                    <a:pt x="33508" y="188267"/>
                  </a:lnTo>
                  <a:lnTo>
                    <a:pt x="34117" y="187670"/>
                  </a:lnTo>
                  <a:lnTo>
                    <a:pt x="36388" y="186168"/>
                  </a:lnTo>
                  <a:lnTo>
                    <a:pt x="40696" y="184385"/>
                  </a:lnTo>
                  <a:lnTo>
                    <a:pt x="45471" y="183516"/>
                  </a:lnTo>
                  <a:lnTo>
                    <a:pt x="47596" y="183527"/>
                  </a:lnTo>
                  <a:lnTo>
                    <a:pt x="55801" y="184734"/>
                  </a:lnTo>
                  <a:lnTo>
                    <a:pt x="62210" y="185673"/>
                  </a:lnTo>
                  <a:lnTo>
                    <a:pt x="63143" y="184730"/>
                  </a:lnTo>
                  <a:lnTo>
                    <a:pt x="64482" y="182795"/>
                  </a:lnTo>
                  <a:lnTo>
                    <a:pt x="66205" y="180035"/>
                  </a:lnTo>
                  <a:lnTo>
                    <a:pt x="66356" y="176962"/>
                  </a:lnTo>
                  <a:lnTo>
                    <a:pt x="65734" y="172439"/>
                  </a:lnTo>
                  <a:lnTo>
                    <a:pt x="64799" y="169727"/>
                  </a:lnTo>
                  <a:lnTo>
                    <a:pt x="60286" y="167963"/>
                  </a:lnTo>
                  <a:lnTo>
                    <a:pt x="55350" y="165542"/>
                  </a:lnTo>
                  <a:lnTo>
                    <a:pt x="61420" y="157854"/>
                  </a:lnTo>
                  <a:lnTo>
                    <a:pt x="65629" y="152501"/>
                  </a:lnTo>
                  <a:lnTo>
                    <a:pt x="70876" y="144422"/>
                  </a:lnTo>
                  <a:lnTo>
                    <a:pt x="72508" y="141051"/>
                  </a:lnTo>
                  <a:lnTo>
                    <a:pt x="73689" y="139711"/>
                  </a:lnTo>
                  <a:lnTo>
                    <a:pt x="75233" y="127217"/>
                  </a:lnTo>
                  <a:lnTo>
                    <a:pt x="76257" y="123708"/>
                  </a:lnTo>
                  <a:lnTo>
                    <a:pt x="77114" y="121873"/>
                  </a:lnTo>
                  <a:lnTo>
                    <a:pt x="77127" y="119986"/>
                  </a:lnTo>
                  <a:lnTo>
                    <a:pt x="76570" y="116802"/>
                  </a:lnTo>
                  <a:lnTo>
                    <a:pt x="75095" y="109590"/>
                  </a:lnTo>
                  <a:lnTo>
                    <a:pt x="83381" y="108696"/>
                  </a:lnTo>
                  <a:lnTo>
                    <a:pt x="86080" y="108190"/>
                  </a:lnTo>
                  <a:lnTo>
                    <a:pt x="88585" y="107326"/>
                  </a:lnTo>
                  <a:lnTo>
                    <a:pt x="93485" y="105086"/>
                  </a:lnTo>
                  <a:lnTo>
                    <a:pt x="95892" y="103105"/>
                  </a:lnTo>
                  <a:lnTo>
                    <a:pt x="94547" y="96329"/>
                  </a:lnTo>
                  <a:lnTo>
                    <a:pt x="97512" y="94031"/>
                  </a:lnTo>
                  <a:lnTo>
                    <a:pt x="104746" y="86006"/>
                  </a:lnTo>
                  <a:lnTo>
                    <a:pt x="112563" y="78290"/>
                  </a:lnTo>
                  <a:lnTo>
                    <a:pt x="116229" y="75362"/>
                  </a:lnTo>
                  <a:lnTo>
                    <a:pt x="116609" y="73929"/>
                  </a:lnTo>
                  <a:lnTo>
                    <a:pt x="116910" y="71624"/>
                  </a:lnTo>
                  <a:lnTo>
                    <a:pt x="115281" y="67999"/>
                  </a:lnTo>
                  <a:lnTo>
                    <a:pt x="113532" y="65749"/>
                  </a:lnTo>
                  <a:lnTo>
                    <a:pt x="110125" y="61479"/>
                  </a:lnTo>
                  <a:lnTo>
                    <a:pt x="111587" y="58496"/>
                  </a:lnTo>
                  <a:lnTo>
                    <a:pt x="114098" y="57916"/>
                  </a:lnTo>
                  <a:lnTo>
                    <a:pt x="117415" y="56743"/>
                  </a:lnTo>
                  <a:lnTo>
                    <a:pt x="120002" y="54187"/>
                  </a:lnTo>
                  <a:lnTo>
                    <a:pt x="120254" y="53858"/>
                  </a:lnTo>
                  <a:lnTo>
                    <a:pt x="124634" y="43774"/>
                  </a:lnTo>
                  <a:lnTo>
                    <a:pt x="133189" y="38646"/>
                  </a:lnTo>
                  <a:lnTo>
                    <a:pt x="136597" y="35843"/>
                  </a:lnTo>
                  <a:lnTo>
                    <a:pt x="141907" y="37949"/>
                  </a:lnTo>
                  <a:lnTo>
                    <a:pt x="149689" y="41124"/>
                  </a:lnTo>
                  <a:lnTo>
                    <a:pt x="153150" y="36451"/>
                  </a:lnTo>
                  <a:lnTo>
                    <a:pt x="154295" y="34715"/>
                  </a:lnTo>
                  <a:lnTo>
                    <a:pt x="155437" y="32154"/>
                  </a:lnTo>
                  <a:lnTo>
                    <a:pt x="154979" y="27717"/>
                  </a:lnTo>
                  <a:lnTo>
                    <a:pt x="154783" y="21940"/>
                  </a:lnTo>
                  <a:lnTo>
                    <a:pt x="155126" y="19614"/>
                  </a:lnTo>
                  <a:lnTo>
                    <a:pt x="158232" y="18577"/>
                  </a:lnTo>
                  <a:lnTo>
                    <a:pt x="159903" y="18309"/>
                  </a:lnTo>
                  <a:lnTo>
                    <a:pt x="168553" y="20702"/>
                  </a:lnTo>
                  <a:lnTo>
                    <a:pt x="170730" y="20661"/>
                  </a:lnTo>
                  <a:lnTo>
                    <a:pt x="174807" y="20983"/>
                  </a:lnTo>
                  <a:lnTo>
                    <a:pt x="179370" y="22034"/>
                  </a:lnTo>
                  <a:lnTo>
                    <a:pt x="188927" y="24826"/>
                  </a:lnTo>
                  <a:lnTo>
                    <a:pt x="192881" y="25981"/>
                  </a:lnTo>
                  <a:lnTo>
                    <a:pt x="195088" y="26205"/>
                  </a:lnTo>
                  <a:lnTo>
                    <a:pt x="196993" y="24905"/>
                  </a:lnTo>
                  <a:lnTo>
                    <a:pt x="201063" y="21566"/>
                  </a:lnTo>
                  <a:lnTo>
                    <a:pt x="195066" y="19091"/>
                  </a:lnTo>
                  <a:lnTo>
                    <a:pt x="199016" y="16583"/>
                  </a:lnTo>
                  <a:lnTo>
                    <a:pt x="201063" y="14051"/>
                  </a:lnTo>
                  <a:lnTo>
                    <a:pt x="202819" y="10934"/>
                  </a:lnTo>
                  <a:lnTo>
                    <a:pt x="203451" y="7280"/>
                  </a:lnTo>
                  <a:lnTo>
                    <a:pt x="203209" y="5312"/>
                  </a:lnTo>
                  <a:lnTo>
                    <a:pt x="201998" y="3971"/>
                  </a:lnTo>
                  <a:lnTo>
                    <a:pt x="198336" y="619"/>
                  </a:lnTo>
                  <a:lnTo>
                    <a:pt x="206634" y="138"/>
                  </a:lnTo>
                  <a:close/>
                </a:path>
              </a:pathLst>
            </a:custGeom>
            <a:grpFill/>
            <a:ln w="3175"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a:solidFill>
                  <a:schemeClr val="tx1"/>
                </a:solidFill>
                <a:latin typeface="Arial" panose="020B0604020202020204" pitchFamily="34" charset="0"/>
                <a:cs typeface="Arial" panose="020B0604020202020204" pitchFamily="34" charset="0"/>
              </a:endParaRPr>
            </a:p>
          </p:txBody>
        </p:sp>
      </p:grpSp>
      <p:sp>
        <p:nvSpPr>
          <p:cNvPr id="41" name="Text Placeholder 4">
            <a:extLst>
              <a:ext uri="{FF2B5EF4-FFF2-40B4-BE49-F238E27FC236}">
                <a16:creationId xmlns:a16="http://schemas.microsoft.com/office/drawing/2014/main" id="{B0E6C69F-68D8-419E-8D24-48118912574B}"/>
              </a:ext>
            </a:extLst>
          </p:cNvPr>
          <p:cNvSpPr txBox="1">
            <a:spLocks/>
          </p:cNvSpPr>
          <p:nvPr/>
        </p:nvSpPr>
        <p:spPr>
          <a:xfrm>
            <a:off x="611807" y="4680206"/>
            <a:ext cx="3441499" cy="626000"/>
          </a:xfrm>
          <a:prstGeom prst="rect">
            <a:avLst/>
          </a:prstGeom>
          <a:solidFill>
            <a:schemeClr val="bg1">
              <a:alpha val="0"/>
            </a:schemeClr>
          </a:solidFill>
          <a:ln>
            <a:noFill/>
          </a:ln>
        </p:spPr>
        <p:txBody>
          <a:bodyPr vert="horz" lIns="0" tIns="54000" rIns="90000" bIns="5400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nSpc>
                <a:spcPct val="100000"/>
              </a:lnSpc>
              <a:spcBef>
                <a:spcPts val="600"/>
              </a:spcBef>
              <a:buNone/>
            </a:pPr>
            <a:r>
              <a:rPr lang="en-US" b="1" dirty="0">
                <a:solidFill>
                  <a:schemeClr val="tx2"/>
                </a:solidFill>
                <a:latin typeface="Calibri" panose="020F0502020204030204" pitchFamily="34" charset="0"/>
                <a:cs typeface="Calibri" panose="020F0502020204030204" pitchFamily="34" charset="0"/>
              </a:rPr>
              <a:t>Recognition</a:t>
            </a:r>
            <a:r>
              <a:rPr lang="en-US" dirty="0">
                <a:solidFill>
                  <a:schemeClr val="tx2"/>
                </a:solidFill>
                <a:latin typeface="Calibri" panose="020F0502020204030204" pitchFamily="34" charset="0"/>
                <a:cs typeface="Calibri" panose="020F0502020204030204" pitchFamily="34" charset="0"/>
              </a:rPr>
              <a:t>: be part of the Gaia-X Data space inventory</a:t>
            </a:r>
          </a:p>
        </p:txBody>
      </p:sp>
      <p:sp>
        <p:nvSpPr>
          <p:cNvPr id="42" name="Text Placeholder 4">
            <a:extLst>
              <a:ext uri="{FF2B5EF4-FFF2-40B4-BE49-F238E27FC236}">
                <a16:creationId xmlns:a16="http://schemas.microsoft.com/office/drawing/2014/main" id="{4C0C4690-053E-46D3-B382-E32D57EC6FB2}"/>
              </a:ext>
            </a:extLst>
          </p:cNvPr>
          <p:cNvSpPr txBox="1">
            <a:spLocks/>
          </p:cNvSpPr>
          <p:nvPr/>
        </p:nvSpPr>
        <p:spPr>
          <a:xfrm>
            <a:off x="610432" y="1283561"/>
            <a:ext cx="3150510" cy="1745218"/>
          </a:xfrm>
          <a:prstGeom prst="rect">
            <a:avLst/>
          </a:prstGeom>
          <a:solidFill>
            <a:schemeClr val="bg1">
              <a:alpha val="0"/>
            </a:schemeClr>
          </a:solidFill>
          <a:ln>
            <a:noFill/>
          </a:ln>
        </p:spPr>
        <p:txBody>
          <a:bodyPr vert="horz" lIns="0" tIns="54000" rIns="90000" bIns="5400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nSpc>
                <a:spcPct val="100000"/>
              </a:lnSpc>
              <a:spcBef>
                <a:spcPts val="600"/>
              </a:spcBef>
              <a:buNone/>
            </a:pPr>
            <a:r>
              <a:rPr lang="en-US" b="1" dirty="0">
                <a:solidFill>
                  <a:schemeClr val="tx2"/>
                </a:solidFill>
                <a:latin typeface="Calibri" panose="020F0502020204030204" pitchFamily="34" charset="0"/>
                <a:cs typeface="Calibri" panose="020F0502020204030204" pitchFamily="34" charset="0"/>
              </a:rPr>
              <a:t>Support</a:t>
            </a:r>
            <a:r>
              <a:rPr lang="en-US" dirty="0">
                <a:solidFill>
                  <a:schemeClr val="tx2"/>
                </a:solidFill>
                <a:latin typeface="Calibri" panose="020F0502020204030204" pitchFamily="34" charset="0"/>
                <a:cs typeface="Calibri" panose="020F0502020204030204" pitchFamily="34" charset="0"/>
              </a:rPr>
              <a:t> for establishment of Gaia-X data spaces by providing </a:t>
            </a:r>
            <a:r>
              <a:rPr lang="en-GB" dirty="0">
                <a:solidFill>
                  <a:schemeClr val="tx2"/>
                </a:solidFill>
                <a:latin typeface="Calibri" panose="020F0502020204030204" pitchFamily="34" charset="0"/>
                <a:cs typeface="Calibri" panose="020F0502020204030204" pitchFamily="34" charset="0"/>
              </a:rPr>
              <a:t>Blueprint, guidelines, handbooks from a governance, compliance, financial and technical perspective</a:t>
            </a:r>
            <a:endParaRPr lang="en-US" dirty="0">
              <a:solidFill>
                <a:schemeClr val="tx2"/>
              </a:solidFill>
              <a:latin typeface="Calibri" panose="020F0502020204030204" pitchFamily="34" charset="0"/>
              <a:cs typeface="Calibri" panose="020F0502020204030204" pitchFamily="34" charset="0"/>
            </a:endParaRPr>
          </a:p>
        </p:txBody>
      </p:sp>
      <p:sp>
        <p:nvSpPr>
          <p:cNvPr id="44" name="Text Placeholder 4">
            <a:extLst>
              <a:ext uri="{FF2B5EF4-FFF2-40B4-BE49-F238E27FC236}">
                <a16:creationId xmlns:a16="http://schemas.microsoft.com/office/drawing/2014/main" id="{A93DA2CB-D677-4B21-B568-362C624FB3FE}"/>
              </a:ext>
            </a:extLst>
          </p:cNvPr>
          <p:cNvSpPr txBox="1">
            <a:spLocks/>
          </p:cNvSpPr>
          <p:nvPr/>
        </p:nvSpPr>
        <p:spPr>
          <a:xfrm>
            <a:off x="8605960" y="3096954"/>
            <a:ext cx="3180100" cy="965504"/>
          </a:xfrm>
          <a:prstGeom prst="rect">
            <a:avLst/>
          </a:prstGeom>
          <a:solidFill>
            <a:schemeClr val="bg1">
              <a:alpha val="0"/>
            </a:schemeClr>
          </a:solidFill>
          <a:ln>
            <a:noFill/>
          </a:ln>
        </p:spPr>
        <p:txBody>
          <a:bodyPr vert="horz" lIns="0" tIns="54000" rIns="90000" bIns="5400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nSpc>
                <a:spcPct val="100000"/>
              </a:lnSpc>
              <a:spcBef>
                <a:spcPts val="600"/>
              </a:spcBef>
              <a:buNone/>
            </a:pPr>
            <a:r>
              <a:rPr lang="en-US" b="1" dirty="0">
                <a:solidFill>
                  <a:schemeClr val="tx2"/>
                </a:solidFill>
                <a:latin typeface="Calibri" panose="020F0502020204030204" pitchFamily="34" charset="0"/>
                <a:cs typeface="Calibri" panose="020F0502020204030204" pitchFamily="34" charset="0"/>
              </a:rPr>
              <a:t>Cooperation</a:t>
            </a:r>
            <a:r>
              <a:rPr lang="en-US" dirty="0">
                <a:solidFill>
                  <a:schemeClr val="tx2"/>
                </a:solidFill>
                <a:latin typeface="Calibri" panose="020F0502020204030204" pitchFamily="34" charset="0"/>
                <a:cs typeface="Calibri" panose="020F0502020204030204" pitchFamily="34" charset="0"/>
              </a:rPr>
              <a:t>: in a European ecosystem dedicated to a specific industry</a:t>
            </a:r>
          </a:p>
        </p:txBody>
      </p:sp>
      <p:sp>
        <p:nvSpPr>
          <p:cNvPr id="45" name="Text Placeholder 4">
            <a:extLst>
              <a:ext uri="{FF2B5EF4-FFF2-40B4-BE49-F238E27FC236}">
                <a16:creationId xmlns:a16="http://schemas.microsoft.com/office/drawing/2014/main" id="{C6254C08-A9F0-414A-A22C-24ED57C4091F}"/>
              </a:ext>
            </a:extLst>
          </p:cNvPr>
          <p:cNvSpPr txBox="1">
            <a:spLocks/>
          </p:cNvSpPr>
          <p:nvPr/>
        </p:nvSpPr>
        <p:spPr>
          <a:xfrm>
            <a:off x="8610990" y="4504297"/>
            <a:ext cx="3455296" cy="942378"/>
          </a:xfrm>
          <a:prstGeom prst="rect">
            <a:avLst/>
          </a:prstGeom>
          <a:solidFill>
            <a:schemeClr val="bg1">
              <a:alpha val="0"/>
            </a:schemeClr>
          </a:solidFill>
          <a:ln>
            <a:noFill/>
          </a:ln>
        </p:spPr>
        <p:txBody>
          <a:bodyPr vert="horz" lIns="0" tIns="54000" rIns="90000" bIns="5400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nSpc>
                <a:spcPct val="100000"/>
              </a:lnSpc>
              <a:spcBef>
                <a:spcPts val="600"/>
              </a:spcBef>
              <a:buNone/>
            </a:pPr>
            <a:r>
              <a:rPr lang="en-US" b="1" spc="20" dirty="0">
                <a:solidFill>
                  <a:schemeClr val="tx2"/>
                </a:solidFill>
                <a:latin typeface="Calibri" panose="020F0502020204030204" pitchFamily="34" charset="0"/>
                <a:cs typeface="Calibri" panose="020F0502020204030204" pitchFamily="34" charset="0"/>
              </a:rPr>
              <a:t>Cross- country European prospective</a:t>
            </a:r>
            <a:r>
              <a:rPr lang="en-US" spc="20" dirty="0">
                <a:solidFill>
                  <a:schemeClr val="tx2"/>
                </a:solidFill>
                <a:latin typeface="Calibri" panose="020F0502020204030204" pitchFamily="34" charset="0"/>
                <a:cs typeface="Calibri" panose="020F0502020204030204" pitchFamily="34" charset="0"/>
              </a:rPr>
              <a:t>: verticals includes participants from several countries </a:t>
            </a:r>
          </a:p>
        </p:txBody>
      </p:sp>
      <p:sp>
        <p:nvSpPr>
          <p:cNvPr id="46" name="Text Placeholder 4">
            <a:extLst>
              <a:ext uri="{FF2B5EF4-FFF2-40B4-BE49-F238E27FC236}">
                <a16:creationId xmlns:a16="http://schemas.microsoft.com/office/drawing/2014/main" id="{FE627048-55FE-4E27-9209-23B143F1A0F9}"/>
              </a:ext>
            </a:extLst>
          </p:cNvPr>
          <p:cNvSpPr txBox="1">
            <a:spLocks/>
          </p:cNvSpPr>
          <p:nvPr/>
        </p:nvSpPr>
        <p:spPr>
          <a:xfrm>
            <a:off x="8582831" y="1568179"/>
            <a:ext cx="3285763" cy="1200250"/>
          </a:xfrm>
          <a:prstGeom prst="rect">
            <a:avLst/>
          </a:prstGeom>
          <a:solidFill>
            <a:schemeClr val="bg1">
              <a:alpha val="0"/>
            </a:schemeClr>
          </a:solidFill>
          <a:ln>
            <a:noFill/>
          </a:ln>
        </p:spPr>
        <p:txBody>
          <a:bodyPr vert="horz" lIns="0" tIns="54000" rIns="90000" bIns="5400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nSpc>
                <a:spcPct val="100000"/>
              </a:lnSpc>
              <a:spcBef>
                <a:spcPts val="600"/>
              </a:spcBef>
              <a:buNone/>
            </a:pPr>
            <a:r>
              <a:rPr lang="en-US" b="1" spc="20" dirty="0">
                <a:solidFill>
                  <a:schemeClr val="tx2"/>
                </a:solidFill>
                <a:latin typeface="Calibri" panose="020F0502020204030204" pitchFamily="34" charset="0"/>
                <a:cs typeface="Calibri" panose="020F0502020204030204" pitchFamily="34" charset="0"/>
              </a:rPr>
              <a:t>Empowermen</a:t>
            </a:r>
            <a:r>
              <a:rPr lang="en-US" spc="20" dirty="0">
                <a:solidFill>
                  <a:schemeClr val="tx2"/>
                </a:solidFill>
                <a:latin typeface="Calibri" panose="020F0502020204030204" pitchFamily="34" charset="0"/>
                <a:cs typeface="Calibri" panose="020F0502020204030204" pitchFamily="34" charset="0"/>
              </a:rPr>
              <a:t>t: gives voice to data spaces willing to share business requirements, use cases…</a:t>
            </a:r>
            <a:endParaRPr lang="en-US" dirty="0">
              <a:solidFill>
                <a:schemeClr val="tx2"/>
              </a:solidFill>
              <a:latin typeface="Calibri" panose="020F0502020204030204" pitchFamily="34" charset="0"/>
              <a:cs typeface="Calibri" panose="020F0502020204030204" pitchFamily="34" charset="0"/>
            </a:endParaRPr>
          </a:p>
        </p:txBody>
      </p:sp>
      <p:sp>
        <p:nvSpPr>
          <p:cNvPr id="53" name="Text Placeholder 4">
            <a:extLst>
              <a:ext uri="{FF2B5EF4-FFF2-40B4-BE49-F238E27FC236}">
                <a16:creationId xmlns:a16="http://schemas.microsoft.com/office/drawing/2014/main" id="{35D01DBB-8060-472E-AAE8-C45542751901}"/>
              </a:ext>
            </a:extLst>
          </p:cNvPr>
          <p:cNvSpPr txBox="1">
            <a:spLocks/>
          </p:cNvSpPr>
          <p:nvPr/>
        </p:nvSpPr>
        <p:spPr>
          <a:xfrm>
            <a:off x="597053" y="3386995"/>
            <a:ext cx="3560166" cy="879314"/>
          </a:xfrm>
          <a:prstGeom prst="rect">
            <a:avLst/>
          </a:prstGeom>
          <a:solidFill>
            <a:schemeClr val="bg1">
              <a:alpha val="0"/>
            </a:schemeClr>
          </a:solidFill>
          <a:ln>
            <a:noFill/>
          </a:ln>
        </p:spPr>
        <p:txBody>
          <a:bodyPr vert="horz" lIns="0" tIns="54000" rIns="90000" bIns="5400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nSpc>
                <a:spcPct val="100000"/>
              </a:lnSpc>
              <a:spcBef>
                <a:spcPts val="600"/>
              </a:spcBef>
              <a:buNone/>
            </a:pPr>
            <a:r>
              <a:rPr lang="en-US" b="1" dirty="0">
                <a:solidFill>
                  <a:schemeClr val="tx2"/>
                </a:solidFill>
                <a:latin typeface="Calibri" panose="020F0502020204030204" pitchFamily="34" charset="0"/>
                <a:cs typeface="Calibri" panose="020F0502020204030204" pitchFamily="34" charset="0"/>
              </a:rPr>
              <a:t>Guidance</a:t>
            </a:r>
            <a:r>
              <a:rPr lang="en-US" dirty="0">
                <a:solidFill>
                  <a:schemeClr val="tx2"/>
                </a:solidFill>
                <a:latin typeface="Calibri" panose="020F0502020204030204" pitchFamily="34" charset="0"/>
                <a:cs typeface="Calibri" panose="020F0502020204030204" pitchFamily="34" charset="0"/>
              </a:rPr>
              <a:t>: by identify lighthouse projects, key references are provided</a:t>
            </a:r>
          </a:p>
        </p:txBody>
      </p:sp>
      <p:cxnSp>
        <p:nvCxnSpPr>
          <p:cNvPr id="56" name="Gerader Verbinder 55">
            <a:extLst>
              <a:ext uri="{FF2B5EF4-FFF2-40B4-BE49-F238E27FC236}">
                <a16:creationId xmlns:a16="http://schemas.microsoft.com/office/drawing/2014/main" id="{85041C7B-443C-45B7-A9AF-976E4314DBBF}"/>
              </a:ext>
            </a:extLst>
          </p:cNvPr>
          <p:cNvCxnSpPr>
            <a:cxnSpLocks/>
          </p:cNvCxnSpPr>
          <p:nvPr/>
        </p:nvCxnSpPr>
        <p:spPr>
          <a:xfrm flipH="1" flipV="1">
            <a:off x="3868551" y="2320082"/>
            <a:ext cx="1627474" cy="790739"/>
          </a:xfrm>
          <a:prstGeom prst="line">
            <a:avLst/>
          </a:prstGeom>
          <a:ln w="15875">
            <a:headEnd type="none"/>
            <a:tailEnd type="oval"/>
          </a:ln>
        </p:spPr>
        <p:style>
          <a:lnRef idx="1">
            <a:schemeClr val="accent2"/>
          </a:lnRef>
          <a:fillRef idx="0">
            <a:schemeClr val="accent2"/>
          </a:fillRef>
          <a:effectRef idx="0">
            <a:schemeClr val="accent2"/>
          </a:effectRef>
          <a:fontRef idx="minor">
            <a:schemeClr val="tx1"/>
          </a:fontRef>
        </p:style>
      </p:cxnSp>
      <p:cxnSp>
        <p:nvCxnSpPr>
          <p:cNvPr id="58" name="Gerader Verbinder 57">
            <a:extLst>
              <a:ext uri="{FF2B5EF4-FFF2-40B4-BE49-F238E27FC236}">
                <a16:creationId xmlns:a16="http://schemas.microsoft.com/office/drawing/2014/main" id="{F9591260-AE04-4B57-A749-3EC59D5B5F77}"/>
              </a:ext>
            </a:extLst>
          </p:cNvPr>
          <p:cNvCxnSpPr>
            <a:cxnSpLocks/>
          </p:cNvCxnSpPr>
          <p:nvPr/>
        </p:nvCxnSpPr>
        <p:spPr>
          <a:xfrm flipH="1">
            <a:off x="3806108" y="3511255"/>
            <a:ext cx="1627474" cy="5064"/>
          </a:xfrm>
          <a:prstGeom prst="line">
            <a:avLst/>
          </a:prstGeom>
          <a:ln w="15875">
            <a:headEnd type="none"/>
            <a:tailEnd type="oval"/>
          </a:ln>
        </p:spPr>
        <p:style>
          <a:lnRef idx="1">
            <a:schemeClr val="accent2"/>
          </a:lnRef>
          <a:fillRef idx="0">
            <a:schemeClr val="accent2"/>
          </a:fillRef>
          <a:effectRef idx="0">
            <a:schemeClr val="accent2"/>
          </a:effectRef>
          <a:fontRef idx="minor">
            <a:schemeClr val="tx1"/>
          </a:fontRef>
        </p:style>
      </p:cxnSp>
      <p:cxnSp>
        <p:nvCxnSpPr>
          <p:cNvPr id="61" name="Gerader Verbinder 60">
            <a:extLst>
              <a:ext uri="{FF2B5EF4-FFF2-40B4-BE49-F238E27FC236}">
                <a16:creationId xmlns:a16="http://schemas.microsoft.com/office/drawing/2014/main" id="{E391781A-10B0-42C2-B8AD-45AF7FCAA65C}"/>
              </a:ext>
            </a:extLst>
          </p:cNvPr>
          <p:cNvCxnSpPr>
            <a:cxnSpLocks/>
          </p:cNvCxnSpPr>
          <p:nvPr/>
        </p:nvCxnSpPr>
        <p:spPr>
          <a:xfrm flipH="1">
            <a:off x="3868551" y="3899310"/>
            <a:ext cx="1627475" cy="742659"/>
          </a:xfrm>
          <a:prstGeom prst="line">
            <a:avLst/>
          </a:prstGeom>
          <a:ln w="15875">
            <a:headEnd type="none"/>
            <a:tailEnd type="oval"/>
          </a:ln>
        </p:spPr>
        <p:style>
          <a:lnRef idx="1">
            <a:schemeClr val="accent2"/>
          </a:lnRef>
          <a:fillRef idx="0">
            <a:schemeClr val="accent2"/>
          </a:fillRef>
          <a:effectRef idx="0">
            <a:schemeClr val="accent2"/>
          </a:effectRef>
          <a:fontRef idx="minor">
            <a:schemeClr val="tx1"/>
          </a:fontRef>
        </p:style>
      </p:cxnSp>
      <p:cxnSp>
        <p:nvCxnSpPr>
          <p:cNvPr id="64" name="Gerader Verbinder 63">
            <a:extLst>
              <a:ext uri="{FF2B5EF4-FFF2-40B4-BE49-F238E27FC236}">
                <a16:creationId xmlns:a16="http://schemas.microsoft.com/office/drawing/2014/main" id="{D2234A83-5A92-47AB-8D4F-759A264C302F}"/>
              </a:ext>
            </a:extLst>
          </p:cNvPr>
          <p:cNvCxnSpPr>
            <a:cxnSpLocks/>
            <a:endCxn id="39" idx="1"/>
          </p:cNvCxnSpPr>
          <p:nvPr/>
        </p:nvCxnSpPr>
        <p:spPr>
          <a:xfrm flipH="1">
            <a:off x="6714084" y="2190729"/>
            <a:ext cx="1593604" cy="957890"/>
          </a:xfrm>
          <a:prstGeom prst="line">
            <a:avLst/>
          </a:prstGeom>
          <a:ln w="15875">
            <a:headEnd type="oval"/>
          </a:ln>
        </p:spPr>
        <p:style>
          <a:lnRef idx="1">
            <a:schemeClr val="accent2"/>
          </a:lnRef>
          <a:fillRef idx="0">
            <a:schemeClr val="accent2"/>
          </a:fillRef>
          <a:effectRef idx="0">
            <a:schemeClr val="accent2"/>
          </a:effectRef>
          <a:fontRef idx="minor">
            <a:schemeClr val="tx1"/>
          </a:fontRef>
        </p:style>
      </p:cxnSp>
      <p:cxnSp>
        <p:nvCxnSpPr>
          <p:cNvPr id="69" name="Gerader Verbinder 68">
            <a:extLst>
              <a:ext uri="{FF2B5EF4-FFF2-40B4-BE49-F238E27FC236}">
                <a16:creationId xmlns:a16="http://schemas.microsoft.com/office/drawing/2014/main" id="{B64CB9E0-59D5-4BEB-88CD-D2D2E04C9D7C}"/>
              </a:ext>
            </a:extLst>
          </p:cNvPr>
          <p:cNvCxnSpPr>
            <a:cxnSpLocks/>
          </p:cNvCxnSpPr>
          <p:nvPr/>
        </p:nvCxnSpPr>
        <p:spPr>
          <a:xfrm flipH="1">
            <a:off x="6786261" y="3506019"/>
            <a:ext cx="1521426" cy="0"/>
          </a:xfrm>
          <a:prstGeom prst="line">
            <a:avLst/>
          </a:prstGeom>
          <a:ln w="15875">
            <a:headEnd type="oval"/>
          </a:ln>
        </p:spPr>
        <p:style>
          <a:lnRef idx="1">
            <a:schemeClr val="accent2"/>
          </a:lnRef>
          <a:fillRef idx="0">
            <a:schemeClr val="accent2"/>
          </a:fillRef>
          <a:effectRef idx="0">
            <a:schemeClr val="accent2"/>
          </a:effectRef>
          <a:fontRef idx="minor">
            <a:schemeClr val="tx1"/>
          </a:fontRef>
        </p:style>
      </p:cxnSp>
      <p:cxnSp>
        <p:nvCxnSpPr>
          <p:cNvPr id="71" name="Gerader Verbinder 70">
            <a:extLst>
              <a:ext uri="{FF2B5EF4-FFF2-40B4-BE49-F238E27FC236}">
                <a16:creationId xmlns:a16="http://schemas.microsoft.com/office/drawing/2014/main" id="{10CD349B-C9B8-4632-A3F8-C57E4C04F53E}"/>
              </a:ext>
            </a:extLst>
          </p:cNvPr>
          <p:cNvCxnSpPr>
            <a:cxnSpLocks/>
          </p:cNvCxnSpPr>
          <p:nvPr/>
        </p:nvCxnSpPr>
        <p:spPr>
          <a:xfrm flipH="1" flipV="1">
            <a:off x="6671074" y="3937043"/>
            <a:ext cx="1636613" cy="696309"/>
          </a:xfrm>
          <a:prstGeom prst="line">
            <a:avLst/>
          </a:prstGeom>
          <a:ln w="15875">
            <a:headEnd type="oval"/>
          </a:ln>
        </p:spPr>
        <p:style>
          <a:lnRef idx="1">
            <a:schemeClr val="accent2"/>
          </a:lnRef>
          <a:fillRef idx="0">
            <a:schemeClr val="accent2"/>
          </a:fillRef>
          <a:effectRef idx="0">
            <a:schemeClr val="accent2"/>
          </a:effectRef>
          <a:fontRef idx="minor">
            <a:schemeClr val="tx1"/>
          </a:fontRef>
        </p:style>
      </p:cxnSp>
      <p:sp>
        <p:nvSpPr>
          <p:cNvPr id="39" name="Freeform 22">
            <a:extLst>
              <a:ext uri="{FF2B5EF4-FFF2-40B4-BE49-F238E27FC236}">
                <a16:creationId xmlns:a16="http://schemas.microsoft.com/office/drawing/2014/main" id="{58867BF1-8DCB-4314-9269-3A1DF43CFA30}"/>
              </a:ext>
            </a:extLst>
          </p:cNvPr>
          <p:cNvSpPr>
            <a:spLocks/>
          </p:cNvSpPr>
          <p:nvPr/>
        </p:nvSpPr>
        <p:spPr bwMode="auto">
          <a:xfrm>
            <a:off x="5281380" y="2690537"/>
            <a:ext cx="1629241" cy="1629241"/>
          </a:xfrm>
          <a:custGeom>
            <a:avLst/>
            <a:gdLst>
              <a:gd name="T0" fmla="*/ 909 w 3233"/>
              <a:gd name="T1" fmla="*/ 391 h 3233"/>
              <a:gd name="T2" fmla="*/ 2843 w 3233"/>
              <a:gd name="T3" fmla="*/ 909 h 3233"/>
              <a:gd name="T4" fmla="*/ 2325 w 3233"/>
              <a:gd name="T5" fmla="*/ 2842 h 3233"/>
              <a:gd name="T6" fmla="*/ 391 w 3233"/>
              <a:gd name="T7" fmla="*/ 2324 h 3233"/>
              <a:gd name="T8" fmla="*/ 909 w 3233"/>
              <a:gd name="T9" fmla="*/ 391 h 3233"/>
            </a:gdLst>
            <a:ahLst/>
            <a:cxnLst>
              <a:cxn ang="0">
                <a:pos x="T0" y="T1"/>
              </a:cxn>
              <a:cxn ang="0">
                <a:pos x="T2" y="T3"/>
              </a:cxn>
              <a:cxn ang="0">
                <a:pos x="T4" y="T5"/>
              </a:cxn>
              <a:cxn ang="0">
                <a:pos x="T6" y="T7"/>
              </a:cxn>
              <a:cxn ang="0">
                <a:pos x="T8" y="T9"/>
              </a:cxn>
            </a:cxnLst>
            <a:rect l="0" t="0" r="r" b="b"/>
            <a:pathLst>
              <a:path w="3233" h="3233">
                <a:moveTo>
                  <a:pt x="909" y="391"/>
                </a:moveTo>
                <a:cubicBezTo>
                  <a:pt x="1586" y="0"/>
                  <a:pt x="2452" y="232"/>
                  <a:pt x="2843" y="909"/>
                </a:cubicBezTo>
                <a:cubicBezTo>
                  <a:pt x="3233" y="1586"/>
                  <a:pt x="3001" y="2452"/>
                  <a:pt x="2325" y="2842"/>
                </a:cubicBezTo>
                <a:cubicBezTo>
                  <a:pt x="1648" y="3233"/>
                  <a:pt x="782" y="3001"/>
                  <a:pt x="391" y="2324"/>
                </a:cubicBezTo>
                <a:cubicBezTo>
                  <a:pt x="0" y="1648"/>
                  <a:pt x="232" y="782"/>
                  <a:pt x="909" y="391"/>
                </a:cubicBezTo>
                <a:close/>
              </a:path>
            </a:pathLst>
          </a:custGeom>
          <a:solidFill>
            <a:schemeClr val="tx2">
              <a:alpha val="0"/>
            </a:schemeClr>
          </a:solidFill>
          <a:ln w="31750" cap="flat" cmpd="sng" algn="ctr">
            <a:solidFill>
              <a:schemeClr val="accent2"/>
            </a:solidFill>
            <a:prstDash val="solid"/>
            <a:round/>
            <a:headEnd type="none" w="med" len="med"/>
            <a:tailEnd type="none" w="med" len="med"/>
          </a:ln>
          <a:effectLst/>
        </p:spPr>
        <p:txBody>
          <a:bodyPr vert="horz" wrap="square" lIns="91440" tIns="45720" rIns="91440" bIns="45720" numCol="1" anchor="ctr" anchorCtr="0" compatLnSpc="1">
            <a:prstTxWarp prst="textNoShape">
              <a:avLst/>
            </a:prstTxWarp>
          </a:bodyPr>
          <a:lstStyle/>
          <a:p>
            <a:pPr marL="0" lvl="1" indent="0" algn="ctr">
              <a:lnSpc>
                <a:spcPct val="90000"/>
              </a:lnSpc>
              <a:spcBef>
                <a:spcPts val="400"/>
              </a:spcBef>
              <a:buNone/>
            </a:pPr>
            <a:r>
              <a:rPr lang="en-US" sz="3200" b="1" dirty="0">
                <a:solidFill>
                  <a:schemeClr val="accent4"/>
                </a:solidFill>
                <a:latin typeface="Calibri" panose="020F0502020204030204" pitchFamily="34" charset="0"/>
                <a:cs typeface="Calibri" panose="020F0502020204030204" pitchFamily="34" charset="0"/>
              </a:rPr>
              <a:t>DSBC</a:t>
            </a:r>
          </a:p>
        </p:txBody>
      </p:sp>
      <p:sp>
        <p:nvSpPr>
          <p:cNvPr id="47" name="Arc plein 46">
            <a:extLst>
              <a:ext uri="{FF2B5EF4-FFF2-40B4-BE49-F238E27FC236}">
                <a16:creationId xmlns:a16="http://schemas.microsoft.com/office/drawing/2014/main" id="{1342001A-EDC3-4C5F-A3C0-0536C5091093}"/>
              </a:ext>
            </a:extLst>
          </p:cNvPr>
          <p:cNvSpPr/>
          <p:nvPr/>
        </p:nvSpPr>
        <p:spPr>
          <a:xfrm>
            <a:off x="4609561" y="2004358"/>
            <a:ext cx="2968118" cy="2973786"/>
          </a:xfrm>
          <a:prstGeom prst="blockArc">
            <a:avLst>
              <a:gd name="adj1" fmla="val 10887934"/>
              <a:gd name="adj2" fmla="val 0"/>
              <a:gd name="adj3" fmla="val 25000"/>
            </a:avLst>
          </a:prstGeom>
          <a:solidFill>
            <a:srgbClr val="000094">
              <a:alpha val="73725"/>
            </a:srgb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274320" rIns="91440" bIns="45720" numCol="1" spcCol="0" rtlCol="0" fromWordArt="0" anchor="t" anchorCtr="0" forceAA="0" compatLnSpc="1">
            <a:prstTxWarp prst="textNoShape">
              <a:avLst/>
            </a:prstTxWarp>
            <a:noAutofit/>
          </a:bodyPr>
          <a:lstStyle/>
          <a:p>
            <a:pPr algn="ctr"/>
            <a:r>
              <a:rPr lang="en-US" sz="2000" dirty="0">
                <a:solidFill>
                  <a:schemeClr val="bg1"/>
                </a:solidFill>
                <a:latin typeface="+mj-lt"/>
              </a:rPr>
              <a:t>EWG</a:t>
            </a:r>
            <a:endParaRPr lang="en-GB" sz="2000" dirty="0">
              <a:solidFill>
                <a:schemeClr val="bg1"/>
              </a:solidFill>
              <a:latin typeface="+mj-lt"/>
            </a:endParaRPr>
          </a:p>
        </p:txBody>
      </p:sp>
      <p:grpSp>
        <p:nvGrpSpPr>
          <p:cNvPr id="49" name="Groupe 48">
            <a:extLst>
              <a:ext uri="{FF2B5EF4-FFF2-40B4-BE49-F238E27FC236}">
                <a16:creationId xmlns:a16="http://schemas.microsoft.com/office/drawing/2014/main" id="{A990B352-4620-48D5-8F60-F7DAC2D3C659}"/>
              </a:ext>
            </a:extLst>
          </p:cNvPr>
          <p:cNvGrpSpPr/>
          <p:nvPr/>
        </p:nvGrpSpPr>
        <p:grpSpPr>
          <a:xfrm>
            <a:off x="4621387" y="2014047"/>
            <a:ext cx="2968118" cy="2973786"/>
            <a:chOff x="4641138" y="2023221"/>
            <a:chExt cx="2968118" cy="2973786"/>
          </a:xfrm>
          <a:solidFill>
            <a:srgbClr val="000094">
              <a:alpha val="74000"/>
            </a:srgbClr>
          </a:solidFill>
        </p:grpSpPr>
        <p:sp>
          <p:nvSpPr>
            <p:cNvPr id="59" name="Arc plein 58">
              <a:extLst>
                <a:ext uri="{FF2B5EF4-FFF2-40B4-BE49-F238E27FC236}">
                  <a16:creationId xmlns:a16="http://schemas.microsoft.com/office/drawing/2014/main" id="{4AF85BF8-B16C-4D60-BF3C-B7E7F0E46D84}"/>
                </a:ext>
              </a:extLst>
            </p:cNvPr>
            <p:cNvSpPr/>
            <p:nvPr/>
          </p:nvSpPr>
          <p:spPr>
            <a:xfrm rot="10800000">
              <a:off x="4641138" y="2023221"/>
              <a:ext cx="2968118" cy="2973786"/>
            </a:xfrm>
            <a:prstGeom prst="blockArc">
              <a:avLst>
                <a:gd name="adj1" fmla="val 10887934"/>
                <a:gd name="adj2" fmla="val 0"/>
                <a:gd name="adj3" fmla="val 25000"/>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2000" dirty="0">
                <a:solidFill>
                  <a:schemeClr val="bg1"/>
                </a:solidFill>
                <a:latin typeface="+mj-lt"/>
              </a:endParaRPr>
            </a:p>
          </p:txBody>
        </p:sp>
        <p:sp>
          <p:nvSpPr>
            <p:cNvPr id="48" name="ZoneTexte 47">
              <a:extLst>
                <a:ext uri="{FF2B5EF4-FFF2-40B4-BE49-F238E27FC236}">
                  <a16:creationId xmlns:a16="http://schemas.microsoft.com/office/drawing/2014/main" id="{76679FE0-9595-4B25-B720-90FADE4D8282}"/>
                </a:ext>
              </a:extLst>
            </p:cNvPr>
            <p:cNvSpPr txBox="1"/>
            <p:nvPr/>
          </p:nvSpPr>
          <p:spPr>
            <a:xfrm>
              <a:off x="5567502" y="4401994"/>
              <a:ext cx="1072281" cy="400110"/>
            </a:xfrm>
            <a:prstGeom prst="rect">
              <a:avLst/>
            </a:prstGeom>
            <a:solidFill>
              <a:srgbClr val="000094">
                <a:alpha val="0"/>
              </a:srgbClr>
            </a:solidFill>
          </p:spPr>
          <p:txBody>
            <a:bodyPr wrap="none" rtlCol="0">
              <a:spAutoFit/>
            </a:bodyPr>
            <a:lstStyle/>
            <a:p>
              <a:r>
                <a:rPr lang="en-US" sz="2000" dirty="0">
                  <a:solidFill>
                    <a:schemeClr val="bg1"/>
                  </a:solidFill>
                  <a:latin typeface="+mj-lt"/>
                </a:rPr>
                <a:t>Verticals</a:t>
              </a:r>
              <a:endParaRPr lang="en-GB" sz="2000" dirty="0">
                <a:solidFill>
                  <a:schemeClr val="bg1"/>
                </a:solidFill>
                <a:latin typeface="+mj-lt"/>
              </a:endParaRPr>
            </a:p>
          </p:txBody>
        </p:sp>
      </p:grpSp>
      <p:sp>
        <p:nvSpPr>
          <p:cNvPr id="70" name="TextShape 17">
            <a:extLst>
              <a:ext uri="{FF2B5EF4-FFF2-40B4-BE49-F238E27FC236}">
                <a16:creationId xmlns:a16="http://schemas.microsoft.com/office/drawing/2014/main" id="{8B8EBA46-4283-4C24-AF62-E61442DEAEF7}"/>
              </a:ext>
            </a:extLst>
          </p:cNvPr>
          <p:cNvSpPr txBox="1"/>
          <p:nvPr/>
        </p:nvSpPr>
        <p:spPr>
          <a:xfrm>
            <a:off x="515880" y="6377040"/>
            <a:ext cx="4114440" cy="364680"/>
          </a:xfrm>
          <a:prstGeom prst="rect">
            <a:avLst/>
          </a:prstGeom>
          <a:noFill/>
          <a:ln>
            <a:noFill/>
          </a:ln>
        </p:spPr>
        <p:txBody>
          <a:bodyPr lIns="0" tIns="0" anchor="ctr">
            <a:noAutofit/>
          </a:bodyPr>
          <a:lstStyle/>
          <a:p>
            <a:pPr>
              <a:lnSpc>
                <a:spcPct val="100000"/>
              </a:lnSpc>
            </a:pPr>
            <a:r>
              <a:rPr lang="de-DE" sz="1100" b="0" strike="noStrike" spc="-1" dirty="0">
                <a:solidFill>
                  <a:srgbClr val="8B8B8B"/>
                </a:solidFill>
                <a:latin typeface="Calibri"/>
              </a:rPr>
              <a:t>Gaia-X Data Space Committee</a:t>
            </a:r>
            <a:endParaRPr lang="en-US" sz="1100" b="0" strike="noStrike" spc="-1" dirty="0">
              <a:latin typeface="Calibri"/>
            </a:endParaRPr>
          </a:p>
        </p:txBody>
      </p:sp>
      <p:sp>
        <p:nvSpPr>
          <p:cNvPr id="72" name="TextShape 16">
            <a:extLst>
              <a:ext uri="{FF2B5EF4-FFF2-40B4-BE49-F238E27FC236}">
                <a16:creationId xmlns:a16="http://schemas.microsoft.com/office/drawing/2014/main" id="{BADADF34-45C6-47EB-9652-246CCDFDB352}"/>
              </a:ext>
            </a:extLst>
          </p:cNvPr>
          <p:cNvSpPr txBox="1"/>
          <p:nvPr/>
        </p:nvSpPr>
        <p:spPr>
          <a:xfrm>
            <a:off x="10237680" y="6377040"/>
            <a:ext cx="849240" cy="364680"/>
          </a:xfrm>
          <a:prstGeom prst="rect">
            <a:avLst/>
          </a:prstGeom>
          <a:noFill/>
          <a:ln>
            <a:noFill/>
          </a:ln>
        </p:spPr>
        <p:txBody>
          <a:bodyPr lIns="0" tIns="0" rIns="0" anchor="ctr">
            <a:noAutofit/>
          </a:bodyPr>
          <a:lstStyle/>
          <a:p>
            <a:pPr algn="r">
              <a:lnSpc>
                <a:spcPct val="100000"/>
              </a:lnSpc>
            </a:pPr>
            <a:r>
              <a:rPr lang="de-DE" sz="1100" spc="-1" dirty="0">
                <a:solidFill>
                  <a:schemeClr val="accent6"/>
                </a:solidFill>
              </a:rPr>
              <a:t>02.12.21</a:t>
            </a:r>
            <a:endParaRPr lang="en-US" sz="1100" b="0" strike="noStrike" spc="-1" dirty="0">
              <a:solidFill>
                <a:schemeClr val="accent6"/>
              </a:solidFill>
              <a:latin typeface="Calibri"/>
            </a:endParaRPr>
          </a:p>
        </p:txBody>
      </p:sp>
      <p:sp>
        <p:nvSpPr>
          <p:cNvPr id="73" name="TextShape 18">
            <a:extLst>
              <a:ext uri="{FF2B5EF4-FFF2-40B4-BE49-F238E27FC236}">
                <a16:creationId xmlns:a16="http://schemas.microsoft.com/office/drawing/2014/main" id="{BCC3E6B5-D21A-459B-BB6B-963A0E5F908C}"/>
              </a:ext>
            </a:extLst>
          </p:cNvPr>
          <p:cNvSpPr txBox="1"/>
          <p:nvPr/>
        </p:nvSpPr>
        <p:spPr>
          <a:xfrm>
            <a:off x="11157840" y="6377040"/>
            <a:ext cx="509760" cy="364680"/>
          </a:xfrm>
          <a:prstGeom prst="rect">
            <a:avLst/>
          </a:prstGeom>
          <a:noFill/>
          <a:ln>
            <a:noFill/>
          </a:ln>
        </p:spPr>
        <p:txBody>
          <a:bodyPr lIns="0" tIns="0" rIns="0" anchor="ctr">
            <a:noAutofit/>
          </a:bodyPr>
          <a:lstStyle/>
          <a:p>
            <a:pPr algn="r">
              <a:lnSpc>
                <a:spcPct val="100000"/>
              </a:lnSpc>
            </a:pPr>
            <a:fld id="{AA929E3E-2FF6-4316-88AA-CA774BAFE042}" type="slidenum">
              <a:rPr lang="de-DE" sz="1100" b="0" strike="noStrike" spc="-1">
                <a:solidFill>
                  <a:srgbClr val="8B8B8B"/>
                </a:solidFill>
                <a:latin typeface="Calibri"/>
              </a:rPr>
              <a:t>5</a:t>
            </a:fld>
            <a:endParaRPr lang="en-US" sz="1100" b="0" strike="noStrike" spc="-1" dirty="0">
              <a:latin typeface="Calibri"/>
            </a:endParaRPr>
          </a:p>
        </p:txBody>
      </p:sp>
    </p:spTree>
    <p:extLst>
      <p:ext uri="{BB962C8B-B14F-4D97-AF65-F5344CB8AC3E}">
        <p14:creationId xmlns:p14="http://schemas.microsoft.com/office/powerpoint/2010/main" val="554787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B28A70AE-8FE6-44C4-884A-FB86015EA144}"/>
              </a:ext>
            </a:extLst>
          </p:cNvPr>
          <p:cNvSpPr>
            <a:spLocks noGrp="1"/>
          </p:cNvSpPr>
          <p:nvPr>
            <p:ph type="body" sz="quarter" idx="13"/>
          </p:nvPr>
        </p:nvSpPr>
        <p:spPr/>
        <p:txBody>
          <a:bodyPr/>
          <a:lstStyle/>
          <a:p>
            <a:r>
              <a:rPr lang="en-GB" noProof="0"/>
              <a:t>Thank you!</a:t>
            </a:r>
          </a:p>
        </p:txBody>
      </p:sp>
      <p:sp>
        <p:nvSpPr>
          <p:cNvPr id="2" name="Rectangle 1">
            <a:extLst>
              <a:ext uri="{FF2B5EF4-FFF2-40B4-BE49-F238E27FC236}">
                <a16:creationId xmlns:a16="http://schemas.microsoft.com/office/drawing/2014/main" id="{C83197BF-D6E0-4B9F-A880-04A74CBFF940}"/>
              </a:ext>
            </a:extLst>
          </p:cNvPr>
          <p:cNvSpPr/>
          <p:nvPr/>
        </p:nvSpPr>
        <p:spPr>
          <a:xfrm>
            <a:off x="762000" y="6172200"/>
            <a:ext cx="2983766" cy="369332"/>
          </a:xfrm>
          <a:prstGeom prst="rect">
            <a:avLst/>
          </a:prstGeom>
        </p:spPr>
        <p:txBody>
          <a:bodyPr wrap="none">
            <a:spAutoFit/>
          </a:bodyPr>
          <a:lstStyle/>
          <a:p>
            <a:pPr>
              <a:lnSpc>
                <a:spcPct val="100000"/>
              </a:lnSpc>
            </a:pPr>
            <a:r>
              <a:rPr lang="de-DE" spc="-1" dirty="0">
                <a:solidFill>
                  <a:srgbClr val="8B8B8B"/>
                </a:solidFill>
              </a:rPr>
              <a:t>Gaia-X Data Space Committee</a:t>
            </a:r>
            <a:endParaRPr lang="en-US" spc="-1" dirty="0"/>
          </a:p>
        </p:txBody>
      </p:sp>
      <p:sp>
        <p:nvSpPr>
          <p:cNvPr id="4" name="TextShape 18">
            <a:extLst>
              <a:ext uri="{FF2B5EF4-FFF2-40B4-BE49-F238E27FC236}">
                <a16:creationId xmlns:a16="http://schemas.microsoft.com/office/drawing/2014/main" id="{8E3DFBDC-99AA-4E9B-873A-1BE4D3BE3F1C}"/>
              </a:ext>
            </a:extLst>
          </p:cNvPr>
          <p:cNvSpPr txBox="1"/>
          <p:nvPr/>
        </p:nvSpPr>
        <p:spPr>
          <a:xfrm>
            <a:off x="11157840" y="6377040"/>
            <a:ext cx="509760" cy="364680"/>
          </a:xfrm>
          <a:prstGeom prst="rect">
            <a:avLst/>
          </a:prstGeom>
          <a:noFill/>
          <a:ln>
            <a:noFill/>
          </a:ln>
        </p:spPr>
        <p:txBody>
          <a:bodyPr lIns="0" tIns="0" rIns="0" anchor="ctr">
            <a:noAutofit/>
          </a:bodyPr>
          <a:lstStyle/>
          <a:p>
            <a:pPr algn="r">
              <a:lnSpc>
                <a:spcPct val="100000"/>
              </a:lnSpc>
            </a:pPr>
            <a:fld id="{AA929E3E-2FF6-4316-88AA-CA774BAFE042}" type="slidenum">
              <a:rPr lang="de-DE" sz="1100" b="0" strike="noStrike" spc="-1">
                <a:solidFill>
                  <a:srgbClr val="8B8B8B"/>
                </a:solidFill>
                <a:latin typeface="Calibri"/>
              </a:rPr>
              <a:t>6</a:t>
            </a:fld>
            <a:endParaRPr lang="en-US" sz="1100" b="0" strike="noStrike" spc="-1" dirty="0">
              <a:latin typeface="Calibri"/>
            </a:endParaRPr>
          </a:p>
        </p:txBody>
      </p:sp>
      <p:sp>
        <p:nvSpPr>
          <p:cNvPr id="6" name="TextShape 16">
            <a:extLst>
              <a:ext uri="{FF2B5EF4-FFF2-40B4-BE49-F238E27FC236}">
                <a16:creationId xmlns:a16="http://schemas.microsoft.com/office/drawing/2014/main" id="{40D50BC8-62E6-4BE4-850B-66F4CCB5A3AC}"/>
              </a:ext>
            </a:extLst>
          </p:cNvPr>
          <p:cNvSpPr txBox="1"/>
          <p:nvPr/>
        </p:nvSpPr>
        <p:spPr>
          <a:xfrm>
            <a:off x="10237680" y="6377040"/>
            <a:ext cx="849240" cy="364680"/>
          </a:xfrm>
          <a:prstGeom prst="rect">
            <a:avLst/>
          </a:prstGeom>
          <a:noFill/>
          <a:ln>
            <a:noFill/>
          </a:ln>
        </p:spPr>
        <p:txBody>
          <a:bodyPr lIns="0" tIns="0" rIns="0" anchor="ctr">
            <a:noAutofit/>
          </a:bodyPr>
          <a:lstStyle/>
          <a:p>
            <a:pPr algn="r">
              <a:lnSpc>
                <a:spcPct val="100000"/>
              </a:lnSpc>
            </a:pPr>
            <a:r>
              <a:rPr lang="de-DE" sz="1100" spc="-1" dirty="0">
                <a:solidFill>
                  <a:schemeClr val="accent6"/>
                </a:solidFill>
              </a:rPr>
              <a:t>02.12.21</a:t>
            </a:r>
            <a:endParaRPr lang="en-US" sz="1100" b="0" strike="noStrike" spc="-1" dirty="0">
              <a:solidFill>
                <a:schemeClr val="accent6"/>
              </a:solidFill>
              <a:latin typeface="Calibri"/>
            </a:endParaRPr>
          </a:p>
        </p:txBody>
      </p:sp>
    </p:spTree>
    <p:extLst>
      <p:ext uri="{BB962C8B-B14F-4D97-AF65-F5344CB8AC3E}">
        <p14:creationId xmlns:p14="http://schemas.microsoft.com/office/powerpoint/2010/main" val="403641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25d52fde-eb10-4e70-8aa2-c1e9f5b29423"/>
  <p:tag name="EE4P_AGENDAWIZARD" val="&lt;ee4p&gt;&lt;layouts&gt;&lt;layout name=&quot;Capgemini invent Line White&quot; id=&quot;435_22&quot;&gt;&lt;standard&gt;&lt;textframe horizontalAnchor=&quot;1&quot; marginBottom=&quot;0&quot; marginLeft=&quot;0&quot; marginRight=&quot;0&quot; marginTop=&quot;0&quot; orientation=&quot;1&quot; verticalAnchor=&quot;1&quot; /&gt;&lt;font name=&quot;Ubuntu&quot; bold=&quot;0&quot; italic=&quot;0&quot; color=&quot;#000000&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gt;&lt;columns&gt;&lt;column field=&quot;itemno&quot; label=&quot;No.&quot; checked=&quot;1&quot; leftSpacing=&quot;0&quot; rightSpacing=&quot;0&quot; dock=&quot;1&quot; fixedWidth=&quot;52&quot; /&gt;&lt;column field=&quot;topic&quot; label=&quot;Topic&quot; leftSpacing=&quot;10&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84.31764&quot; top=&quot;128.4218&quot; width=&quot;611.1824&quot; height=&quot;379.8731&quot; /&gt;&lt;settings allowedSizingModeIds=&quot;1|2&quot; allowedFontSizes=&quot;8|9|10|10.5|11|12|14|16|18&quot; allowedTimeFormatIds=&quot;1|2|3&quot; slideLayout=&quot;11&quot; customLayoutName=&quot;2_Agenda&quot; customLayoutNameBackup=&quot;2_Agenda&quot; customLayoutIndex=&quot;&quot; showBreak=&quot;1&quot; singleAgendaSlideSelected=&quot;0&quot; backupSlideTitle=&quot;Backup: %agendaName%&quot; topMargin=&quot;0&quot; leftMargin=&quot;0&quot; allowedLevels=&quot;4&quot; itemNoFormats=&quot;{1:2}¦{1:2}.{2}¦{3:alphaLC}¦{3:alphaLC}.{4:alphaLC}&quot; /&gt;&lt;!-- Agenda item formats --&gt;&lt;cases&gt;&lt;case level=&quot;1&quot; selected=&quot;0&quot; break=&quot;0&quot; topMinSpacing=&quot;15&quot; topMaxSpacing=&quot;15&quot; bottomMinSpacing=&quot;0&quot; bottomMaxSpacing=&quot;0&quo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0&quot; break=&quot;0&quot; topMinSpacing=&quot;15&quot; topMaxSpacing=&quot;15&quot; bottomMinSpacing=&quot;0&quot; bottomMaxSpacing=&quot;0&quo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0&quot; break=&quot;1&quot; topMinSpacing=&quot;15&quot; topMaxSpacing=&quot;15&quot; bottomMinSpacing=&quot;0&quot; bottomMaxSpacing=&quot;0&quo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 level=&quot;1&quot; selected=&quot;1&quot; break=&quot;1&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s&gt;&lt;!-- Elements on slide independent of items --&gt;&lt;elements&gt;&lt;!--   &lt;element type=&quot;picture&quot; picture=&quot;image.png&quot; value=&quot;asdf&quot;  &gt;&#10;          &lt;position left=&quot;-278.9405&quot; top=&quot;-142.375&quot; width=&quot;457.6407&quot; height=&quot;540.0002&quot;/&gt;        &#10;        &lt;/element&gt;&#10;&#10;        &lt;element type=&quot;picture&quot; picture=&quot;BG_blue.png&quot; value=&quot;asdf&quot;  &gt;&#10;          &lt;position left=&quot;-278.9405&quot; top=&quot;-142.375&quot; width=&quot;960&quot; height=&quot;540&quot;/&gt;        &#10;        &lt;/element&gt; --&gt;&lt;/elements&gt;&lt;/layout&gt;&lt;/layouts&gt;&lt;contents&gt;&lt;agenda name=&quot;Agenda&quot; title=&quot;Agenda&quot; subtitle=&quot;&quot; sizingModeId=&quot;2&quot; fontSize=&quot;24&quot; fontSizeAuto=&quot;1&quot; startTime=&quot;600&quot; timeFormatId=&quot;2&quot; startItemNo=&quot;1&quot; createSingleAgendaSlide=&quot;1&quot; createSeparatingSlides=&quot;0&quot; createBackupSlide=&quot;0&quot; layoutId=&quot;435_22&quot; hideSeparatingSlides=&quot;0&quot; singleSlideId=&quot;0b96cbbe-9ed5-48fe-be33-df213d24139d&quot;&gt;&lt;columns leftSpacing=&quot;0&quot; rightSpacing=&quot;0&quot;&gt;&lt;column field=&quot;itemno&quot; label=&quot;No.&quot; checked=&quot;1&quot; leftSpacing=&quot;0&quot; rightSpacing=&quot;0&quot; dock=&quot;1&quot; fixedWidth=&quot;52&quot; /&gt;&lt;column field=&quot;topic&quot; label=&quot;Topic&quot; leftSpacing=&quot;10&quot; rightDistribute=&quot;1&quot; dock=&quot;1&quot; rightSpacing=&quot;0&quot; /&gt;&lt;column field=&quot;responsible&quot; label=&quot;Responsible&quot; visible=&quot;1&quot; checked=&quot;0&quot; leftSpacing=&quot;10&quot; rightDistribute=&quot;1&quot; dock=&quot;1&quot; rightSpacing=&quot;9.495125E-06&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gt;&lt;item duration=&quot;20&quot; id=&quot;6e6e7a9f-6214-48a5-870f-e358c1e020d8&quot; parentId=&quot;&quot; level=&quot;1&quot; generateAgendaSlide=&quot;1&quot; showAgendaItem=&quot;1&quot; isBreak=&quot;0&quot; topic=&quot;Status Quo&quot; responsible=&quot;Committe Heads&quot; /&gt;&lt;item duration=&quot;15&quot; id=&quot;700af2e6-ff36-44e7-b810-36375639fc39&quot; parentId=&quot;&quot; level=&quot;1&quot; generateAgendaSlide=&quot;1&quot; showAgendaItem=&quot;1&quot; isBreak=&quot;0&quot; topic=&quot; Key Deliverables&quot; responsible=&quot;All&quot; /&gt;&lt;item duration=&quot;15&quot; id=&quot;a9707aa4-921e-49e7-bd68-2a2af9212505&quot; parentId=&quot;&quot; level=&quot;1&quot; generateAgendaSlide=&quot;1&quot; showAgendaItem=&quot;1&quot; isBreak=&quot;0&quot; topic=&quot;Inter-Committe Working Model&quot; responsible=&quot;All&quot; /&gt;&lt;item duration=&quot;20&quot; id=&quot;c8f6cd7c-2e34-4ee5-9544-2d25997bc313&quot; parentId=&quot;&quot; level=&quot;1&quot; generateAgendaSlide=&quot;1&quot; showAgendaItem=&quot;1&quot; isBreak=&quot;0&quot; topic=&quot;Working Model Data Spaces &amp;amp; Hubs&quot; responsible=&quot;All&quot; /&gt;&lt;item duration=&quot;15&quot; id=&quot;e64dca4d-363d-4b57-a342-7ede4448aa4d&quot; parentId=&quot;&quot; level=&quot;1&quot; generateAgendaSlide=&quot;1&quot; showAgendaItem=&quot;1&quot; isBreak=&quot;0&quot; topic=&quot;Meeting Structure&quot; responsible=&quot;All&quot; /&gt;&lt;item duration=&quot;15&quot; id=&quot;3719c8bb-f88e-414d-98b6-832a9eabd2a3&quot; parentId=&quot;&quot; level=&quot;1&quot; generateAgendaSlide=&quot;1&quot; showAgendaItem=&quot;1&quot; isBreak=&quot;0&quot; topic=&quot;High Level Roadmap / Timeline&quot; responsible=&quot;All&quot; /&gt;&lt;item duration=&quot;20&quot; id=&quot;252f4dae-eb6f-40fb-a29a-1bdfae8581a3&quot; parentId=&quot;&quot; level=&quot;1&quot; generateAgendaSlide=&quot;1&quot; showAgendaItem=&quot;1&quot; isBreak=&quot;0&quot; topic=&quot;Q&amp;amp;A&quot; responsible=&quot;All&quot; /&gt;&lt;/items&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EE4P_MAPWIZARD_ID" val="ES"/>
  <p:tag name="EE4P_MAPWIZARD_HEADINGS" val="Admin 0"/>
  <p:tag name="EE4P_MAPWIZARD" val="Spain"/>
</p:tagLst>
</file>

<file path=ppt/tags/tag11.xml><?xml version="1.0" encoding="utf-8"?>
<p:tagLst xmlns:a="http://schemas.openxmlformats.org/drawingml/2006/main" xmlns:r="http://schemas.openxmlformats.org/officeDocument/2006/relationships" xmlns:p="http://schemas.openxmlformats.org/presentationml/2006/main">
  <p:tag name="EE4P_MAPWIZARD_ID" val="ES"/>
  <p:tag name="EE4P_MAPWIZARD_HEADINGS" val="Admin 0"/>
  <p:tag name="EE4P_MAPWIZARD" val="Spain"/>
</p:tagLst>
</file>

<file path=ppt/tags/tag12.xml><?xml version="1.0" encoding="utf-8"?>
<p:tagLst xmlns:a="http://schemas.openxmlformats.org/drawingml/2006/main" xmlns:r="http://schemas.openxmlformats.org/officeDocument/2006/relationships" xmlns:p="http://schemas.openxmlformats.org/presentationml/2006/main">
  <p:tag name="EE4P_MAPWIZARD_ID" val="EE"/>
  <p:tag name="EE4P_MAPWIZARD_HEADINGS" val="Admin 0"/>
  <p:tag name="EE4P_MAPWIZARD" val="Estonia"/>
</p:tagLst>
</file>

<file path=ppt/tags/tag13.xml><?xml version="1.0" encoding="utf-8"?>
<p:tagLst xmlns:a="http://schemas.openxmlformats.org/drawingml/2006/main" xmlns:r="http://schemas.openxmlformats.org/officeDocument/2006/relationships" xmlns:p="http://schemas.openxmlformats.org/presentationml/2006/main">
  <p:tag name="EE4P_MAPWIZARD_ID" val="FI"/>
  <p:tag name="EE4P_MAPWIZARD_HEADINGS" val="Admin 0"/>
  <p:tag name="EE4P_MAPWIZARD" val="Finland"/>
</p:tagLst>
</file>

<file path=ppt/tags/tag14.xml><?xml version="1.0" encoding="utf-8"?>
<p:tagLst xmlns:a="http://schemas.openxmlformats.org/drawingml/2006/main" xmlns:r="http://schemas.openxmlformats.org/officeDocument/2006/relationships" xmlns:p="http://schemas.openxmlformats.org/presentationml/2006/main">
  <p:tag name="EE4P_MAPWIZARD_ID" val="FR"/>
  <p:tag name="EE4P_MAPWIZARD_HEADINGS" val="Admin 0"/>
  <p:tag name="EE4P_MAPWIZARD" val="France"/>
</p:tagLst>
</file>

<file path=ppt/tags/tag15.xml><?xml version="1.0" encoding="utf-8"?>
<p:tagLst xmlns:a="http://schemas.openxmlformats.org/drawingml/2006/main" xmlns:r="http://schemas.openxmlformats.org/officeDocument/2006/relationships" xmlns:p="http://schemas.openxmlformats.org/presentationml/2006/main">
  <p:tag name="EE4P_MAPWIZARD_ID" val="GB"/>
  <p:tag name="EE4P_MAPWIZARD_HEADINGS" val="Admin 0"/>
  <p:tag name="EE4P_MAPWIZARD" val="United Kingdom"/>
</p:tagLst>
</file>

<file path=ppt/tags/tag16.xml><?xml version="1.0" encoding="utf-8"?>
<p:tagLst xmlns:a="http://schemas.openxmlformats.org/drawingml/2006/main" xmlns:r="http://schemas.openxmlformats.org/officeDocument/2006/relationships" xmlns:p="http://schemas.openxmlformats.org/presentationml/2006/main">
  <p:tag name="EE4P_MAPWIZARD_ID" val="GR"/>
  <p:tag name="EE4P_MAPWIZARD_HEADINGS" val="Admin 0"/>
  <p:tag name="EE4P_MAPWIZARD" val="Greece"/>
</p:tagLst>
</file>

<file path=ppt/tags/tag17.xml><?xml version="1.0" encoding="utf-8"?>
<p:tagLst xmlns:a="http://schemas.openxmlformats.org/drawingml/2006/main" xmlns:r="http://schemas.openxmlformats.org/officeDocument/2006/relationships" xmlns:p="http://schemas.openxmlformats.org/presentationml/2006/main">
  <p:tag name="EE4P_MAPWIZARD_ID" val="HR"/>
  <p:tag name="EE4P_MAPWIZARD_HEADINGS" val="Admin 0"/>
  <p:tag name="EE4P_MAPWIZARD" val="Croatia"/>
</p:tagLst>
</file>

<file path=ppt/tags/tag18.xml><?xml version="1.0" encoding="utf-8"?>
<p:tagLst xmlns:a="http://schemas.openxmlformats.org/drawingml/2006/main" xmlns:r="http://schemas.openxmlformats.org/officeDocument/2006/relationships" xmlns:p="http://schemas.openxmlformats.org/presentationml/2006/main">
  <p:tag name="EE4P_MAPWIZARD_ID" val="HU"/>
  <p:tag name="EE4P_MAPWIZARD_HEADINGS" val="Admin 0"/>
  <p:tag name="EE4P_MAPWIZARD" val="Hungary"/>
</p:tagLst>
</file>

<file path=ppt/tags/tag19.xml><?xml version="1.0" encoding="utf-8"?>
<p:tagLst xmlns:a="http://schemas.openxmlformats.org/drawingml/2006/main" xmlns:r="http://schemas.openxmlformats.org/officeDocument/2006/relationships" xmlns:p="http://schemas.openxmlformats.org/presentationml/2006/main">
  <p:tag name="EE4P_MAPWIZARD_ID" val="IE"/>
  <p:tag name="EE4P_MAPWIZARD_HEADINGS" val="Admin 0"/>
  <p:tag name="EE4P_MAPWIZARD" val="Ireland"/>
</p:tagLst>
</file>

<file path=ppt/tags/tag2.xml><?xml version="1.0" encoding="utf-8"?>
<p:tagLst xmlns:a="http://schemas.openxmlformats.org/drawingml/2006/main" xmlns:r="http://schemas.openxmlformats.org/officeDocument/2006/relationships" xmlns:p="http://schemas.openxmlformats.org/presentationml/2006/main">
  <p:tag name="EE4P_MAPWIZARD_ID" val="CY"/>
  <p:tag name="EE4P_MAPWIZARD_HEADINGS" val="Admin 0"/>
  <p:tag name="EE4P_MAPWIZARD" val="Cyprus"/>
</p:tagLst>
</file>

<file path=ppt/tags/tag20.xml><?xml version="1.0" encoding="utf-8"?>
<p:tagLst xmlns:a="http://schemas.openxmlformats.org/drawingml/2006/main" xmlns:r="http://schemas.openxmlformats.org/officeDocument/2006/relationships" xmlns:p="http://schemas.openxmlformats.org/presentationml/2006/main">
  <p:tag name="EE4P_MAPWIZARD_ID" val="IT"/>
  <p:tag name="EE4P_MAPWIZARD_HEADINGS" val="Admin 0"/>
  <p:tag name="EE4P_MAPWIZARD" val="Italy"/>
</p:tagLst>
</file>

<file path=ppt/tags/tag21.xml><?xml version="1.0" encoding="utf-8"?>
<p:tagLst xmlns:a="http://schemas.openxmlformats.org/drawingml/2006/main" xmlns:r="http://schemas.openxmlformats.org/officeDocument/2006/relationships" xmlns:p="http://schemas.openxmlformats.org/presentationml/2006/main">
  <p:tag name="EE4P_MAPWIZARD_ID" val="LT"/>
  <p:tag name="EE4P_MAPWIZARD_HEADINGS" val="Admin 0"/>
  <p:tag name="EE4P_MAPWIZARD" val="Lithuania"/>
</p:tagLst>
</file>

<file path=ppt/tags/tag22.xml><?xml version="1.0" encoding="utf-8"?>
<p:tagLst xmlns:a="http://schemas.openxmlformats.org/drawingml/2006/main" xmlns:r="http://schemas.openxmlformats.org/officeDocument/2006/relationships" xmlns:p="http://schemas.openxmlformats.org/presentationml/2006/main">
  <p:tag name="EE4P_MAPWIZARD_ID" val="LU"/>
  <p:tag name="EE4P_MAPWIZARD_HEADINGS" val="Admin 0"/>
  <p:tag name="EE4P_MAPWIZARD" val="Luxembourg"/>
</p:tagLst>
</file>

<file path=ppt/tags/tag23.xml><?xml version="1.0" encoding="utf-8"?>
<p:tagLst xmlns:a="http://schemas.openxmlformats.org/drawingml/2006/main" xmlns:r="http://schemas.openxmlformats.org/officeDocument/2006/relationships" xmlns:p="http://schemas.openxmlformats.org/presentationml/2006/main">
  <p:tag name="EE4P_MAPWIZARD_ID" val="LV"/>
  <p:tag name="EE4P_MAPWIZARD_HEADINGS" val="Admin 0"/>
  <p:tag name="EE4P_MAPWIZARD" val="Latvia"/>
</p:tagLst>
</file>

<file path=ppt/tags/tag24.xml><?xml version="1.0" encoding="utf-8"?>
<p:tagLst xmlns:a="http://schemas.openxmlformats.org/drawingml/2006/main" xmlns:r="http://schemas.openxmlformats.org/officeDocument/2006/relationships" xmlns:p="http://schemas.openxmlformats.org/presentationml/2006/main">
  <p:tag name="EE4P_MAPWIZARD_ID" val="MT"/>
  <p:tag name="EE4P_MAPWIZARD_HEADINGS" val="Admin 0"/>
  <p:tag name="EE4P_MAPWIZARD" val="Malta"/>
</p:tagLst>
</file>

<file path=ppt/tags/tag25.xml><?xml version="1.0" encoding="utf-8"?>
<p:tagLst xmlns:a="http://schemas.openxmlformats.org/drawingml/2006/main" xmlns:r="http://schemas.openxmlformats.org/officeDocument/2006/relationships" xmlns:p="http://schemas.openxmlformats.org/presentationml/2006/main">
  <p:tag name="EE4P_MAPWIZARD_ID" val="MT"/>
  <p:tag name="EE4P_MAPWIZARD_HEADINGS" val="Admin 0"/>
  <p:tag name="EE4P_MAPWIZARD" val="Malta"/>
</p:tagLst>
</file>

<file path=ppt/tags/tag26.xml><?xml version="1.0" encoding="utf-8"?>
<p:tagLst xmlns:a="http://schemas.openxmlformats.org/drawingml/2006/main" xmlns:r="http://schemas.openxmlformats.org/officeDocument/2006/relationships" xmlns:p="http://schemas.openxmlformats.org/presentationml/2006/main">
  <p:tag name="EE4P_MAPWIZARD_ID" val="NL"/>
  <p:tag name="EE4P_MAPWIZARD_HEADINGS" val="Admin 0"/>
  <p:tag name="EE4P_MAPWIZARD" val="Netherlands"/>
</p:tagLst>
</file>

<file path=ppt/tags/tag27.xml><?xml version="1.0" encoding="utf-8"?>
<p:tagLst xmlns:a="http://schemas.openxmlformats.org/drawingml/2006/main" xmlns:r="http://schemas.openxmlformats.org/officeDocument/2006/relationships" xmlns:p="http://schemas.openxmlformats.org/presentationml/2006/main">
  <p:tag name="EE4P_MAPWIZARD_ID" val="PL"/>
  <p:tag name="EE4P_MAPWIZARD_HEADINGS" val="Admin 0"/>
  <p:tag name="EE4P_MAPWIZARD" val="Poland"/>
</p:tagLst>
</file>

<file path=ppt/tags/tag28.xml><?xml version="1.0" encoding="utf-8"?>
<p:tagLst xmlns:a="http://schemas.openxmlformats.org/drawingml/2006/main" xmlns:r="http://schemas.openxmlformats.org/officeDocument/2006/relationships" xmlns:p="http://schemas.openxmlformats.org/presentationml/2006/main">
  <p:tag name="EE4P_MAPWIZARD_ID" val="PT"/>
  <p:tag name="EE4P_MAPWIZARD_HEADINGS" val="Admin 0"/>
  <p:tag name="EE4P_MAPWIZARD" val="Portugal"/>
</p:tagLst>
</file>

<file path=ppt/tags/tag29.xml><?xml version="1.0" encoding="utf-8"?>
<p:tagLst xmlns:a="http://schemas.openxmlformats.org/drawingml/2006/main" xmlns:r="http://schemas.openxmlformats.org/officeDocument/2006/relationships" xmlns:p="http://schemas.openxmlformats.org/presentationml/2006/main">
  <p:tag name="EE4P_MAPWIZARD_ID" val="RO"/>
  <p:tag name="EE4P_MAPWIZARD_HEADINGS" val="Admin 0"/>
  <p:tag name="EE4P_MAPWIZARD" val="Romania"/>
</p:tagLst>
</file>

<file path=ppt/tags/tag3.xml><?xml version="1.0" encoding="utf-8"?>
<p:tagLst xmlns:a="http://schemas.openxmlformats.org/drawingml/2006/main" xmlns:r="http://schemas.openxmlformats.org/officeDocument/2006/relationships" xmlns:p="http://schemas.openxmlformats.org/presentationml/2006/main">
  <p:tag name="EE4P_MAPWIZARD_ID" val="AT"/>
  <p:tag name="EE4P_MAPWIZARD_HEADINGS" val="Admin 0"/>
  <p:tag name="EE4P_MAPWIZARD" val="Austria"/>
</p:tagLst>
</file>

<file path=ppt/tags/tag30.xml><?xml version="1.0" encoding="utf-8"?>
<p:tagLst xmlns:a="http://schemas.openxmlformats.org/drawingml/2006/main" xmlns:r="http://schemas.openxmlformats.org/officeDocument/2006/relationships" xmlns:p="http://schemas.openxmlformats.org/presentationml/2006/main">
  <p:tag name="EE4P_MAPWIZARD_ID" val="IT"/>
  <p:tag name="EE4P_MAPWIZARD_HEADINGS" val="Admin 0"/>
  <p:tag name="EE4P_MAPWIZARD" val="Italy"/>
</p:tagLst>
</file>

<file path=ppt/tags/tag31.xml><?xml version="1.0" encoding="utf-8"?>
<p:tagLst xmlns:a="http://schemas.openxmlformats.org/drawingml/2006/main" xmlns:r="http://schemas.openxmlformats.org/officeDocument/2006/relationships" xmlns:p="http://schemas.openxmlformats.org/presentationml/2006/main">
  <p:tag name="EE4P_MAPWIZARD_ID" val="SK"/>
  <p:tag name="EE4P_MAPWIZARD_HEADINGS" val="Admin 0"/>
  <p:tag name="EE4P_MAPWIZARD" val="Slovakia"/>
</p:tagLst>
</file>

<file path=ppt/tags/tag32.xml><?xml version="1.0" encoding="utf-8"?>
<p:tagLst xmlns:a="http://schemas.openxmlformats.org/drawingml/2006/main" xmlns:r="http://schemas.openxmlformats.org/officeDocument/2006/relationships" xmlns:p="http://schemas.openxmlformats.org/presentationml/2006/main">
  <p:tag name="EE4P_MAPWIZARD_ID" val="SI"/>
  <p:tag name="EE4P_MAPWIZARD_HEADINGS" val="Admin 0"/>
  <p:tag name="EE4P_MAPWIZARD" val="Slovenia"/>
</p:tagLst>
</file>

<file path=ppt/tags/tag33.xml><?xml version="1.0" encoding="utf-8"?>
<p:tagLst xmlns:a="http://schemas.openxmlformats.org/drawingml/2006/main" xmlns:r="http://schemas.openxmlformats.org/officeDocument/2006/relationships" xmlns:p="http://schemas.openxmlformats.org/presentationml/2006/main">
  <p:tag name="EE4P_MAPWIZARD_ID" val="SE"/>
  <p:tag name="EE4P_MAPWIZARD_HEADINGS" val="Admin 0"/>
  <p:tag name="EE4P_MAPWIZARD" val="Sweden"/>
</p:tagLst>
</file>

<file path=ppt/tags/tag4.xml><?xml version="1.0" encoding="utf-8"?>
<p:tagLst xmlns:a="http://schemas.openxmlformats.org/drawingml/2006/main" xmlns:r="http://schemas.openxmlformats.org/officeDocument/2006/relationships" xmlns:p="http://schemas.openxmlformats.org/presentationml/2006/main">
  <p:tag name="EE4P_MAPWIZARD_ID" val="BE"/>
  <p:tag name="EE4P_MAPWIZARD_HEADINGS" val="Admin 0"/>
  <p:tag name="EE4P_MAPWIZARD" val="Belgium"/>
</p:tagLst>
</file>

<file path=ppt/tags/tag5.xml><?xml version="1.0" encoding="utf-8"?>
<p:tagLst xmlns:a="http://schemas.openxmlformats.org/drawingml/2006/main" xmlns:r="http://schemas.openxmlformats.org/officeDocument/2006/relationships" xmlns:p="http://schemas.openxmlformats.org/presentationml/2006/main">
  <p:tag name="EE4P_MAPWIZARD_ID" val="BG"/>
  <p:tag name="EE4P_MAPWIZARD_HEADINGS" val="Admin 0"/>
  <p:tag name="EE4P_MAPWIZARD" val="Bulgaria"/>
</p:tagLst>
</file>

<file path=ppt/tags/tag6.xml><?xml version="1.0" encoding="utf-8"?>
<p:tagLst xmlns:a="http://schemas.openxmlformats.org/drawingml/2006/main" xmlns:r="http://schemas.openxmlformats.org/officeDocument/2006/relationships" xmlns:p="http://schemas.openxmlformats.org/presentationml/2006/main">
  <p:tag name="EE4P_MAPWIZARD_ID" val="CZ"/>
  <p:tag name="EE4P_MAPWIZARD_HEADINGS" val="Admin 0"/>
  <p:tag name="EE4P_MAPWIZARD" val="Czech Republic"/>
</p:tagLst>
</file>

<file path=ppt/tags/tag7.xml><?xml version="1.0" encoding="utf-8"?>
<p:tagLst xmlns:a="http://schemas.openxmlformats.org/drawingml/2006/main" xmlns:r="http://schemas.openxmlformats.org/officeDocument/2006/relationships" xmlns:p="http://schemas.openxmlformats.org/presentationml/2006/main">
  <p:tag name="EE4P_MAPWIZARD_ID" val="DE"/>
  <p:tag name="EE4P_MAPWIZARD_HEADINGS" val="Admin 0"/>
  <p:tag name="EE4P_MAPWIZARD" val="Germany"/>
</p:tagLst>
</file>

<file path=ppt/tags/tag8.xml><?xml version="1.0" encoding="utf-8"?>
<p:tagLst xmlns:a="http://schemas.openxmlformats.org/drawingml/2006/main" xmlns:r="http://schemas.openxmlformats.org/officeDocument/2006/relationships" xmlns:p="http://schemas.openxmlformats.org/presentationml/2006/main">
  <p:tag name="EE4P_MAPWIZARD_ID" val="DK"/>
  <p:tag name="EE4P_MAPWIZARD_HEADINGS" val="Admin 0"/>
  <p:tag name="EE4P_MAPWIZARD" val="Denmark"/>
</p:tagLst>
</file>

<file path=ppt/tags/tag9.xml><?xml version="1.0" encoding="utf-8"?>
<p:tagLst xmlns:a="http://schemas.openxmlformats.org/drawingml/2006/main" xmlns:r="http://schemas.openxmlformats.org/officeDocument/2006/relationships" xmlns:p="http://schemas.openxmlformats.org/presentationml/2006/main">
  <p:tag name="EE4P_MAPWIZARD_ID" val="DK"/>
  <p:tag name="EE4P_MAPWIZARD_HEADINGS" val="Admin 0"/>
  <p:tag name="EE4P_MAPWIZARD" val="Denmark"/>
</p:tagLst>
</file>

<file path=ppt/theme/theme1.xml><?xml version="1.0" encoding="utf-8"?>
<a:theme xmlns:a="http://schemas.openxmlformats.org/drawingml/2006/main" name="2_Office">
  <a:themeElements>
    <a:clrScheme name="gaia-x">
      <a:dk1>
        <a:srgbClr val="000000"/>
      </a:dk1>
      <a:lt1>
        <a:srgbClr val="FFFFFF"/>
      </a:lt1>
      <a:dk2>
        <a:srgbClr val="000094"/>
      </a:dk2>
      <a:lt2>
        <a:srgbClr val="FFFFFF"/>
      </a:lt2>
      <a:accent1>
        <a:srgbClr val="000094"/>
      </a:accent1>
      <a:accent2>
        <a:srgbClr val="B900FF"/>
      </a:accent2>
      <a:accent3>
        <a:srgbClr val="46DAFF"/>
      </a:accent3>
      <a:accent4>
        <a:srgbClr val="4757F1"/>
      </a:accent4>
      <a:accent5>
        <a:srgbClr val="BFBFBF"/>
      </a:accent5>
      <a:accent6>
        <a:srgbClr val="7F7F7F"/>
      </a:accent6>
      <a:hlink>
        <a:srgbClr val="4757F1"/>
      </a:hlink>
      <a:folHlink>
        <a:srgbClr val="B900FF"/>
      </a:folHlink>
    </a:clrScheme>
    <a:fontScheme name="gaia-x master">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2000" smtClean="0">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9A752170DA5BB4B90485C421BC67601" ma:contentTypeVersion="10" ma:contentTypeDescription="Create a new document." ma:contentTypeScope="" ma:versionID="04c97565dc9a988f9378b479452f119d">
  <xsd:schema xmlns:xsd="http://www.w3.org/2001/XMLSchema" xmlns:xs="http://www.w3.org/2001/XMLSchema" xmlns:p="http://schemas.microsoft.com/office/2006/metadata/properties" xmlns:ns2="684f6131-3909-40e5-af87-4216939d5341" targetNamespace="http://schemas.microsoft.com/office/2006/metadata/properties" ma:root="true" ma:fieldsID="dccd01774e9876e3988aa98aff442110" ns2:_="">
    <xsd:import namespace="684f6131-3909-40e5-af87-4216939d534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84f6131-3909-40e5-af87-4216939d534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1A92F45-995C-4167-ADD5-01C700B6F331}">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684f6131-3909-40e5-af87-4216939d5341"/>
    <ds:schemaRef ds:uri="http://purl.org/dc/terms/"/>
    <ds:schemaRef ds:uri="http://www.w3.org/XML/1998/namespace"/>
    <ds:schemaRef ds:uri="http://purl.org/dc/dcmitype/"/>
  </ds:schemaRefs>
</ds:datastoreItem>
</file>

<file path=customXml/itemProps2.xml><?xml version="1.0" encoding="utf-8"?>
<ds:datastoreItem xmlns:ds="http://schemas.openxmlformats.org/officeDocument/2006/customXml" ds:itemID="{32D259EC-4694-4B58-8CB2-F88218B3F77B}">
  <ds:schemaRefs>
    <ds:schemaRef ds:uri="http://schemas.microsoft.com/sharepoint/v3/contenttype/forms"/>
  </ds:schemaRefs>
</ds:datastoreItem>
</file>

<file path=customXml/itemProps3.xml><?xml version="1.0" encoding="utf-8"?>
<ds:datastoreItem xmlns:ds="http://schemas.openxmlformats.org/officeDocument/2006/customXml" ds:itemID="{F93F9D84-93CD-4A00-B7F4-B826BB6DF4A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84f6131-3909-40e5-af87-4216939d534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349</TotalTime>
  <Words>330</Words>
  <Application>Microsoft Office PowerPoint</Application>
  <PresentationFormat>Grand écran</PresentationFormat>
  <Paragraphs>88</Paragraphs>
  <Slides>6</Slides>
  <Notes>0</Notes>
  <HiddenSlides>0</HiddenSlides>
  <MMClips>0</MMClips>
  <ScaleCrop>false</ScaleCrop>
  <HeadingPairs>
    <vt:vector size="6" baseType="variant">
      <vt:variant>
        <vt:lpstr>Polices utilisées</vt:lpstr>
      </vt:variant>
      <vt:variant>
        <vt:i4>3</vt:i4>
      </vt:variant>
      <vt:variant>
        <vt:lpstr>Thème</vt:lpstr>
      </vt:variant>
      <vt:variant>
        <vt:i4>1</vt:i4>
      </vt:variant>
      <vt:variant>
        <vt:lpstr>Titres des diapositives</vt:lpstr>
      </vt:variant>
      <vt:variant>
        <vt:i4>6</vt:i4>
      </vt:variant>
    </vt:vector>
  </HeadingPairs>
  <TitlesOfParts>
    <vt:vector size="10" baseType="lpstr">
      <vt:lpstr>Arial</vt:lpstr>
      <vt:lpstr>Calibri</vt:lpstr>
      <vt:lpstr>Wingdings</vt:lpstr>
      <vt:lpstr>2_Office</vt:lpstr>
      <vt:lpstr>Présentation PowerPoint</vt:lpstr>
      <vt:lpstr>Présentation PowerPoint</vt:lpstr>
      <vt:lpstr>DSBC within the Gaia-X AISBL</vt:lpstr>
      <vt:lpstr>Présentation PowerPoint</vt:lpstr>
      <vt:lpstr>DSBC from a data space perspective</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ndrea Herrmann</dc:creator>
  <cp:lastModifiedBy>Rossana BIANCHI (contractor)</cp:lastModifiedBy>
  <cp:revision>179</cp:revision>
  <dcterms:created xsi:type="dcterms:W3CDTF">2021-02-23T10:21:54Z</dcterms:created>
  <dcterms:modified xsi:type="dcterms:W3CDTF">2021-11-29T11:13: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9A752170DA5BB4B90485C421BC67601</vt:lpwstr>
  </property>
  <property fmtid="{D5CDD505-2E9C-101B-9397-08002B2CF9AE}" pid="3" name="MSIP_Label_d2db9220-a04a-4f06-aab9-80cbe5287fb3_Enabled">
    <vt:lpwstr>True</vt:lpwstr>
  </property>
  <property fmtid="{D5CDD505-2E9C-101B-9397-08002B2CF9AE}" pid="4" name="MSIP_Label_d2db9220-a04a-4f06-aab9-80cbe5287fb3_SiteId">
    <vt:lpwstr>b3f4f7c2-72ce-4192-aba4-d6c7719b5766</vt:lpwstr>
  </property>
  <property fmtid="{D5CDD505-2E9C-101B-9397-08002B2CF9AE}" pid="5" name="MSIP_Label_d2db9220-a04a-4f06-aab9-80cbe5287fb3_Owner">
    <vt:lpwstr>rossana.bianchi@amadeus.com</vt:lpwstr>
  </property>
  <property fmtid="{D5CDD505-2E9C-101B-9397-08002B2CF9AE}" pid="6" name="MSIP_Label_d2db9220-a04a-4f06-aab9-80cbe5287fb3_SetDate">
    <vt:lpwstr>2021-09-24T03:25:39.2866981Z</vt:lpwstr>
  </property>
  <property fmtid="{D5CDD505-2E9C-101B-9397-08002B2CF9AE}" pid="7" name="MSIP_Label_d2db9220-a04a-4f06-aab9-80cbe5287fb3_Name">
    <vt:lpwstr>Restricted</vt:lpwstr>
  </property>
  <property fmtid="{D5CDD505-2E9C-101B-9397-08002B2CF9AE}" pid="8" name="MSIP_Label_d2db9220-a04a-4f06-aab9-80cbe5287fb3_Application">
    <vt:lpwstr>Microsoft Azure Information Protection</vt:lpwstr>
  </property>
  <property fmtid="{D5CDD505-2E9C-101B-9397-08002B2CF9AE}" pid="9" name="MSIP_Label_d2db9220-a04a-4f06-aab9-80cbe5287fb3_ActionId">
    <vt:lpwstr>1b41f71e-9d7e-4590-a6c1-b821295c1943</vt:lpwstr>
  </property>
  <property fmtid="{D5CDD505-2E9C-101B-9397-08002B2CF9AE}" pid="10" name="MSIP_Label_d2db9220-a04a-4f06-aab9-80cbe5287fb3_Extended_MSFT_Method">
    <vt:lpwstr>Automatic</vt:lpwstr>
  </property>
  <property fmtid="{D5CDD505-2E9C-101B-9397-08002B2CF9AE}" pid="11" name="Sensitivity">
    <vt:lpwstr>Restricted</vt:lpwstr>
  </property>
</Properties>
</file>